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</p:sldMasterIdLst>
  <p:notesMasterIdLst>
    <p:notesMasterId r:id="rId29"/>
  </p:notesMasterIdLst>
  <p:sldIdLst>
    <p:sldId id="305" r:id="rId2"/>
    <p:sldId id="258" r:id="rId3"/>
    <p:sldId id="311" r:id="rId4"/>
    <p:sldId id="308" r:id="rId5"/>
    <p:sldId id="315" r:id="rId6"/>
    <p:sldId id="298" r:id="rId7"/>
    <p:sldId id="312" r:id="rId8"/>
    <p:sldId id="299" r:id="rId9"/>
    <p:sldId id="321" r:id="rId10"/>
    <p:sldId id="322" r:id="rId11"/>
    <p:sldId id="323" r:id="rId12"/>
    <p:sldId id="324" r:id="rId13"/>
    <p:sldId id="327" r:id="rId14"/>
    <p:sldId id="328" r:id="rId15"/>
    <p:sldId id="329" r:id="rId16"/>
    <p:sldId id="330" r:id="rId17"/>
    <p:sldId id="331" r:id="rId18"/>
    <p:sldId id="332" r:id="rId19"/>
    <p:sldId id="314" r:id="rId20"/>
    <p:sldId id="300" r:id="rId21"/>
    <p:sldId id="318" r:id="rId22"/>
    <p:sldId id="302" r:id="rId23"/>
    <p:sldId id="309" r:id="rId24"/>
    <p:sldId id="326" r:id="rId25"/>
    <p:sldId id="325" r:id="rId26"/>
    <p:sldId id="333" r:id="rId27"/>
    <p:sldId id="320" r:id="rId28"/>
  </p:sldIdLst>
  <p:sldSz cx="9144000" cy="5143500" type="screen16x9"/>
  <p:notesSz cx="6858000" cy="9144000"/>
  <p:embeddedFontLst>
    <p:embeddedFont>
      <p:font typeface="Anaheim"/>
      <p:regular r:id="rId30"/>
    </p:embeddedFont>
    <p:embeddedFont>
      <p:font typeface="Josefin Slab" pitchFamily="2" charset="0"/>
      <p:regular r:id="rId31"/>
      <p:bold r:id="rId32"/>
      <p:italic r:id="rId33"/>
      <p:boldItalic r:id="rId34"/>
    </p:embeddedFont>
    <p:embeddedFont>
      <p:font typeface="Josefin Slab SemiBold" pitchFamily="2" charset="0"/>
      <p:regular r:id="rId35"/>
      <p:bold r:id="rId36"/>
      <p:italic r:id="rId37"/>
      <p:boldItalic r:id="rId38"/>
    </p:embeddedFont>
    <p:embeddedFont>
      <p:font typeface="Staatliches" pitchFamily="2" charset="0"/>
      <p:regular r:id="rId39"/>
    </p:embeddedFont>
    <p:embeddedFont>
      <p:font typeface="Unica One"/>
      <p:regular r:id="rId40"/>
    </p:embeddedFont>
  </p:embeddedFontLst>
  <p:custDataLst>
    <p:tags r:id="rId4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Main" id="{AAE723DE-4A79-F94B-9456-017F5A7A44F2}">
          <p14:sldIdLst>
            <p14:sldId id="305"/>
            <p14:sldId id="258"/>
            <p14:sldId id="311"/>
            <p14:sldId id="308"/>
            <p14:sldId id="315"/>
            <p14:sldId id="298"/>
            <p14:sldId id="312"/>
            <p14:sldId id="299"/>
            <p14:sldId id="321"/>
            <p14:sldId id="322"/>
            <p14:sldId id="323"/>
            <p14:sldId id="324"/>
            <p14:sldId id="327"/>
            <p14:sldId id="328"/>
            <p14:sldId id="329"/>
            <p14:sldId id="330"/>
            <p14:sldId id="331"/>
            <p14:sldId id="332"/>
            <p14:sldId id="314"/>
            <p14:sldId id="300"/>
            <p14:sldId id="318"/>
            <p14:sldId id="302"/>
            <p14:sldId id="309"/>
            <p14:sldId id="326"/>
            <p14:sldId id="325"/>
            <p14:sldId id="333"/>
            <p14:sldId id="320"/>
          </p14:sldIdLst>
        </p14:section>
      </p14:sectionLst>
    </p:ext>
    <p:ext uri="{EFAFB233-063F-42B5-8137-9DF3F51BA10A}">
      <p15:sldGuideLst xmlns:p15="http://schemas.microsoft.com/office/powerpoint/2012/main">
        <p15:guide id="1" pos="5227">
          <p15:clr>
            <a:srgbClr val="9AA0A6"/>
          </p15:clr>
        </p15:guide>
        <p15:guide id="2" orient="horz" pos="2971">
          <p15:clr>
            <a:srgbClr val="9AA0A6"/>
          </p15:clr>
        </p15:guide>
        <p15:guide id="3" pos="2880">
          <p15:clr>
            <a:srgbClr val="9AA0A6"/>
          </p15:clr>
        </p15:guide>
        <p15:guide id="4" orient="horz" pos="1209">
          <p15:clr>
            <a:srgbClr val="9AA0A6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E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ABC6E64-5619-4B6F-A03A-FF5DB9559D19}">
  <a:tblStyle styleId="{EABC6E64-5619-4B6F-A03A-FF5DB9559D19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33"/>
    <p:restoredTop sz="95679"/>
  </p:normalViewPr>
  <p:slideViewPr>
    <p:cSldViewPr snapToGrid="0">
      <p:cViewPr varScale="1">
        <p:scale>
          <a:sx n="104" d="100"/>
          <a:sy n="104" d="100"/>
        </p:scale>
        <p:origin x="926" y="72"/>
      </p:cViewPr>
      <p:guideLst>
        <p:guide pos="5227"/>
        <p:guide orient="horz" pos="2971"/>
        <p:guide pos="2880"/>
        <p:guide orient="horz" pos="120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10.fntdata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7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2.fntdata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20" Type="http://schemas.openxmlformats.org/officeDocument/2006/relationships/slide" Target="slides/slide19.xml"/><Relationship Id="rId41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796BDB-5065-6A4E-8046-ACFEF9E25974}" type="doc">
      <dgm:prSet loTypeId="urn:microsoft.com/office/officeart/2005/8/layout/chevron2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61735B1-B206-6842-B29B-78402B1D8823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400" b="1" dirty="0"/>
            <a:t>Logistic regression </a:t>
          </a:r>
        </a:p>
      </dgm:t>
    </dgm:pt>
    <dgm:pt modelId="{D2C1BF46-50EE-864A-A0B0-51B2164DE26B}" type="parTrans" cxnId="{20E319AD-1F87-2942-B956-1BB0944911AB}">
      <dgm:prSet/>
      <dgm:spPr/>
      <dgm:t>
        <a:bodyPr/>
        <a:lstStyle/>
        <a:p>
          <a:endParaRPr lang="en-US" sz="1400"/>
        </a:p>
      </dgm:t>
    </dgm:pt>
    <dgm:pt modelId="{51D9278B-5570-BA41-8643-84690B4A0962}" type="sibTrans" cxnId="{20E319AD-1F87-2942-B956-1BB0944911AB}">
      <dgm:prSet/>
      <dgm:spPr/>
      <dgm:t>
        <a:bodyPr/>
        <a:lstStyle/>
        <a:p>
          <a:endParaRPr lang="en-US" sz="1400"/>
        </a:p>
      </dgm:t>
    </dgm:pt>
    <dgm:pt modelId="{0C06352D-6794-1A42-A9DF-BD90378639CD}">
      <dgm:prSet phldrT="[Text]" custT="1"/>
      <dgm:spPr/>
      <dgm:t>
        <a:bodyPr/>
        <a:lstStyle/>
        <a:p>
          <a:r>
            <a:rPr lang="en-US" sz="1100" dirty="0">
              <a:solidFill>
                <a:schemeClr val="tx1">
                  <a:lumMod val="10000"/>
                </a:schemeClr>
              </a:solidFill>
            </a:rPr>
            <a:t>Logistic regression models can help teams identify data anomalies, which are fraud predictors.</a:t>
          </a:r>
        </a:p>
      </dgm:t>
    </dgm:pt>
    <dgm:pt modelId="{26044EB9-A640-4B4C-B71B-603BFBDD365B}" type="parTrans" cxnId="{C580D9F4-DE41-9B42-ABB8-F97E56936528}">
      <dgm:prSet/>
      <dgm:spPr/>
      <dgm:t>
        <a:bodyPr/>
        <a:lstStyle/>
        <a:p>
          <a:endParaRPr lang="en-US" sz="1400"/>
        </a:p>
      </dgm:t>
    </dgm:pt>
    <dgm:pt modelId="{F12C07F3-04FB-494A-8960-77B72EF47FCB}" type="sibTrans" cxnId="{C580D9F4-DE41-9B42-ABB8-F97E56936528}">
      <dgm:prSet/>
      <dgm:spPr/>
      <dgm:t>
        <a:bodyPr/>
        <a:lstStyle/>
        <a:p>
          <a:endParaRPr lang="en-US" sz="1400"/>
        </a:p>
      </dgm:t>
    </dgm:pt>
    <dgm:pt modelId="{93657C07-B426-244A-8668-D8CD65274877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600" b="1" dirty="0"/>
            <a:t>Decision tree</a:t>
          </a:r>
        </a:p>
      </dgm:t>
    </dgm:pt>
    <dgm:pt modelId="{9D717DF9-3F13-B746-89B1-6094ED7DD542}" type="parTrans" cxnId="{7777ECDA-8409-4B42-B4AB-A5CE1E1A0E70}">
      <dgm:prSet/>
      <dgm:spPr/>
      <dgm:t>
        <a:bodyPr/>
        <a:lstStyle/>
        <a:p>
          <a:endParaRPr lang="en-US" sz="1400"/>
        </a:p>
      </dgm:t>
    </dgm:pt>
    <dgm:pt modelId="{E2AB6078-2026-794F-9C1A-78800F04C242}" type="sibTrans" cxnId="{7777ECDA-8409-4B42-B4AB-A5CE1E1A0E70}">
      <dgm:prSet/>
      <dgm:spPr/>
      <dgm:t>
        <a:bodyPr/>
        <a:lstStyle/>
        <a:p>
          <a:endParaRPr lang="en-US" sz="1400"/>
        </a:p>
      </dgm:t>
    </dgm:pt>
    <dgm:pt modelId="{7A0BA2B5-D136-1442-A210-2C318D051D75}">
      <dgm:prSet phldrT="[Text]" custT="1"/>
      <dgm:spPr/>
      <dgm:t>
        <a:bodyPr/>
        <a:lstStyle/>
        <a:p>
          <a:r>
            <a:rPr lang="en-US" sz="1000" b="0" dirty="0">
              <a:solidFill>
                <a:schemeClr val="tx1">
                  <a:lumMod val="10000"/>
                </a:schemeClr>
              </a:solidFill>
            </a:rPr>
            <a:t>Clearly lays out the problem so that all options can be challenged. </a:t>
          </a:r>
        </a:p>
      </dgm:t>
    </dgm:pt>
    <dgm:pt modelId="{29D5AEB0-EDCE-334C-841F-FF3D2D931F14}" type="parTrans" cxnId="{5FD0AFB3-F6F1-4F4D-A20C-3A7EC9E53CFB}">
      <dgm:prSet/>
      <dgm:spPr/>
      <dgm:t>
        <a:bodyPr/>
        <a:lstStyle/>
        <a:p>
          <a:endParaRPr lang="en-US" sz="1400"/>
        </a:p>
      </dgm:t>
    </dgm:pt>
    <dgm:pt modelId="{62374506-20D7-2744-8573-06CB586F94FE}" type="sibTrans" cxnId="{5FD0AFB3-F6F1-4F4D-A20C-3A7EC9E53CFB}">
      <dgm:prSet/>
      <dgm:spPr/>
      <dgm:t>
        <a:bodyPr/>
        <a:lstStyle/>
        <a:p>
          <a:endParaRPr lang="en-US" sz="1400"/>
        </a:p>
      </dgm:t>
    </dgm:pt>
    <dgm:pt modelId="{2B1BD9F1-7B22-3844-882F-4F65CBAA9054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400" b="1" dirty="0"/>
            <a:t>Random Forest</a:t>
          </a:r>
        </a:p>
      </dgm:t>
    </dgm:pt>
    <dgm:pt modelId="{15050BC8-587B-F74C-BDCA-EA31EC5BC598}" type="parTrans" cxnId="{C656CEA9-55BE-DB4B-9D69-2B02DC58670E}">
      <dgm:prSet/>
      <dgm:spPr/>
      <dgm:t>
        <a:bodyPr/>
        <a:lstStyle/>
        <a:p>
          <a:endParaRPr lang="en-US" sz="1400"/>
        </a:p>
      </dgm:t>
    </dgm:pt>
    <dgm:pt modelId="{79F13EFC-4FC0-0340-AA09-2932C056C640}" type="sibTrans" cxnId="{C656CEA9-55BE-DB4B-9D69-2B02DC58670E}">
      <dgm:prSet/>
      <dgm:spPr/>
      <dgm:t>
        <a:bodyPr/>
        <a:lstStyle/>
        <a:p>
          <a:endParaRPr lang="en-US" sz="1400"/>
        </a:p>
      </dgm:t>
    </dgm:pt>
    <dgm:pt modelId="{AA0BFDC1-E9E1-3849-916B-70B771CB1064}">
      <dgm:prSet phldrT="[Text]" custT="1"/>
      <dgm:spPr/>
      <dgm:t>
        <a:bodyPr/>
        <a:lstStyle/>
        <a:p>
          <a:r>
            <a:rPr lang="en-US" sz="1000" dirty="0">
              <a:solidFill>
                <a:schemeClr val="tx1">
                  <a:lumMod val="10000"/>
                </a:schemeClr>
              </a:solidFill>
            </a:rPr>
            <a:t>The random forest algorithm provides a higher level of accuracy in predicting outcomes over the decision tree algorithm.</a:t>
          </a:r>
        </a:p>
      </dgm:t>
    </dgm:pt>
    <dgm:pt modelId="{5A9D0A4D-AC91-784F-BC79-70879DB17206}" type="parTrans" cxnId="{D41A344B-2C1B-AE45-AC41-5C4A1D5C3765}">
      <dgm:prSet/>
      <dgm:spPr/>
      <dgm:t>
        <a:bodyPr/>
        <a:lstStyle/>
        <a:p>
          <a:endParaRPr lang="en-US" sz="1400"/>
        </a:p>
      </dgm:t>
    </dgm:pt>
    <dgm:pt modelId="{86B4CEE1-38CB-454B-91F6-062220BA7FDE}" type="sibTrans" cxnId="{D41A344B-2C1B-AE45-AC41-5C4A1D5C3765}">
      <dgm:prSet/>
      <dgm:spPr/>
      <dgm:t>
        <a:bodyPr/>
        <a:lstStyle/>
        <a:p>
          <a:endParaRPr lang="en-US" sz="1400"/>
        </a:p>
      </dgm:t>
    </dgm:pt>
    <dgm:pt modelId="{2148833D-4071-E147-9148-9F398C99E264}">
      <dgm:prSet phldrT="[Text]" custT="1"/>
      <dgm:spPr/>
      <dgm:t>
        <a:bodyPr/>
        <a:lstStyle/>
        <a:p>
          <a:r>
            <a:rPr lang="en-US" sz="1000" b="0" dirty="0">
              <a:solidFill>
                <a:schemeClr val="tx1">
                  <a:lumMod val="10000"/>
                </a:schemeClr>
              </a:solidFill>
            </a:rPr>
            <a:t>Allow us to analyze fully the possible consequences of a decision. </a:t>
          </a:r>
        </a:p>
      </dgm:t>
    </dgm:pt>
    <dgm:pt modelId="{E67350AD-192C-2340-AF24-0080704B70E1}" type="parTrans" cxnId="{CC03C0BB-F9EB-CF4E-88DB-644FE66C6646}">
      <dgm:prSet/>
      <dgm:spPr/>
      <dgm:t>
        <a:bodyPr/>
        <a:lstStyle/>
        <a:p>
          <a:endParaRPr lang="en-US"/>
        </a:p>
      </dgm:t>
    </dgm:pt>
    <dgm:pt modelId="{26963552-01F2-B345-94DE-9F0373D2A87B}" type="sibTrans" cxnId="{CC03C0BB-F9EB-CF4E-88DB-644FE66C6646}">
      <dgm:prSet/>
      <dgm:spPr/>
      <dgm:t>
        <a:bodyPr/>
        <a:lstStyle/>
        <a:p>
          <a:endParaRPr lang="en-US"/>
        </a:p>
      </dgm:t>
    </dgm:pt>
    <dgm:pt modelId="{E9784650-8010-4D4A-98C0-0CEF4F684209}">
      <dgm:prSet phldrT="[Text]" custT="1"/>
      <dgm:spPr/>
      <dgm:t>
        <a:bodyPr/>
        <a:lstStyle/>
        <a:p>
          <a:r>
            <a:rPr lang="en-US" sz="1000" b="0" dirty="0">
              <a:solidFill>
                <a:schemeClr val="tx1">
                  <a:lumMod val="10000"/>
                </a:schemeClr>
              </a:solidFill>
            </a:rPr>
            <a:t>Provide a framework to quantify the values of outcomes and the probabilities of achieving them.</a:t>
          </a:r>
        </a:p>
      </dgm:t>
    </dgm:pt>
    <dgm:pt modelId="{BB1DCF45-9E09-C34A-B696-6031D06E116C}" type="parTrans" cxnId="{A242E019-0DF7-9F4A-BDCB-2A7AA2B471B6}">
      <dgm:prSet/>
      <dgm:spPr/>
      <dgm:t>
        <a:bodyPr/>
        <a:lstStyle/>
        <a:p>
          <a:endParaRPr lang="en-US"/>
        </a:p>
      </dgm:t>
    </dgm:pt>
    <dgm:pt modelId="{71BCB40C-710C-6743-827A-67AC9D871CD7}" type="sibTrans" cxnId="{A242E019-0DF7-9F4A-BDCB-2A7AA2B471B6}">
      <dgm:prSet/>
      <dgm:spPr/>
      <dgm:t>
        <a:bodyPr/>
        <a:lstStyle/>
        <a:p>
          <a:endParaRPr lang="en-US"/>
        </a:p>
      </dgm:t>
    </dgm:pt>
    <dgm:pt modelId="{FDDD7A75-4E17-974E-9BB5-0B0A18530EC7}" type="pres">
      <dgm:prSet presAssocID="{54796BDB-5065-6A4E-8046-ACFEF9E25974}" presName="linearFlow" presStyleCnt="0">
        <dgm:presLayoutVars>
          <dgm:dir/>
          <dgm:animLvl val="lvl"/>
          <dgm:resizeHandles val="exact"/>
        </dgm:presLayoutVars>
      </dgm:prSet>
      <dgm:spPr/>
    </dgm:pt>
    <dgm:pt modelId="{8FE258C9-D1B3-9348-9308-C86CCECBEC9A}" type="pres">
      <dgm:prSet presAssocID="{261735B1-B206-6842-B29B-78402B1D8823}" presName="composite" presStyleCnt="0"/>
      <dgm:spPr/>
    </dgm:pt>
    <dgm:pt modelId="{4B37BCB1-21C7-BE40-B252-411A22246C5C}" type="pres">
      <dgm:prSet presAssocID="{261735B1-B206-6842-B29B-78402B1D8823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7A3E2D05-FDA6-454A-BFD5-AD6C7B278899}" type="pres">
      <dgm:prSet presAssocID="{261735B1-B206-6842-B29B-78402B1D8823}" presName="descendantText" presStyleLbl="alignAcc1" presStyleIdx="0" presStyleCnt="3">
        <dgm:presLayoutVars>
          <dgm:bulletEnabled val="1"/>
        </dgm:presLayoutVars>
      </dgm:prSet>
      <dgm:spPr/>
    </dgm:pt>
    <dgm:pt modelId="{BEC5E046-5110-8A4A-B981-E0384635202C}" type="pres">
      <dgm:prSet presAssocID="{51D9278B-5570-BA41-8643-84690B4A0962}" presName="sp" presStyleCnt="0"/>
      <dgm:spPr/>
    </dgm:pt>
    <dgm:pt modelId="{B3742454-21E0-4D4C-B872-A0E7E99DA3FF}" type="pres">
      <dgm:prSet presAssocID="{93657C07-B426-244A-8668-D8CD65274877}" presName="composite" presStyleCnt="0"/>
      <dgm:spPr/>
    </dgm:pt>
    <dgm:pt modelId="{A199957F-815B-BB48-93E8-58F60D10D4F7}" type="pres">
      <dgm:prSet presAssocID="{93657C07-B426-244A-8668-D8CD65274877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E09B6A3F-9BB7-FE4B-AF0E-710BD225325C}" type="pres">
      <dgm:prSet presAssocID="{93657C07-B426-244A-8668-D8CD65274877}" presName="descendantText" presStyleLbl="alignAcc1" presStyleIdx="1" presStyleCnt="3">
        <dgm:presLayoutVars>
          <dgm:bulletEnabled val="1"/>
        </dgm:presLayoutVars>
      </dgm:prSet>
      <dgm:spPr/>
    </dgm:pt>
    <dgm:pt modelId="{DF91B1E5-85E7-C64E-8995-2FA21B8173EE}" type="pres">
      <dgm:prSet presAssocID="{E2AB6078-2026-794F-9C1A-78800F04C242}" presName="sp" presStyleCnt="0"/>
      <dgm:spPr/>
    </dgm:pt>
    <dgm:pt modelId="{7145C92E-62B8-394E-8BC9-6531828AC718}" type="pres">
      <dgm:prSet presAssocID="{2B1BD9F1-7B22-3844-882F-4F65CBAA9054}" presName="composite" presStyleCnt="0"/>
      <dgm:spPr/>
    </dgm:pt>
    <dgm:pt modelId="{76B4C666-02C9-8446-809A-C94E5605C063}" type="pres">
      <dgm:prSet presAssocID="{2B1BD9F1-7B22-3844-882F-4F65CBAA9054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4A1FBD43-981F-CF42-80BE-E32B32D3DCEC}" type="pres">
      <dgm:prSet presAssocID="{2B1BD9F1-7B22-3844-882F-4F65CBAA9054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17D8C719-59EF-864F-8476-A75918D24329}" type="presOf" srcId="{0C06352D-6794-1A42-A9DF-BD90378639CD}" destId="{7A3E2D05-FDA6-454A-BFD5-AD6C7B278899}" srcOrd="0" destOrd="0" presId="urn:microsoft.com/office/officeart/2005/8/layout/chevron2"/>
    <dgm:cxn modelId="{A242E019-0DF7-9F4A-BDCB-2A7AA2B471B6}" srcId="{93657C07-B426-244A-8668-D8CD65274877}" destId="{E9784650-8010-4D4A-98C0-0CEF4F684209}" srcOrd="2" destOrd="0" parTransId="{BB1DCF45-9E09-C34A-B696-6031D06E116C}" sibTransId="{71BCB40C-710C-6743-827A-67AC9D871CD7}"/>
    <dgm:cxn modelId="{AA8B621F-7819-D34B-88F6-B7A2EAE092AA}" type="presOf" srcId="{261735B1-B206-6842-B29B-78402B1D8823}" destId="{4B37BCB1-21C7-BE40-B252-411A22246C5C}" srcOrd="0" destOrd="0" presId="urn:microsoft.com/office/officeart/2005/8/layout/chevron2"/>
    <dgm:cxn modelId="{8A77D029-3E0A-6D41-914A-21AA7AB68341}" type="presOf" srcId="{2148833D-4071-E147-9148-9F398C99E264}" destId="{E09B6A3F-9BB7-FE4B-AF0E-710BD225325C}" srcOrd="0" destOrd="1" presId="urn:microsoft.com/office/officeart/2005/8/layout/chevron2"/>
    <dgm:cxn modelId="{6B502039-C7FC-3A48-89A3-AB27D9772A3B}" type="presOf" srcId="{2B1BD9F1-7B22-3844-882F-4F65CBAA9054}" destId="{76B4C666-02C9-8446-809A-C94E5605C063}" srcOrd="0" destOrd="0" presId="urn:microsoft.com/office/officeart/2005/8/layout/chevron2"/>
    <dgm:cxn modelId="{D41A344B-2C1B-AE45-AC41-5C4A1D5C3765}" srcId="{2B1BD9F1-7B22-3844-882F-4F65CBAA9054}" destId="{AA0BFDC1-E9E1-3849-916B-70B771CB1064}" srcOrd="0" destOrd="0" parTransId="{5A9D0A4D-AC91-784F-BC79-70879DB17206}" sibTransId="{86B4CEE1-38CB-454B-91F6-062220BA7FDE}"/>
    <dgm:cxn modelId="{2342F757-76FC-4D4C-B351-FEAC39E62006}" type="presOf" srcId="{E9784650-8010-4D4A-98C0-0CEF4F684209}" destId="{E09B6A3F-9BB7-FE4B-AF0E-710BD225325C}" srcOrd="0" destOrd="2" presId="urn:microsoft.com/office/officeart/2005/8/layout/chevron2"/>
    <dgm:cxn modelId="{F0868895-8398-9644-8B47-B95DD8A4A820}" type="presOf" srcId="{AA0BFDC1-E9E1-3849-916B-70B771CB1064}" destId="{4A1FBD43-981F-CF42-80BE-E32B32D3DCEC}" srcOrd="0" destOrd="0" presId="urn:microsoft.com/office/officeart/2005/8/layout/chevron2"/>
    <dgm:cxn modelId="{C656CEA9-55BE-DB4B-9D69-2B02DC58670E}" srcId="{54796BDB-5065-6A4E-8046-ACFEF9E25974}" destId="{2B1BD9F1-7B22-3844-882F-4F65CBAA9054}" srcOrd="2" destOrd="0" parTransId="{15050BC8-587B-F74C-BDCA-EA31EC5BC598}" sibTransId="{79F13EFC-4FC0-0340-AA09-2932C056C640}"/>
    <dgm:cxn modelId="{20E319AD-1F87-2942-B956-1BB0944911AB}" srcId="{54796BDB-5065-6A4E-8046-ACFEF9E25974}" destId="{261735B1-B206-6842-B29B-78402B1D8823}" srcOrd="0" destOrd="0" parTransId="{D2C1BF46-50EE-864A-A0B0-51B2164DE26B}" sibTransId="{51D9278B-5570-BA41-8643-84690B4A0962}"/>
    <dgm:cxn modelId="{5FD0AFB3-F6F1-4F4D-A20C-3A7EC9E53CFB}" srcId="{93657C07-B426-244A-8668-D8CD65274877}" destId="{7A0BA2B5-D136-1442-A210-2C318D051D75}" srcOrd="0" destOrd="0" parTransId="{29D5AEB0-EDCE-334C-841F-FF3D2D931F14}" sibTransId="{62374506-20D7-2744-8573-06CB586F94FE}"/>
    <dgm:cxn modelId="{CC03C0BB-F9EB-CF4E-88DB-644FE66C6646}" srcId="{93657C07-B426-244A-8668-D8CD65274877}" destId="{2148833D-4071-E147-9148-9F398C99E264}" srcOrd="1" destOrd="0" parTransId="{E67350AD-192C-2340-AF24-0080704B70E1}" sibTransId="{26963552-01F2-B345-94DE-9F0373D2A87B}"/>
    <dgm:cxn modelId="{BC4A0CCB-445B-0048-8421-A9D7755EDCAE}" type="presOf" srcId="{7A0BA2B5-D136-1442-A210-2C318D051D75}" destId="{E09B6A3F-9BB7-FE4B-AF0E-710BD225325C}" srcOrd="0" destOrd="0" presId="urn:microsoft.com/office/officeart/2005/8/layout/chevron2"/>
    <dgm:cxn modelId="{79E1CACE-9D84-8C43-A653-1DCAEE946FC2}" type="presOf" srcId="{54796BDB-5065-6A4E-8046-ACFEF9E25974}" destId="{FDDD7A75-4E17-974E-9BB5-0B0A18530EC7}" srcOrd="0" destOrd="0" presId="urn:microsoft.com/office/officeart/2005/8/layout/chevron2"/>
    <dgm:cxn modelId="{7777ECDA-8409-4B42-B4AB-A5CE1E1A0E70}" srcId="{54796BDB-5065-6A4E-8046-ACFEF9E25974}" destId="{93657C07-B426-244A-8668-D8CD65274877}" srcOrd="1" destOrd="0" parTransId="{9D717DF9-3F13-B746-89B1-6094ED7DD542}" sibTransId="{E2AB6078-2026-794F-9C1A-78800F04C242}"/>
    <dgm:cxn modelId="{147838E0-7793-9446-9146-6CCA355CD076}" type="presOf" srcId="{93657C07-B426-244A-8668-D8CD65274877}" destId="{A199957F-815B-BB48-93E8-58F60D10D4F7}" srcOrd="0" destOrd="0" presId="urn:microsoft.com/office/officeart/2005/8/layout/chevron2"/>
    <dgm:cxn modelId="{C580D9F4-DE41-9B42-ABB8-F97E56936528}" srcId="{261735B1-B206-6842-B29B-78402B1D8823}" destId="{0C06352D-6794-1A42-A9DF-BD90378639CD}" srcOrd="0" destOrd="0" parTransId="{26044EB9-A640-4B4C-B71B-603BFBDD365B}" sibTransId="{F12C07F3-04FB-494A-8960-77B72EF47FCB}"/>
    <dgm:cxn modelId="{FF70A3F4-954C-9043-8F89-03E3792A51DE}" type="presParOf" srcId="{FDDD7A75-4E17-974E-9BB5-0B0A18530EC7}" destId="{8FE258C9-D1B3-9348-9308-C86CCECBEC9A}" srcOrd="0" destOrd="0" presId="urn:microsoft.com/office/officeart/2005/8/layout/chevron2"/>
    <dgm:cxn modelId="{004AC4B8-DCA9-EE4D-9DBF-4CFADE54BBA3}" type="presParOf" srcId="{8FE258C9-D1B3-9348-9308-C86CCECBEC9A}" destId="{4B37BCB1-21C7-BE40-B252-411A22246C5C}" srcOrd="0" destOrd="0" presId="urn:microsoft.com/office/officeart/2005/8/layout/chevron2"/>
    <dgm:cxn modelId="{465153A4-75CC-1949-8CF4-DACF00790CB3}" type="presParOf" srcId="{8FE258C9-D1B3-9348-9308-C86CCECBEC9A}" destId="{7A3E2D05-FDA6-454A-BFD5-AD6C7B278899}" srcOrd="1" destOrd="0" presId="urn:microsoft.com/office/officeart/2005/8/layout/chevron2"/>
    <dgm:cxn modelId="{4AB59094-9FB9-484E-97E2-7F7966CEBE83}" type="presParOf" srcId="{FDDD7A75-4E17-974E-9BB5-0B0A18530EC7}" destId="{BEC5E046-5110-8A4A-B981-E0384635202C}" srcOrd="1" destOrd="0" presId="urn:microsoft.com/office/officeart/2005/8/layout/chevron2"/>
    <dgm:cxn modelId="{A3E11E47-37B3-1B4B-8514-007B79E95E0A}" type="presParOf" srcId="{FDDD7A75-4E17-974E-9BB5-0B0A18530EC7}" destId="{B3742454-21E0-4D4C-B872-A0E7E99DA3FF}" srcOrd="2" destOrd="0" presId="urn:microsoft.com/office/officeart/2005/8/layout/chevron2"/>
    <dgm:cxn modelId="{24B00F5C-7B91-1444-A427-A6DE76384513}" type="presParOf" srcId="{B3742454-21E0-4D4C-B872-A0E7E99DA3FF}" destId="{A199957F-815B-BB48-93E8-58F60D10D4F7}" srcOrd="0" destOrd="0" presId="urn:microsoft.com/office/officeart/2005/8/layout/chevron2"/>
    <dgm:cxn modelId="{6E8501B7-4534-644A-AB14-7195C5F596A9}" type="presParOf" srcId="{B3742454-21E0-4D4C-B872-A0E7E99DA3FF}" destId="{E09B6A3F-9BB7-FE4B-AF0E-710BD225325C}" srcOrd="1" destOrd="0" presId="urn:microsoft.com/office/officeart/2005/8/layout/chevron2"/>
    <dgm:cxn modelId="{0615885F-01F0-D64C-B79F-F785294E8146}" type="presParOf" srcId="{FDDD7A75-4E17-974E-9BB5-0B0A18530EC7}" destId="{DF91B1E5-85E7-C64E-8995-2FA21B8173EE}" srcOrd="3" destOrd="0" presId="urn:microsoft.com/office/officeart/2005/8/layout/chevron2"/>
    <dgm:cxn modelId="{D058837A-026E-E840-A8AC-A309B15ADDE5}" type="presParOf" srcId="{FDDD7A75-4E17-974E-9BB5-0B0A18530EC7}" destId="{7145C92E-62B8-394E-8BC9-6531828AC718}" srcOrd="4" destOrd="0" presId="urn:microsoft.com/office/officeart/2005/8/layout/chevron2"/>
    <dgm:cxn modelId="{EA8A19E4-71FF-0D41-A076-193AECF1AA5F}" type="presParOf" srcId="{7145C92E-62B8-394E-8BC9-6531828AC718}" destId="{76B4C666-02C9-8446-809A-C94E5605C063}" srcOrd="0" destOrd="0" presId="urn:microsoft.com/office/officeart/2005/8/layout/chevron2"/>
    <dgm:cxn modelId="{2F62FD74-B5F2-1A4C-86EF-EE71B3F41AB7}" type="presParOf" srcId="{7145C92E-62B8-394E-8BC9-6531828AC718}" destId="{4A1FBD43-981F-CF42-80BE-E32B32D3DCE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37BCB1-21C7-BE40-B252-411A22246C5C}">
      <dsp:nvSpPr>
        <dsp:cNvPr id="0" name=""/>
        <dsp:cNvSpPr/>
      </dsp:nvSpPr>
      <dsp:spPr>
        <a:xfrm rot="5400000">
          <a:off x="-210578" y="214799"/>
          <a:ext cx="1403855" cy="98269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kern="1200" dirty="0"/>
            <a:t>Logistic regression </a:t>
          </a:r>
        </a:p>
      </dsp:txBody>
      <dsp:txXfrm rot="-5400000">
        <a:off x="1" y="495569"/>
        <a:ext cx="982698" cy="421157"/>
      </dsp:txXfrm>
    </dsp:sp>
    <dsp:sp modelId="{7A3E2D05-FDA6-454A-BFD5-AD6C7B278899}">
      <dsp:nvSpPr>
        <dsp:cNvPr id="0" name=""/>
        <dsp:cNvSpPr/>
      </dsp:nvSpPr>
      <dsp:spPr>
        <a:xfrm rot="5400000">
          <a:off x="3161752" y="-2174832"/>
          <a:ext cx="912505" cy="52706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>
              <a:solidFill>
                <a:schemeClr val="tx1">
                  <a:lumMod val="10000"/>
                </a:schemeClr>
              </a:solidFill>
            </a:rPr>
            <a:t>Logistic regression models can help teams identify data anomalies, which are fraud predictors.</a:t>
          </a:r>
        </a:p>
      </dsp:txBody>
      <dsp:txXfrm rot="-5400000">
        <a:off x="982698" y="48767"/>
        <a:ext cx="5226069" cy="823415"/>
      </dsp:txXfrm>
    </dsp:sp>
    <dsp:sp modelId="{A199957F-815B-BB48-93E8-58F60D10D4F7}">
      <dsp:nvSpPr>
        <dsp:cNvPr id="0" name=""/>
        <dsp:cNvSpPr/>
      </dsp:nvSpPr>
      <dsp:spPr>
        <a:xfrm rot="5400000">
          <a:off x="-210578" y="1422151"/>
          <a:ext cx="1403855" cy="98269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600" b="1" kern="1200" dirty="0"/>
            <a:t>Decision tree</a:t>
          </a:r>
        </a:p>
      </dsp:txBody>
      <dsp:txXfrm rot="-5400000">
        <a:off x="1" y="1702921"/>
        <a:ext cx="982698" cy="421157"/>
      </dsp:txXfrm>
    </dsp:sp>
    <dsp:sp modelId="{E09B6A3F-9BB7-FE4B-AF0E-710BD225325C}">
      <dsp:nvSpPr>
        <dsp:cNvPr id="0" name=""/>
        <dsp:cNvSpPr/>
      </dsp:nvSpPr>
      <dsp:spPr>
        <a:xfrm rot="5400000">
          <a:off x="3161512" y="-967240"/>
          <a:ext cx="912985" cy="52706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6350" rIns="6350" bIns="63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solidFill>
                <a:schemeClr val="tx1">
                  <a:lumMod val="10000"/>
                </a:schemeClr>
              </a:solidFill>
            </a:rPr>
            <a:t>Clearly lays out the problem so that all options can be challenged. 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solidFill>
                <a:schemeClr val="tx1">
                  <a:lumMod val="10000"/>
                </a:schemeClr>
              </a:solidFill>
            </a:rPr>
            <a:t>Allow us to analyze fully the possible consequences of a decision. 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solidFill>
                <a:schemeClr val="tx1">
                  <a:lumMod val="10000"/>
                </a:schemeClr>
              </a:solidFill>
            </a:rPr>
            <a:t>Provide a framework to quantify the values of outcomes and the probabilities of achieving them.</a:t>
          </a:r>
        </a:p>
      </dsp:txBody>
      <dsp:txXfrm rot="-5400000">
        <a:off x="982698" y="1256142"/>
        <a:ext cx="5226046" cy="823849"/>
      </dsp:txXfrm>
    </dsp:sp>
    <dsp:sp modelId="{76B4C666-02C9-8446-809A-C94E5605C063}">
      <dsp:nvSpPr>
        <dsp:cNvPr id="0" name=""/>
        <dsp:cNvSpPr/>
      </dsp:nvSpPr>
      <dsp:spPr>
        <a:xfrm rot="5400000">
          <a:off x="-210578" y="2629503"/>
          <a:ext cx="1403855" cy="98269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kern="1200" dirty="0"/>
            <a:t>Random Forest</a:t>
          </a:r>
        </a:p>
      </dsp:txBody>
      <dsp:txXfrm rot="-5400000">
        <a:off x="1" y="2910273"/>
        <a:ext cx="982698" cy="421157"/>
      </dsp:txXfrm>
    </dsp:sp>
    <dsp:sp modelId="{4A1FBD43-981F-CF42-80BE-E32B32D3DCEC}">
      <dsp:nvSpPr>
        <dsp:cNvPr id="0" name=""/>
        <dsp:cNvSpPr/>
      </dsp:nvSpPr>
      <dsp:spPr>
        <a:xfrm rot="5400000">
          <a:off x="3161752" y="239871"/>
          <a:ext cx="912505" cy="52706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6350" rIns="6350" bIns="63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>
              <a:solidFill>
                <a:schemeClr val="tx1">
                  <a:lumMod val="10000"/>
                </a:schemeClr>
              </a:solidFill>
            </a:rPr>
            <a:t>The random forest algorithm provides a higher level of accuracy in predicting outcomes over the decision tree algorithm.</a:t>
          </a:r>
        </a:p>
      </dsp:txBody>
      <dsp:txXfrm rot="-5400000">
        <a:off x="982698" y="2463471"/>
        <a:ext cx="5226069" cy="8234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4dfce81f19_0_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4dfce81f19_0_4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392265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590123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" name="Google Shape;679;g608d0fa1da_0_81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0" name="Google Shape;680;g608d0fa1da_0_81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168317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2623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4" name="Google Shape;424;g4dfce81f19_0_17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25" name="Google Shape;425;g4dfce81f19_0_17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" name="Google Shape;679;g608d0fa1da_0_81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0" name="Google Shape;680;g608d0fa1da_0_81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724459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" name="Google Shape;679;g608d0fa1da_0_81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0" name="Google Shape;680;g608d0fa1da_0_81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858443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" name="Google Shape;679;g608d0fa1da_0_81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0" name="Google Shape;680;g608d0fa1da_0_81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64078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As we </a:t>
            </a:r>
            <a:r>
              <a:rPr lang="en-IN" dirty="0" err="1"/>
              <a:t>cansssthe</a:t>
            </a:r>
            <a:r>
              <a:rPr lang="en-IN" dirty="0"/>
              <a:t> distribution of the data appears similar for the defaulting customers and non- defaulting customers</a:t>
            </a:r>
          </a:p>
          <a:p>
            <a:r>
              <a:rPr lang="en-IN" dirty="0"/>
              <a:t>But, it can be seen that the customers with more no of children appears to be default more</a:t>
            </a:r>
          </a:p>
        </p:txBody>
      </p:sp>
    </p:spTree>
    <p:extLst>
      <p:ext uri="{BB962C8B-B14F-4D97-AF65-F5344CB8AC3E}">
        <p14:creationId xmlns:p14="http://schemas.microsoft.com/office/powerpoint/2010/main" val="10607418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 err="1"/>
              <a:t>Aswe</a:t>
            </a:r>
            <a:r>
              <a:rPr lang="en-IN" dirty="0"/>
              <a:t> can observe that the people with the </a:t>
            </a:r>
          </a:p>
        </p:txBody>
      </p:sp>
    </p:spTree>
    <p:extLst>
      <p:ext uri="{BB962C8B-B14F-4D97-AF65-F5344CB8AC3E}">
        <p14:creationId xmlns:p14="http://schemas.microsoft.com/office/powerpoint/2010/main" val="756351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en-IN" dirty="0"/>
              <a:t>Distribution is similar in both graphs</a:t>
            </a:r>
          </a:p>
          <a:p>
            <a:r>
              <a:rPr lang="en-IN" dirty="0"/>
              <a:t>Married peoples are the one who mostly own a credit card</a:t>
            </a:r>
          </a:p>
        </p:txBody>
      </p:sp>
    </p:spTree>
    <p:extLst>
      <p:ext uri="{BB962C8B-B14F-4D97-AF65-F5344CB8AC3E}">
        <p14:creationId xmlns:p14="http://schemas.microsoft.com/office/powerpoint/2010/main" val="6324366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506808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PENING SLIDE">
  <p:cSld name="CUSTOM_7">
    <p:bg>
      <p:bgPr>
        <a:solidFill>
          <a:schemeClr val="dk1"/>
        </a:solid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833000" y="1050513"/>
            <a:ext cx="3248400" cy="2419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3600"/>
              <a:buNone/>
              <a:defRPr sz="5400" b="0">
                <a:latin typeface="Staatliches"/>
                <a:ea typeface="Staatliches"/>
                <a:cs typeface="Staatliches"/>
                <a:sym typeface="Staatliches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5200"/>
              <a:buNone/>
              <a:defRPr sz="5200">
                <a:solidFill>
                  <a:srgbClr val="FCBF4A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5200"/>
              <a:buNone/>
              <a:defRPr sz="5200">
                <a:solidFill>
                  <a:srgbClr val="FCBF4A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5200"/>
              <a:buNone/>
              <a:defRPr sz="5200">
                <a:solidFill>
                  <a:srgbClr val="FCBF4A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5200"/>
              <a:buNone/>
              <a:defRPr sz="5200">
                <a:solidFill>
                  <a:srgbClr val="FCBF4A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5200"/>
              <a:buNone/>
              <a:defRPr sz="5200">
                <a:solidFill>
                  <a:srgbClr val="FCBF4A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5200"/>
              <a:buNone/>
              <a:defRPr sz="5200">
                <a:solidFill>
                  <a:srgbClr val="FCBF4A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5200"/>
              <a:buNone/>
              <a:defRPr sz="5200">
                <a:solidFill>
                  <a:srgbClr val="FCBF4A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5200"/>
              <a:buNone/>
              <a:defRPr sz="5200">
                <a:solidFill>
                  <a:srgbClr val="FCBF4A"/>
                </a:solidFill>
              </a:defRPr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833000" y="3299563"/>
            <a:ext cx="3326700" cy="321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400"/>
              <a:buNone/>
              <a:defRPr>
                <a:latin typeface="Anaheim"/>
                <a:ea typeface="Anaheim"/>
                <a:cs typeface="Anaheim"/>
                <a:sym typeface="Anaheim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400"/>
              <a:buFont typeface="Josefin Slab"/>
              <a:buNone/>
              <a:defRPr sz="1400">
                <a:solidFill>
                  <a:srgbClr val="FCBF4A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400"/>
              <a:buFont typeface="Josefin Slab"/>
              <a:buNone/>
              <a:defRPr sz="1400">
                <a:solidFill>
                  <a:srgbClr val="FCBF4A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400"/>
              <a:buFont typeface="Josefin Slab"/>
              <a:buNone/>
              <a:defRPr sz="1400">
                <a:solidFill>
                  <a:srgbClr val="FCBF4A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400"/>
              <a:buFont typeface="Josefin Slab"/>
              <a:buNone/>
              <a:defRPr sz="1400">
                <a:solidFill>
                  <a:srgbClr val="FCBF4A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400"/>
              <a:buFont typeface="Josefin Slab"/>
              <a:buNone/>
              <a:defRPr sz="1400">
                <a:solidFill>
                  <a:srgbClr val="FCBF4A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400"/>
              <a:buFont typeface="Josefin Slab"/>
              <a:buNone/>
              <a:defRPr sz="1400">
                <a:solidFill>
                  <a:srgbClr val="FCBF4A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400"/>
              <a:buFont typeface="Josefin Slab"/>
              <a:buNone/>
              <a:defRPr sz="1400">
                <a:solidFill>
                  <a:srgbClr val="FCBF4A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400"/>
              <a:buFont typeface="Josefin Slab"/>
              <a:buNone/>
              <a:defRPr sz="1400">
                <a:solidFill>
                  <a:srgbClr val="FCBF4A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TEXT">
  <p:cSld name="CUSTOM_7_1">
    <p:bg>
      <p:bgPr>
        <a:solidFill>
          <a:schemeClr val="dk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7E94D22-F755-B8C1-0A66-70055AFDD7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661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oogle Shape;12;p3"/>
          <p:cNvSpPr/>
          <p:nvPr/>
        </p:nvSpPr>
        <p:spPr>
          <a:xfrm>
            <a:off x="0" y="292465"/>
            <a:ext cx="8324580" cy="529500"/>
          </a:xfrm>
          <a:prstGeom prst="roundRect">
            <a:avLst>
              <a:gd name="adj" fmla="val 19858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13;p3"/>
          <p:cNvSpPr/>
          <p:nvPr/>
        </p:nvSpPr>
        <p:spPr>
          <a:xfrm>
            <a:off x="56200" y="348046"/>
            <a:ext cx="8242250" cy="529500"/>
          </a:xfrm>
          <a:prstGeom prst="roundRect">
            <a:avLst>
              <a:gd name="adj" fmla="val 11897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 flipH="1">
            <a:off x="889350" y="1030050"/>
            <a:ext cx="7409100" cy="288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Font typeface="Josefin Slab"/>
              <a:buAutoNum type="arabicPeriod"/>
              <a:defRPr sz="1100">
                <a:latin typeface="Anaheim"/>
                <a:ea typeface="Anaheim"/>
                <a:cs typeface="Anaheim"/>
                <a:sym typeface="Anaheim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Josefin Slab SemiBold"/>
              <a:buAutoNum type="alphaLcPeriod"/>
              <a:defRPr sz="1400"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Josefin Slab SemiBold"/>
              <a:buAutoNum type="romanLcPeriod"/>
              <a:defRPr sz="1400"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Josefin Slab SemiBold"/>
              <a:buAutoNum type="arabicPeriod"/>
              <a:defRPr sz="1400"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Josefin Slab SemiBold"/>
              <a:buAutoNum type="alphaLcPeriod"/>
              <a:defRPr sz="1400"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Josefin Slab SemiBold"/>
              <a:buAutoNum type="romanLcPeriod"/>
              <a:defRPr sz="1400"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Josefin Slab SemiBold"/>
              <a:buAutoNum type="arabicPeriod"/>
              <a:defRPr sz="1400"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Josefin Slab SemiBold"/>
              <a:buAutoNum type="alphaLcPeriod"/>
              <a:defRPr sz="1400"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Josefin Slab SemiBold"/>
              <a:buAutoNum type="romanLcPeriod"/>
              <a:defRPr sz="1400"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ctrTitle"/>
          </p:nvPr>
        </p:nvSpPr>
        <p:spPr>
          <a:xfrm>
            <a:off x="1667075" y="396340"/>
            <a:ext cx="4688410" cy="4812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2D406A"/>
              </a:buClr>
              <a:buSzPts val="2400"/>
              <a:buNone/>
              <a:defRPr sz="1800" b="0">
                <a:latin typeface="Staatliches"/>
                <a:ea typeface="Staatliches"/>
                <a:cs typeface="Staatliches"/>
                <a:sym typeface="Staatliches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338987"/>
              </a:buClr>
              <a:buSzPts val="1800"/>
              <a:buNone/>
              <a:defRPr sz="1800" b="0">
                <a:solidFill>
                  <a:srgbClr val="338987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338987"/>
              </a:buClr>
              <a:buSzPts val="1800"/>
              <a:buNone/>
              <a:defRPr sz="1800" b="0">
                <a:solidFill>
                  <a:srgbClr val="338987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338987"/>
              </a:buClr>
              <a:buSzPts val="1800"/>
              <a:buNone/>
              <a:defRPr sz="1800" b="0">
                <a:solidFill>
                  <a:srgbClr val="338987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338987"/>
              </a:buClr>
              <a:buSzPts val="1800"/>
              <a:buNone/>
              <a:defRPr sz="1800" b="0">
                <a:solidFill>
                  <a:srgbClr val="338987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338987"/>
              </a:buClr>
              <a:buSzPts val="1800"/>
              <a:buNone/>
              <a:defRPr sz="1800" b="0">
                <a:solidFill>
                  <a:srgbClr val="338987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338987"/>
              </a:buClr>
              <a:buSzPts val="1800"/>
              <a:buNone/>
              <a:defRPr sz="1800" b="0">
                <a:solidFill>
                  <a:srgbClr val="338987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338987"/>
              </a:buClr>
              <a:buSzPts val="1800"/>
              <a:buNone/>
              <a:defRPr sz="1800" b="0">
                <a:solidFill>
                  <a:srgbClr val="338987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338987"/>
              </a:buClr>
              <a:buSzPts val="1800"/>
              <a:buNone/>
              <a:defRPr sz="1800" b="0">
                <a:solidFill>
                  <a:srgbClr val="338987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_14">
    <p:bg>
      <p:bgPr>
        <a:solidFill>
          <a:schemeClr val="dk1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ctrTitle"/>
          </p:nvPr>
        </p:nvSpPr>
        <p:spPr>
          <a:xfrm>
            <a:off x="3782800" y="1657625"/>
            <a:ext cx="2127300" cy="32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200"/>
              <a:buNone/>
              <a:defRPr sz="2400" b="0">
                <a:latin typeface="Staatliches"/>
                <a:ea typeface="Staatliches"/>
                <a:cs typeface="Staatliches"/>
                <a:sym typeface="Staatliche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ctrTitle" idx="2"/>
          </p:nvPr>
        </p:nvSpPr>
        <p:spPr>
          <a:xfrm>
            <a:off x="3782800" y="3482450"/>
            <a:ext cx="2309400" cy="32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200"/>
              <a:buNone/>
              <a:defRPr sz="2400" b="0">
                <a:latin typeface="Staatliches"/>
                <a:ea typeface="Staatliches"/>
                <a:cs typeface="Staatliches"/>
                <a:sym typeface="Staatliche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ctrTitle" idx="3"/>
          </p:nvPr>
        </p:nvSpPr>
        <p:spPr>
          <a:xfrm>
            <a:off x="6235575" y="1657625"/>
            <a:ext cx="2253600" cy="32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200"/>
              <a:buNone/>
              <a:defRPr sz="2400" b="0">
                <a:latin typeface="Staatliches"/>
                <a:ea typeface="Staatliches"/>
                <a:cs typeface="Staatliches"/>
                <a:sym typeface="Staatliche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ctrTitle" idx="4"/>
          </p:nvPr>
        </p:nvSpPr>
        <p:spPr>
          <a:xfrm>
            <a:off x="6235575" y="3482450"/>
            <a:ext cx="2253600" cy="32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200"/>
              <a:buNone/>
              <a:defRPr sz="2400" b="0">
                <a:latin typeface="Staatliches"/>
                <a:ea typeface="Staatliches"/>
                <a:cs typeface="Staatliches"/>
                <a:sym typeface="Staatliche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subTitle" idx="1"/>
          </p:nvPr>
        </p:nvSpPr>
        <p:spPr>
          <a:xfrm>
            <a:off x="3782800" y="1837203"/>
            <a:ext cx="1899900" cy="503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ubTitle" idx="5"/>
          </p:nvPr>
        </p:nvSpPr>
        <p:spPr>
          <a:xfrm>
            <a:off x="3782800" y="3659793"/>
            <a:ext cx="1899900" cy="503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9pPr>
          </a:lstStyle>
          <a:p>
            <a:endParaRPr/>
          </a:p>
        </p:txBody>
      </p:sp>
      <p:sp>
        <p:nvSpPr>
          <p:cNvPr id="23" name="Google Shape;23;p4"/>
          <p:cNvSpPr txBox="1">
            <a:spLocks noGrp="1"/>
          </p:cNvSpPr>
          <p:nvPr>
            <p:ph type="subTitle" idx="6"/>
          </p:nvPr>
        </p:nvSpPr>
        <p:spPr>
          <a:xfrm>
            <a:off x="6235575" y="1837203"/>
            <a:ext cx="1899900" cy="503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subTitle" idx="7"/>
          </p:nvPr>
        </p:nvSpPr>
        <p:spPr>
          <a:xfrm>
            <a:off x="6235575" y="3659793"/>
            <a:ext cx="1899900" cy="503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CBF4A"/>
              </a:buClr>
              <a:buSzPts val="1000"/>
              <a:buNone/>
              <a:defRPr sz="1000">
                <a:solidFill>
                  <a:srgbClr val="FCBF4A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">
  <p:cSld name="CUSTOM_16_2">
    <p:bg>
      <p:bgPr>
        <a:solidFill>
          <a:schemeClr val="dk1"/>
        </a:solidFill>
        <a:effectLst/>
      </p:bgPr>
    </p:bg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7"/>
          <p:cNvSpPr/>
          <p:nvPr/>
        </p:nvSpPr>
        <p:spPr>
          <a:xfrm>
            <a:off x="357150" y="876231"/>
            <a:ext cx="3715500" cy="3488400"/>
          </a:xfrm>
          <a:prstGeom prst="roundRect">
            <a:avLst>
              <a:gd name="adj" fmla="val 4313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ctrTitle"/>
          </p:nvPr>
        </p:nvSpPr>
        <p:spPr>
          <a:xfrm>
            <a:off x="1456650" y="1715300"/>
            <a:ext cx="1745100" cy="1104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3000"/>
              <a:buNone/>
              <a:defRPr sz="3600" b="0">
                <a:latin typeface="Staatliches"/>
                <a:ea typeface="Staatliches"/>
                <a:cs typeface="Staatliches"/>
                <a:sym typeface="Staatliche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subTitle" idx="1"/>
          </p:nvPr>
        </p:nvSpPr>
        <p:spPr>
          <a:xfrm>
            <a:off x="889350" y="2819625"/>
            <a:ext cx="2312400" cy="1104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Unica One"/>
              <a:buNone/>
              <a:defRPr sz="30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9pPr>
          </a:lstStyle>
          <a:p>
            <a:endParaRPr/>
          </a:p>
        </p:txBody>
      </p:sp>
      <p:sp>
        <p:nvSpPr>
          <p:cNvPr id="40" name="Google Shape;40;p7"/>
          <p:cNvSpPr/>
          <p:nvPr/>
        </p:nvSpPr>
        <p:spPr>
          <a:xfrm>
            <a:off x="411569" y="778875"/>
            <a:ext cx="3715500" cy="3488400"/>
          </a:xfrm>
          <a:prstGeom prst="roundRect">
            <a:avLst>
              <a:gd name="adj" fmla="val 4313"/>
            </a:avLst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12_1_1">
    <p:bg>
      <p:bgPr>
        <a:solidFill>
          <a:schemeClr val="dk1"/>
        </a:solidFill>
        <a:effectLst/>
      </p:bgPr>
    </p:bg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bg>
      <p:bgPr>
        <a:solidFill>
          <a:srgbClr val="FDF3E5">
            <a:alpha val="29620"/>
          </a:srgbClr>
        </a:solidFill>
        <a:effectLst/>
      </p:bgPr>
    </p:bg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762B815-BE0F-F139-8031-2A4FCF9B91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337092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800"/>
              <a:buFont typeface="Staatliches"/>
              <a:buNone/>
              <a:defRPr sz="2800">
                <a:solidFill>
                  <a:schemeClr val="accent3"/>
                </a:solidFill>
                <a:latin typeface="Staatliches"/>
                <a:ea typeface="Staatliches"/>
                <a:cs typeface="Staatliches"/>
                <a:sym typeface="Staatliche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800"/>
              <a:buFont typeface="Josefin Sans"/>
              <a:buNone/>
              <a:defRPr sz="2800" b="1">
                <a:solidFill>
                  <a:schemeClr val="accent3"/>
                </a:solidFill>
                <a:latin typeface="Josefin Sans"/>
                <a:ea typeface="Josefin Sans"/>
                <a:cs typeface="Josefin Sans"/>
                <a:sym typeface="Josefin Sa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800"/>
              <a:buFont typeface="Josefin Sans"/>
              <a:buNone/>
              <a:defRPr sz="2800" b="1">
                <a:solidFill>
                  <a:schemeClr val="accent3"/>
                </a:solidFill>
                <a:latin typeface="Josefin Sans"/>
                <a:ea typeface="Josefin Sans"/>
                <a:cs typeface="Josefin Sans"/>
                <a:sym typeface="Josefin Sa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800"/>
              <a:buFont typeface="Josefin Sans"/>
              <a:buNone/>
              <a:defRPr sz="2800" b="1">
                <a:solidFill>
                  <a:schemeClr val="accent3"/>
                </a:solidFill>
                <a:latin typeface="Josefin Sans"/>
                <a:ea typeface="Josefin Sans"/>
                <a:cs typeface="Josefin Sans"/>
                <a:sym typeface="Josefin Sa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800"/>
              <a:buFont typeface="Josefin Sans"/>
              <a:buNone/>
              <a:defRPr sz="2800" b="1">
                <a:solidFill>
                  <a:schemeClr val="accent3"/>
                </a:solidFill>
                <a:latin typeface="Josefin Sans"/>
                <a:ea typeface="Josefin Sans"/>
                <a:cs typeface="Josefin Sans"/>
                <a:sym typeface="Josefin Sa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800"/>
              <a:buFont typeface="Josefin Sans"/>
              <a:buNone/>
              <a:defRPr sz="2800" b="1">
                <a:solidFill>
                  <a:schemeClr val="accent3"/>
                </a:solidFill>
                <a:latin typeface="Josefin Sans"/>
                <a:ea typeface="Josefin Sans"/>
                <a:cs typeface="Josefin Sans"/>
                <a:sym typeface="Josefin Sa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800"/>
              <a:buFont typeface="Josefin Sans"/>
              <a:buNone/>
              <a:defRPr sz="2800" b="1">
                <a:solidFill>
                  <a:schemeClr val="accent3"/>
                </a:solidFill>
                <a:latin typeface="Josefin Sans"/>
                <a:ea typeface="Josefin Sans"/>
                <a:cs typeface="Josefin Sans"/>
                <a:sym typeface="Josefin Sa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800"/>
              <a:buFont typeface="Josefin Sans"/>
              <a:buNone/>
              <a:defRPr sz="2800" b="1">
                <a:solidFill>
                  <a:schemeClr val="accent3"/>
                </a:solidFill>
                <a:latin typeface="Josefin Sans"/>
                <a:ea typeface="Josefin Sans"/>
                <a:cs typeface="Josefin Sans"/>
                <a:sym typeface="Josefin Sa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800"/>
              <a:buFont typeface="Josefin Sans"/>
              <a:buNone/>
              <a:defRPr sz="2800" b="1">
                <a:solidFill>
                  <a:schemeClr val="accent3"/>
                </a:solidFill>
                <a:latin typeface="Josefin Sans"/>
                <a:ea typeface="Josefin Sans"/>
                <a:cs typeface="Josefin Sans"/>
                <a:sym typeface="Josefin Sans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naheim"/>
              <a:buChar char="●"/>
              <a:defRPr sz="1200">
                <a:solidFill>
                  <a:schemeClr val="accent3"/>
                </a:solidFill>
                <a:latin typeface="Anaheim"/>
                <a:ea typeface="Anaheim"/>
                <a:cs typeface="Anaheim"/>
                <a:sym typeface="Anaheim"/>
              </a:defRPr>
            </a:lvl1pPr>
            <a:lvl2pPr marL="914400" lvl="1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naheim"/>
              <a:buChar char="○"/>
              <a:defRPr sz="1200">
                <a:solidFill>
                  <a:schemeClr val="accent3"/>
                </a:solidFill>
                <a:latin typeface="Anaheim"/>
                <a:ea typeface="Anaheim"/>
                <a:cs typeface="Anaheim"/>
                <a:sym typeface="Anaheim"/>
              </a:defRPr>
            </a:lvl2pPr>
            <a:lvl3pPr marL="1371600" lvl="2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naheim"/>
              <a:buChar char="■"/>
              <a:defRPr sz="1200">
                <a:solidFill>
                  <a:schemeClr val="accent3"/>
                </a:solidFill>
                <a:latin typeface="Anaheim"/>
                <a:ea typeface="Anaheim"/>
                <a:cs typeface="Anaheim"/>
                <a:sym typeface="Anaheim"/>
              </a:defRPr>
            </a:lvl3pPr>
            <a:lvl4pPr marL="1828800" lvl="3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naheim"/>
              <a:buChar char="●"/>
              <a:defRPr sz="1200">
                <a:solidFill>
                  <a:schemeClr val="accent3"/>
                </a:solidFill>
                <a:latin typeface="Anaheim"/>
                <a:ea typeface="Anaheim"/>
                <a:cs typeface="Anaheim"/>
                <a:sym typeface="Anaheim"/>
              </a:defRPr>
            </a:lvl4pPr>
            <a:lvl5pPr marL="2286000" lvl="4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naheim"/>
              <a:buChar char="○"/>
              <a:defRPr sz="1200">
                <a:solidFill>
                  <a:schemeClr val="accent3"/>
                </a:solidFill>
                <a:latin typeface="Anaheim"/>
                <a:ea typeface="Anaheim"/>
                <a:cs typeface="Anaheim"/>
                <a:sym typeface="Anaheim"/>
              </a:defRPr>
            </a:lvl5pPr>
            <a:lvl6pPr marL="2743200" lvl="5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naheim"/>
              <a:buChar char="■"/>
              <a:defRPr sz="1200">
                <a:solidFill>
                  <a:schemeClr val="accent3"/>
                </a:solidFill>
                <a:latin typeface="Anaheim"/>
                <a:ea typeface="Anaheim"/>
                <a:cs typeface="Anaheim"/>
                <a:sym typeface="Anaheim"/>
              </a:defRPr>
            </a:lvl6pPr>
            <a:lvl7pPr marL="3200400" lvl="6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naheim"/>
              <a:buChar char="●"/>
              <a:defRPr sz="1200">
                <a:solidFill>
                  <a:schemeClr val="accent3"/>
                </a:solidFill>
                <a:latin typeface="Anaheim"/>
                <a:ea typeface="Anaheim"/>
                <a:cs typeface="Anaheim"/>
                <a:sym typeface="Anaheim"/>
              </a:defRPr>
            </a:lvl7pPr>
            <a:lvl8pPr marL="3657600" lvl="7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200"/>
              <a:buFont typeface="Anaheim"/>
              <a:buChar char="○"/>
              <a:defRPr sz="1200">
                <a:solidFill>
                  <a:schemeClr val="accent3"/>
                </a:solidFill>
                <a:latin typeface="Anaheim"/>
                <a:ea typeface="Anaheim"/>
                <a:cs typeface="Anaheim"/>
                <a:sym typeface="Anaheim"/>
              </a:defRPr>
            </a:lvl8pPr>
            <a:lvl9pPr marL="4114800" lvl="8" indent="-304800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3"/>
              </a:buClr>
              <a:buSzPts val="1200"/>
              <a:buFont typeface="Anaheim"/>
              <a:buChar char="■"/>
              <a:defRPr sz="1200">
                <a:solidFill>
                  <a:schemeClr val="accent3"/>
                </a:solidFill>
                <a:latin typeface="Anaheim"/>
                <a:ea typeface="Anaheim"/>
                <a:cs typeface="Anaheim"/>
                <a:sym typeface="Anaheim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3" r:id="rId4"/>
    <p:sldLayoutId id="2147483666" r:id="rId5"/>
    <p:sldLayoutId id="2147483667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1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12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diagramData" Target="../diagrams/data1.xml"/><Relationship Id="rId5" Type="http://schemas.openxmlformats.org/officeDocument/2006/relationships/image" Target="../media/image6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8.bin"/><Relationship Id="rId9" Type="http://schemas.openxmlformats.org/officeDocument/2006/relationships/diagramColors" Target="../diagrams/colors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19.png"/><Relationship Id="rId4" Type="http://schemas.openxmlformats.org/officeDocument/2006/relationships/image" Target="../media/image6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microsoft.com/office/2007/relationships/hdphoto" Target="../media/hdphoto1.wdp"/><Relationship Id="rId5" Type="http://schemas.openxmlformats.org/officeDocument/2006/relationships/image" Target="../media/image20.png"/><Relationship Id="rId4" Type="http://schemas.openxmlformats.org/officeDocument/2006/relationships/image" Target="../media/image6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21.jpeg"/><Relationship Id="rId4" Type="http://schemas.openxmlformats.org/officeDocument/2006/relationships/image" Target="../media/image6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22.jpeg"/><Relationship Id="rId4" Type="http://schemas.openxmlformats.org/officeDocument/2006/relationships/image" Target="../media/image6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23.jpeg"/><Relationship Id="rId4" Type="http://schemas.openxmlformats.org/officeDocument/2006/relationships/image" Target="../media/image6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6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hyperlink" Target="https://www.kaggle.com/datasets/rikdifos/credit-card-approval-prediction?resource=download" TargetMode="External"/><Relationship Id="rId4" Type="http://schemas.openxmlformats.org/officeDocument/2006/relationships/image" Target="../media/image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6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EACACAD-87E2-625A-F117-9DE2526D3F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4260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EACACAD-87E2-625A-F117-9DE2526D3F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" name="Google Shape;165;p26"/>
          <p:cNvSpPr txBox="1">
            <a:spLocks noGrp="1"/>
          </p:cNvSpPr>
          <p:nvPr>
            <p:ph type="subTitle" idx="1"/>
          </p:nvPr>
        </p:nvSpPr>
        <p:spPr>
          <a:xfrm>
            <a:off x="49419" y="3173774"/>
            <a:ext cx="3326700" cy="145859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wapnil Deshpande (SXD220134)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66" name="Google Shape;166;p26"/>
          <p:cNvSpPr txBox="1">
            <a:spLocks noGrp="1"/>
          </p:cNvSpPr>
          <p:nvPr>
            <p:ph type="ctrTitle"/>
          </p:nvPr>
        </p:nvSpPr>
        <p:spPr>
          <a:xfrm>
            <a:off x="365749" y="625299"/>
            <a:ext cx="3233248" cy="2113664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dirty="0"/>
              <a:t>Credit card default prediction</a:t>
            </a:r>
            <a:endParaRPr sz="4000" dirty="0"/>
          </a:p>
        </p:txBody>
      </p:sp>
      <p:grpSp>
        <p:nvGrpSpPr>
          <p:cNvPr id="538" name="Group 537">
            <a:extLst>
              <a:ext uri="{FF2B5EF4-FFF2-40B4-BE49-F238E27FC236}">
                <a16:creationId xmlns:a16="http://schemas.microsoft.com/office/drawing/2014/main" id="{DDB13B2A-EAC8-B9F7-37AA-4CEF02DEA0AE}"/>
              </a:ext>
            </a:extLst>
          </p:cNvPr>
          <p:cNvGrpSpPr/>
          <p:nvPr/>
        </p:nvGrpSpPr>
        <p:grpSpPr>
          <a:xfrm>
            <a:off x="3402022" y="242596"/>
            <a:ext cx="5733041" cy="4620905"/>
            <a:chOff x="4237331" y="915866"/>
            <a:chExt cx="4897732" cy="3947635"/>
          </a:xfrm>
        </p:grpSpPr>
        <p:grpSp>
          <p:nvGrpSpPr>
            <p:cNvPr id="539" name="Google Shape;2531;p46">
              <a:extLst>
                <a:ext uri="{FF2B5EF4-FFF2-40B4-BE49-F238E27FC236}">
                  <a16:creationId xmlns:a16="http://schemas.microsoft.com/office/drawing/2014/main" id="{0F91E0EE-C837-1512-C967-5D81A8655E1C}"/>
                </a:ext>
              </a:extLst>
            </p:cNvPr>
            <p:cNvGrpSpPr/>
            <p:nvPr/>
          </p:nvGrpSpPr>
          <p:grpSpPr>
            <a:xfrm>
              <a:off x="4237331" y="1731885"/>
              <a:ext cx="1090502" cy="1018186"/>
              <a:chOff x="4694531" y="2250235"/>
              <a:chExt cx="1090502" cy="1018186"/>
            </a:xfrm>
          </p:grpSpPr>
          <p:sp>
            <p:nvSpPr>
              <p:cNvPr id="730" name="Google Shape;2532;p46">
                <a:extLst>
                  <a:ext uri="{FF2B5EF4-FFF2-40B4-BE49-F238E27FC236}">
                    <a16:creationId xmlns:a16="http://schemas.microsoft.com/office/drawing/2014/main" id="{BCE895A8-C79F-E702-9019-4CB5B9B573EC}"/>
                  </a:ext>
                </a:extLst>
              </p:cNvPr>
              <p:cNvSpPr/>
              <p:nvPr/>
            </p:nvSpPr>
            <p:spPr>
              <a:xfrm>
                <a:off x="4694531" y="2250235"/>
                <a:ext cx="1090502" cy="1018186"/>
              </a:xfrm>
              <a:custGeom>
                <a:avLst/>
                <a:gdLst/>
                <a:ahLst/>
                <a:cxnLst/>
                <a:rect l="l" t="t" r="r" b="b"/>
                <a:pathLst>
                  <a:path w="24565" h="22936" extrusionOk="0">
                    <a:moveTo>
                      <a:pt x="12304" y="1"/>
                    </a:moveTo>
                    <a:cubicBezTo>
                      <a:pt x="11753" y="1"/>
                      <a:pt x="11196" y="40"/>
                      <a:pt x="10635" y="122"/>
                    </a:cubicBezTo>
                    <a:cubicBezTo>
                      <a:pt x="4354" y="1033"/>
                      <a:pt x="0" y="6855"/>
                      <a:pt x="912" y="13122"/>
                    </a:cubicBezTo>
                    <a:cubicBezTo>
                      <a:pt x="1738" y="18828"/>
                      <a:pt x="6647" y="22935"/>
                      <a:pt x="12259" y="22935"/>
                    </a:cubicBezTo>
                    <a:cubicBezTo>
                      <a:pt x="12812" y="22935"/>
                      <a:pt x="13371" y="22895"/>
                      <a:pt x="13934" y="22813"/>
                    </a:cubicBezTo>
                    <a:cubicBezTo>
                      <a:pt x="20211" y="21901"/>
                      <a:pt x="24565" y="16083"/>
                      <a:pt x="23657" y="9816"/>
                    </a:cubicBezTo>
                    <a:cubicBezTo>
                      <a:pt x="22827" y="4109"/>
                      <a:pt x="17918" y="1"/>
                      <a:pt x="12304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1" name="Google Shape;2533;p46">
                <a:extLst>
                  <a:ext uri="{FF2B5EF4-FFF2-40B4-BE49-F238E27FC236}">
                    <a16:creationId xmlns:a16="http://schemas.microsoft.com/office/drawing/2014/main" id="{514D92F5-6162-130C-9AD5-A1DAF7DEE361}"/>
                  </a:ext>
                </a:extLst>
              </p:cNvPr>
              <p:cNvSpPr/>
              <p:nvPr/>
            </p:nvSpPr>
            <p:spPr>
              <a:xfrm>
                <a:off x="4824199" y="2371334"/>
                <a:ext cx="831161" cy="775937"/>
              </a:xfrm>
              <a:custGeom>
                <a:avLst/>
                <a:gdLst/>
                <a:ahLst/>
                <a:cxnLst/>
                <a:rect l="l" t="t" r="r" b="b"/>
                <a:pathLst>
                  <a:path w="18723" h="17479" extrusionOk="0">
                    <a:moveTo>
                      <a:pt x="9375" y="1"/>
                    </a:moveTo>
                    <a:cubicBezTo>
                      <a:pt x="8956" y="1"/>
                      <a:pt x="8532" y="31"/>
                      <a:pt x="8106" y="92"/>
                    </a:cubicBezTo>
                    <a:cubicBezTo>
                      <a:pt x="3320" y="789"/>
                      <a:pt x="0" y="5226"/>
                      <a:pt x="697" y="9999"/>
                    </a:cubicBezTo>
                    <a:cubicBezTo>
                      <a:pt x="1328" y="14348"/>
                      <a:pt x="5067" y="17478"/>
                      <a:pt x="9342" y="17478"/>
                    </a:cubicBezTo>
                    <a:cubicBezTo>
                      <a:pt x="9763" y="17478"/>
                      <a:pt x="10189" y="17448"/>
                      <a:pt x="10617" y="17386"/>
                    </a:cubicBezTo>
                    <a:cubicBezTo>
                      <a:pt x="15406" y="16690"/>
                      <a:pt x="18723" y="12257"/>
                      <a:pt x="18029" y="7479"/>
                    </a:cubicBezTo>
                    <a:cubicBezTo>
                      <a:pt x="17395" y="3131"/>
                      <a:pt x="13655" y="1"/>
                      <a:pt x="9375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2" name="Google Shape;2534;p46">
                <a:extLst>
                  <a:ext uri="{FF2B5EF4-FFF2-40B4-BE49-F238E27FC236}">
                    <a16:creationId xmlns:a16="http://schemas.microsoft.com/office/drawing/2014/main" id="{C8040574-140E-DDA0-F71E-7F0A18FC66BF}"/>
                  </a:ext>
                </a:extLst>
              </p:cNvPr>
              <p:cNvSpPr/>
              <p:nvPr/>
            </p:nvSpPr>
            <p:spPr>
              <a:xfrm>
                <a:off x="4841911" y="2356596"/>
                <a:ext cx="782507" cy="470782"/>
              </a:xfrm>
              <a:custGeom>
                <a:avLst/>
                <a:gdLst/>
                <a:ahLst/>
                <a:cxnLst/>
                <a:rect l="l" t="t" r="r" b="b"/>
                <a:pathLst>
                  <a:path w="17627" h="10605" extrusionOk="0">
                    <a:moveTo>
                      <a:pt x="8959" y="0"/>
                    </a:moveTo>
                    <a:cubicBezTo>
                      <a:pt x="8916" y="0"/>
                      <a:pt x="8873" y="1"/>
                      <a:pt x="8830" y="1"/>
                    </a:cubicBezTo>
                    <a:cubicBezTo>
                      <a:pt x="8348" y="12"/>
                      <a:pt x="7864" y="55"/>
                      <a:pt x="7379" y="141"/>
                    </a:cubicBezTo>
                    <a:cubicBezTo>
                      <a:pt x="6895" y="227"/>
                      <a:pt x="6421" y="353"/>
                      <a:pt x="5969" y="511"/>
                    </a:cubicBezTo>
                    <a:cubicBezTo>
                      <a:pt x="5513" y="665"/>
                      <a:pt x="5083" y="866"/>
                      <a:pt x="4673" y="1085"/>
                    </a:cubicBezTo>
                    <a:cubicBezTo>
                      <a:pt x="4264" y="1301"/>
                      <a:pt x="3880" y="1556"/>
                      <a:pt x="3524" y="1824"/>
                    </a:cubicBezTo>
                    <a:cubicBezTo>
                      <a:pt x="3169" y="2094"/>
                      <a:pt x="2843" y="2384"/>
                      <a:pt x="2545" y="2689"/>
                    </a:cubicBezTo>
                    <a:cubicBezTo>
                      <a:pt x="1949" y="3296"/>
                      <a:pt x="1478" y="3964"/>
                      <a:pt x="1112" y="4620"/>
                    </a:cubicBezTo>
                    <a:cubicBezTo>
                      <a:pt x="750" y="5281"/>
                      <a:pt x="499" y="5941"/>
                      <a:pt x="334" y="6559"/>
                    </a:cubicBezTo>
                    <a:cubicBezTo>
                      <a:pt x="0" y="7793"/>
                      <a:pt x="14" y="8842"/>
                      <a:pt x="90" y="9538"/>
                    </a:cubicBezTo>
                    <a:cubicBezTo>
                      <a:pt x="172" y="10235"/>
                      <a:pt x="303" y="10604"/>
                      <a:pt x="340" y="10604"/>
                    </a:cubicBezTo>
                    <a:cubicBezTo>
                      <a:pt x="341" y="10604"/>
                      <a:pt x="341" y="10604"/>
                      <a:pt x="341" y="10604"/>
                    </a:cubicBezTo>
                    <a:cubicBezTo>
                      <a:pt x="395" y="10593"/>
                      <a:pt x="352" y="10209"/>
                      <a:pt x="352" y="9524"/>
                    </a:cubicBezTo>
                    <a:cubicBezTo>
                      <a:pt x="355" y="8842"/>
                      <a:pt x="416" y="7844"/>
                      <a:pt x="786" y="6691"/>
                    </a:cubicBezTo>
                    <a:cubicBezTo>
                      <a:pt x="973" y="6118"/>
                      <a:pt x="1235" y="5503"/>
                      <a:pt x="1594" y="4894"/>
                    </a:cubicBezTo>
                    <a:cubicBezTo>
                      <a:pt x="1960" y="4291"/>
                      <a:pt x="2416" y="3680"/>
                      <a:pt x="2982" y="3124"/>
                    </a:cubicBezTo>
                    <a:cubicBezTo>
                      <a:pt x="3266" y="2848"/>
                      <a:pt x="3575" y="2578"/>
                      <a:pt x="3908" y="2338"/>
                    </a:cubicBezTo>
                    <a:cubicBezTo>
                      <a:pt x="4246" y="2090"/>
                      <a:pt x="4601" y="1860"/>
                      <a:pt x="4985" y="1663"/>
                    </a:cubicBezTo>
                    <a:cubicBezTo>
                      <a:pt x="5366" y="1462"/>
                      <a:pt x="5764" y="1282"/>
                      <a:pt x="6188" y="1139"/>
                    </a:cubicBezTo>
                    <a:cubicBezTo>
                      <a:pt x="6608" y="996"/>
                      <a:pt x="7046" y="880"/>
                      <a:pt x="7495" y="798"/>
                    </a:cubicBezTo>
                    <a:cubicBezTo>
                      <a:pt x="7947" y="722"/>
                      <a:pt x="8396" y="679"/>
                      <a:pt x="8840" y="669"/>
                    </a:cubicBezTo>
                    <a:cubicBezTo>
                      <a:pt x="8899" y="668"/>
                      <a:pt x="8958" y="667"/>
                      <a:pt x="9016" y="667"/>
                    </a:cubicBezTo>
                    <a:cubicBezTo>
                      <a:pt x="9401" y="667"/>
                      <a:pt x="9780" y="698"/>
                      <a:pt x="10150" y="744"/>
                    </a:cubicBezTo>
                    <a:cubicBezTo>
                      <a:pt x="10578" y="798"/>
                      <a:pt x="10994" y="895"/>
                      <a:pt x="11393" y="1009"/>
                    </a:cubicBezTo>
                    <a:cubicBezTo>
                      <a:pt x="11791" y="1121"/>
                      <a:pt x="12171" y="1268"/>
                      <a:pt x="12531" y="1430"/>
                    </a:cubicBezTo>
                    <a:cubicBezTo>
                      <a:pt x="13255" y="1753"/>
                      <a:pt x="13894" y="2169"/>
                      <a:pt x="14447" y="2614"/>
                    </a:cubicBezTo>
                    <a:cubicBezTo>
                      <a:pt x="14993" y="3063"/>
                      <a:pt x="15448" y="3547"/>
                      <a:pt x="15821" y="4021"/>
                    </a:cubicBezTo>
                    <a:cubicBezTo>
                      <a:pt x="16568" y="4976"/>
                      <a:pt x="16970" y="5895"/>
                      <a:pt x="17207" y="6534"/>
                    </a:cubicBezTo>
                    <a:cubicBezTo>
                      <a:pt x="17442" y="7171"/>
                      <a:pt x="17536" y="7543"/>
                      <a:pt x="17586" y="7543"/>
                    </a:cubicBezTo>
                    <a:cubicBezTo>
                      <a:pt x="17586" y="7543"/>
                      <a:pt x="17587" y="7543"/>
                      <a:pt x="17587" y="7542"/>
                    </a:cubicBezTo>
                    <a:cubicBezTo>
                      <a:pt x="17627" y="7535"/>
                      <a:pt x="17623" y="7144"/>
                      <a:pt x="17458" y="6454"/>
                    </a:cubicBezTo>
                    <a:cubicBezTo>
                      <a:pt x="17290" y="5773"/>
                      <a:pt x="16941" y="4786"/>
                      <a:pt x="16205" y="3741"/>
                    </a:cubicBezTo>
                    <a:cubicBezTo>
                      <a:pt x="15836" y="3221"/>
                      <a:pt x="15373" y="2686"/>
                      <a:pt x="14806" y="2190"/>
                    </a:cubicBezTo>
                    <a:cubicBezTo>
                      <a:pt x="14235" y="1699"/>
                      <a:pt x="13564" y="1236"/>
                      <a:pt x="12792" y="870"/>
                    </a:cubicBezTo>
                    <a:cubicBezTo>
                      <a:pt x="12408" y="686"/>
                      <a:pt x="12002" y="525"/>
                      <a:pt x="11575" y="396"/>
                    </a:cubicBezTo>
                    <a:cubicBezTo>
                      <a:pt x="11148" y="267"/>
                      <a:pt x="10703" y="159"/>
                      <a:pt x="10243" y="95"/>
                    </a:cubicBezTo>
                    <a:cubicBezTo>
                      <a:pt x="9825" y="36"/>
                      <a:pt x="9395" y="0"/>
                      <a:pt x="8959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3" name="Google Shape;2535;p46">
                <a:extLst>
                  <a:ext uri="{FF2B5EF4-FFF2-40B4-BE49-F238E27FC236}">
                    <a16:creationId xmlns:a16="http://schemas.microsoft.com/office/drawing/2014/main" id="{093255DA-18FF-9DB0-DD5C-D2D5606CA413}"/>
                  </a:ext>
                </a:extLst>
              </p:cNvPr>
              <p:cNvSpPr/>
              <p:nvPr/>
            </p:nvSpPr>
            <p:spPr>
              <a:xfrm>
                <a:off x="5058586" y="2488083"/>
                <a:ext cx="386747" cy="570799"/>
              </a:xfrm>
              <a:custGeom>
                <a:avLst/>
                <a:gdLst/>
                <a:ahLst/>
                <a:cxnLst/>
                <a:rect l="l" t="t" r="r" b="b"/>
                <a:pathLst>
                  <a:path w="8712" h="12858" extrusionOk="0">
                    <a:moveTo>
                      <a:pt x="3209" y="3500"/>
                    </a:moveTo>
                    <a:lnTo>
                      <a:pt x="3518" y="5409"/>
                    </a:lnTo>
                    <a:cubicBezTo>
                      <a:pt x="2894" y="5316"/>
                      <a:pt x="2452" y="5122"/>
                      <a:pt x="2377" y="4652"/>
                    </a:cubicBezTo>
                    <a:cubicBezTo>
                      <a:pt x="2304" y="4211"/>
                      <a:pt x="2524" y="3772"/>
                      <a:pt x="3209" y="3500"/>
                    </a:cubicBezTo>
                    <a:close/>
                    <a:moveTo>
                      <a:pt x="5233" y="7506"/>
                    </a:moveTo>
                    <a:cubicBezTo>
                      <a:pt x="5844" y="7617"/>
                      <a:pt x="6275" y="7807"/>
                      <a:pt x="6350" y="8277"/>
                    </a:cubicBezTo>
                    <a:cubicBezTo>
                      <a:pt x="6418" y="8708"/>
                      <a:pt x="6177" y="9106"/>
                      <a:pt x="5528" y="9361"/>
                    </a:cubicBezTo>
                    <a:lnTo>
                      <a:pt x="5233" y="7506"/>
                    </a:lnTo>
                    <a:close/>
                    <a:moveTo>
                      <a:pt x="4032" y="0"/>
                    </a:moveTo>
                    <a:lnTo>
                      <a:pt x="2685" y="216"/>
                    </a:lnTo>
                    <a:lnTo>
                      <a:pt x="2925" y="1708"/>
                    </a:lnTo>
                    <a:cubicBezTo>
                      <a:pt x="840" y="2290"/>
                      <a:pt x="0" y="3683"/>
                      <a:pt x="227" y="5108"/>
                    </a:cubicBezTo>
                    <a:cubicBezTo>
                      <a:pt x="535" y="7032"/>
                      <a:pt x="2283" y="7261"/>
                      <a:pt x="3833" y="7384"/>
                    </a:cubicBezTo>
                    <a:lnTo>
                      <a:pt x="4193" y="9630"/>
                    </a:lnTo>
                    <a:cubicBezTo>
                      <a:pt x="4079" y="9637"/>
                      <a:pt x="3965" y="9641"/>
                      <a:pt x="3850" y="9641"/>
                    </a:cubicBezTo>
                    <a:cubicBezTo>
                      <a:pt x="2975" y="9641"/>
                      <a:pt x="2096" y="9438"/>
                      <a:pt x="1433" y="9092"/>
                    </a:cubicBezTo>
                    <a:lnTo>
                      <a:pt x="955" y="10854"/>
                    </a:lnTo>
                    <a:cubicBezTo>
                      <a:pt x="1623" y="11223"/>
                      <a:pt x="2619" y="11432"/>
                      <a:pt x="3681" y="11432"/>
                    </a:cubicBezTo>
                    <a:cubicBezTo>
                      <a:pt x="3943" y="11432"/>
                      <a:pt x="4210" y="11419"/>
                      <a:pt x="4476" y="11393"/>
                    </a:cubicBezTo>
                    <a:lnTo>
                      <a:pt x="4709" y="12857"/>
                    </a:lnTo>
                    <a:lnTo>
                      <a:pt x="6056" y="12642"/>
                    </a:lnTo>
                    <a:lnTo>
                      <a:pt x="5815" y="11138"/>
                    </a:lnTo>
                    <a:cubicBezTo>
                      <a:pt x="7882" y="10542"/>
                      <a:pt x="8712" y="9171"/>
                      <a:pt x="8489" y="7771"/>
                    </a:cubicBezTo>
                    <a:cubicBezTo>
                      <a:pt x="8184" y="5876"/>
                      <a:pt x="6465" y="5639"/>
                      <a:pt x="4915" y="5528"/>
                    </a:cubicBezTo>
                    <a:lnTo>
                      <a:pt x="4548" y="3242"/>
                    </a:lnTo>
                    <a:cubicBezTo>
                      <a:pt x="4611" y="3239"/>
                      <a:pt x="4673" y="3238"/>
                      <a:pt x="4736" y="3238"/>
                    </a:cubicBezTo>
                    <a:cubicBezTo>
                      <a:pt x="5367" y="3238"/>
                      <a:pt x="6038" y="3357"/>
                      <a:pt x="6719" y="3611"/>
                    </a:cubicBezTo>
                    <a:lnTo>
                      <a:pt x="7125" y="1849"/>
                    </a:lnTo>
                    <a:cubicBezTo>
                      <a:pt x="6479" y="1570"/>
                      <a:pt x="5703" y="1442"/>
                      <a:pt x="4899" y="1442"/>
                    </a:cubicBezTo>
                    <a:cubicBezTo>
                      <a:pt x="4689" y="1442"/>
                      <a:pt x="4476" y="1451"/>
                      <a:pt x="4264" y="1468"/>
                    </a:cubicBezTo>
                    <a:lnTo>
                      <a:pt x="4032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40" name="Google Shape;2538;p46">
              <a:extLst>
                <a:ext uri="{FF2B5EF4-FFF2-40B4-BE49-F238E27FC236}">
                  <a16:creationId xmlns:a16="http://schemas.microsoft.com/office/drawing/2014/main" id="{B67C4DE6-6113-718A-8C8A-13D6B7499A97}"/>
                </a:ext>
              </a:extLst>
            </p:cNvPr>
            <p:cNvGrpSpPr/>
            <p:nvPr/>
          </p:nvGrpSpPr>
          <p:grpSpPr>
            <a:xfrm rot="756199">
              <a:off x="8106510" y="1734345"/>
              <a:ext cx="502396" cy="423275"/>
              <a:chOff x="2681574" y="1237063"/>
              <a:chExt cx="340338" cy="314998"/>
            </a:xfrm>
          </p:grpSpPr>
          <p:sp>
            <p:nvSpPr>
              <p:cNvPr id="726" name="Google Shape;2539;p46">
                <a:extLst>
                  <a:ext uri="{FF2B5EF4-FFF2-40B4-BE49-F238E27FC236}">
                    <a16:creationId xmlns:a16="http://schemas.microsoft.com/office/drawing/2014/main" id="{A4FAF4F3-11B5-2DC0-5E26-B32889EC09F6}"/>
                  </a:ext>
                </a:extLst>
              </p:cNvPr>
              <p:cNvSpPr/>
              <p:nvPr/>
            </p:nvSpPr>
            <p:spPr>
              <a:xfrm>
                <a:off x="2681574" y="1237063"/>
                <a:ext cx="340338" cy="314998"/>
              </a:xfrm>
              <a:custGeom>
                <a:avLst/>
                <a:gdLst/>
                <a:ahLst/>
                <a:cxnLst/>
                <a:rect l="l" t="t" r="r" b="b"/>
                <a:pathLst>
                  <a:path w="9227" h="8540" extrusionOk="0">
                    <a:moveTo>
                      <a:pt x="6425" y="0"/>
                    </a:moveTo>
                    <a:cubicBezTo>
                      <a:pt x="6425" y="0"/>
                      <a:pt x="6228" y="2011"/>
                      <a:pt x="3964" y="2884"/>
                    </a:cubicBezTo>
                    <a:cubicBezTo>
                      <a:pt x="2562" y="3427"/>
                      <a:pt x="1" y="4855"/>
                      <a:pt x="254" y="5974"/>
                    </a:cubicBezTo>
                    <a:lnTo>
                      <a:pt x="2369" y="8540"/>
                    </a:lnTo>
                    <a:cubicBezTo>
                      <a:pt x="2369" y="8540"/>
                      <a:pt x="3746" y="7084"/>
                      <a:pt x="5677" y="6442"/>
                    </a:cubicBezTo>
                    <a:cubicBezTo>
                      <a:pt x="7574" y="5813"/>
                      <a:pt x="9226" y="3160"/>
                      <a:pt x="9226" y="3160"/>
                    </a:cubicBezTo>
                    <a:lnTo>
                      <a:pt x="6425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7" name="Google Shape;2540;p46">
                <a:extLst>
                  <a:ext uri="{FF2B5EF4-FFF2-40B4-BE49-F238E27FC236}">
                    <a16:creationId xmlns:a16="http://schemas.microsoft.com/office/drawing/2014/main" id="{DE42A570-2EAC-7DF7-63E4-CFE4929301F8}"/>
                  </a:ext>
                </a:extLst>
              </p:cNvPr>
              <p:cNvSpPr/>
              <p:nvPr/>
            </p:nvSpPr>
            <p:spPr>
              <a:xfrm>
                <a:off x="2798758" y="1347238"/>
                <a:ext cx="136733" cy="114897"/>
              </a:xfrm>
              <a:custGeom>
                <a:avLst/>
                <a:gdLst/>
                <a:ahLst/>
                <a:cxnLst/>
                <a:rect l="l" t="t" r="r" b="b"/>
                <a:pathLst>
                  <a:path w="3707" h="3115" extrusionOk="0">
                    <a:moveTo>
                      <a:pt x="2035" y="1"/>
                    </a:moveTo>
                    <a:cubicBezTo>
                      <a:pt x="1894" y="1"/>
                      <a:pt x="1751" y="21"/>
                      <a:pt x="1608" y="63"/>
                    </a:cubicBezTo>
                    <a:cubicBezTo>
                      <a:pt x="813" y="299"/>
                      <a:pt x="1" y="1239"/>
                      <a:pt x="232" y="2035"/>
                    </a:cubicBezTo>
                    <a:cubicBezTo>
                      <a:pt x="409" y="2631"/>
                      <a:pt x="1028" y="3114"/>
                      <a:pt x="1736" y="3114"/>
                    </a:cubicBezTo>
                    <a:cubicBezTo>
                      <a:pt x="1972" y="3114"/>
                      <a:pt x="2218" y="3061"/>
                      <a:pt x="2461" y="2939"/>
                    </a:cubicBezTo>
                    <a:cubicBezTo>
                      <a:pt x="3200" y="2568"/>
                      <a:pt x="3706" y="1868"/>
                      <a:pt x="3470" y="1077"/>
                    </a:cubicBezTo>
                    <a:cubicBezTo>
                      <a:pt x="3276" y="424"/>
                      <a:pt x="2682" y="1"/>
                      <a:pt x="2035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8" name="Google Shape;2541;p46">
                <a:extLst>
                  <a:ext uri="{FF2B5EF4-FFF2-40B4-BE49-F238E27FC236}">
                    <a16:creationId xmlns:a16="http://schemas.microsoft.com/office/drawing/2014/main" id="{174025BC-93E8-4981-2A67-5DFE57919155}"/>
                  </a:ext>
                </a:extLst>
              </p:cNvPr>
              <p:cNvSpPr/>
              <p:nvPr/>
            </p:nvSpPr>
            <p:spPr>
              <a:xfrm>
                <a:off x="2831807" y="1370734"/>
                <a:ext cx="68385" cy="74950"/>
              </a:xfrm>
              <a:custGeom>
                <a:avLst/>
                <a:gdLst/>
                <a:ahLst/>
                <a:cxnLst/>
                <a:rect l="l" t="t" r="r" b="b"/>
                <a:pathLst>
                  <a:path w="1854" h="2032" extrusionOk="0">
                    <a:moveTo>
                      <a:pt x="529" y="422"/>
                    </a:moveTo>
                    <a:cubicBezTo>
                      <a:pt x="613" y="541"/>
                      <a:pt x="712" y="676"/>
                      <a:pt x="827" y="825"/>
                    </a:cubicBezTo>
                    <a:cubicBezTo>
                      <a:pt x="796" y="842"/>
                      <a:pt x="770" y="856"/>
                      <a:pt x="744" y="873"/>
                    </a:cubicBezTo>
                    <a:cubicBezTo>
                      <a:pt x="630" y="737"/>
                      <a:pt x="525" y="615"/>
                      <a:pt x="433" y="523"/>
                    </a:cubicBezTo>
                    <a:cubicBezTo>
                      <a:pt x="442" y="515"/>
                      <a:pt x="446" y="501"/>
                      <a:pt x="450" y="493"/>
                    </a:cubicBezTo>
                    <a:cubicBezTo>
                      <a:pt x="476" y="467"/>
                      <a:pt x="503" y="445"/>
                      <a:pt x="529" y="422"/>
                    </a:cubicBezTo>
                    <a:close/>
                    <a:moveTo>
                      <a:pt x="363" y="642"/>
                    </a:moveTo>
                    <a:cubicBezTo>
                      <a:pt x="424" y="733"/>
                      <a:pt x="503" y="838"/>
                      <a:pt x="587" y="952"/>
                    </a:cubicBezTo>
                    <a:cubicBezTo>
                      <a:pt x="569" y="956"/>
                      <a:pt x="547" y="969"/>
                      <a:pt x="534" y="973"/>
                    </a:cubicBezTo>
                    <a:cubicBezTo>
                      <a:pt x="512" y="978"/>
                      <a:pt x="494" y="978"/>
                      <a:pt x="476" y="978"/>
                    </a:cubicBezTo>
                    <a:cubicBezTo>
                      <a:pt x="460" y="978"/>
                      <a:pt x="446" y="973"/>
                      <a:pt x="433" y="969"/>
                    </a:cubicBezTo>
                    <a:cubicBezTo>
                      <a:pt x="407" y="961"/>
                      <a:pt x="377" y="939"/>
                      <a:pt x="359" y="908"/>
                    </a:cubicBezTo>
                    <a:cubicBezTo>
                      <a:pt x="315" y="851"/>
                      <a:pt x="302" y="785"/>
                      <a:pt x="329" y="707"/>
                    </a:cubicBezTo>
                    <a:cubicBezTo>
                      <a:pt x="333" y="685"/>
                      <a:pt x="355" y="664"/>
                      <a:pt x="363" y="642"/>
                    </a:cubicBezTo>
                    <a:close/>
                    <a:moveTo>
                      <a:pt x="1286" y="1027"/>
                    </a:moveTo>
                    <a:cubicBezTo>
                      <a:pt x="1295" y="1027"/>
                      <a:pt x="1303" y="1028"/>
                      <a:pt x="1311" y="1031"/>
                    </a:cubicBezTo>
                    <a:cubicBezTo>
                      <a:pt x="1382" y="1039"/>
                      <a:pt x="1456" y="1100"/>
                      <a:pt x="1482" y="1170"/>
                    </a:cubicBezTo>
                    <a:cubicBezTo>
                      <a:pt x="1513" y="1227"/>
                      <a:pt x="1509" y="1310"/>
                      <a:pt x="1486" y="1384"/>
                    </a:cubicBezTo>
                    <a:cubicBezTo>
                      <a:pt x="1408" y="1279"/>
                      <a:pt x="1321" y="1162"/>
                      <a:pt x="1224" y="1035"/>
                    </a:cubicBezTo>
                    <a:cubicBezTo>
                      <a:pt x="1245" y="1032"/>
                      <a:pt x="1266" y="1027"/>
                      <a:pt x="1286" y="1027"/>
                    </a:cubicBezTo>
                    <a:close/>
                    <a:moveTo>
                      <a:pt x="1053" y="1104"/>
                    </a:moveTo>
                    <a:cubicBezTo>
                      <a:pt x="1180" y="1262"/>
                      <a:pt x="1303" y="1406"/>
                      <a:pt x="1408" y="1524"/>
                    </a:cubicBezTo>
                    <a:cubicBezTo>
                      <a:pt x="1386" y="1555"/>
                      <a:pt x="1373" y="1594"/>
                      <a:pt x="1347" y="1620"/>
                    </a:cubicBezTo>
                    <a:cubicBezTo>
                      <a:pt x="1342" y="1624"/>
                      <a:pt x="1338" y="1629"/>
                      <a:pt x="1333" y="1638"/>
                    </a:cubicBezTo>
                    <a:cubicBezTo>
                      <a:pt x="1233" y="1498"/>
                      <a:pt x="1111" y="1332"/>
                      <a:pt x="970" y="1152"/>
                    </a:cubicBezTo>
                    <a:cubicBezTo>
                      <a:pt x="992" y="1140"/>
                      <a:pt x="1015" y="1126"/>
                      <a:pt x="1037" y="1114"/>
                    </a:cubicBezTo>
                    <a:cubicBezTo>
                      <a:pt x="1041" y="1109"/>
                      <a:pt x="1045" y="1109"/>
                      <a:pt x="1053" y="1104"/>
                    </a:cubicBezTo>
                    <a:close/>
                    <a:moveTo>
                      <a:pt x="290" y="1"/>
                    </a:moveTo>
                    <a:cubicBezTo>
                      <a:pt x="288" y="1"/>
                      <a:pt x="286" y="1"/>
                      <a:pt x="285" y="3"/>
                    </a:cubicBezTo>
                    <a:cubicBezTo>
                      <a:pt x="267" y="12"/>
                      <a:pt x="315" y="104"/>
                      <a:pt x="403" y="235"/>
                    </a:cubicBezTo>
                    <a:cubicBezTo>
                      <a:pt x="363" y="261"/>
                      <a:pt x="324" y="275"/>
                      <a:pt x="280" y="305"/>
                    </a:cubicBezTo>
                    <a:cubicBezTo>
                      <a:pt x="272" y="313"/>
                      <a:pt x="258" y="327"/>
                      <a:pt x="250" y="340"/>
                    </a:cubicBezTo>
                    <a:cubicBezTo>
                      <a:pt x="217" y="311"/>
                      <a:pt x="194" y="294"/>
                      <a:pt x="179" y="294"/>
                    </a:cubicBezTo>
                    <a:cubicBezTo>
                      <a:pt x="176" y="294"/>
                      <a:pt x="173" y="295"/>
                      <a:pt x="171" y="297"/>
                    </a:cubicBezTo>
                    <a:cubicBezTo>
                      <a:pt x="162" y="305"/>
                      <a:pt x="175" y="335"/>
                      <a:pt x="202" y="388"/>
                    </a:cubicBezTo>
                    <a:cubicBezTo>
                      <a:pt x="145" y="445"/>
                      <a:pt x="88" y="511"/>
                      <a:pt x="49" y="602"/>
                    </a:cubicBezTo>
                    <a:cubicBezTo>
                      <a:pt x="22" y="672"/>
                      <a:pt x="0" y="747"/>
                      <a:pt x="4" y="838"/>
                    </a:cubicBezTo>
                    <a:cubicBezTo>
                      <a:pt x="10" y="926"/>
                      <a:pt x="36" y="1013"/>
                      <a:pt x="79" y="1092"/>
                    </a:cubicBezTo>
                    <a:cubicBezTo>
                      <a:pt x="131" y="1166"/>
                      <a:pt x="202" y="1235"/>
                      <a:pt x="298" y="1279"/>
                    </a:cubicBezTo>
                    <a:cubicBezTo>
                      <a:pt x="341" y="1301"/>
                      <a:pt x="394" y="1314"/>
                      <a:pt x="446" y="1323"/>
                    </a:cubicBezTo>
                    <a:cubicBezTo>
                      <a:pt x="466" y="1325"/>
                      <a:pt x="487" y="1326"/>
                      <a:pt x="508" y="1326"/>
                    </a:cubicBezTo>
                    <a:cubicBezTo>
                      <a:pt x="537" y="1326"/>
                      <a:pt x="567" y="1324"/>
                      <a:pt x="595" y="1319"/>
                    </a:cubicBezTo>
                    <a:cubicBezTo>
                      <a:pt x="678" y="1301"/>
                      <a:pt x="748" y="1271"/>
                      <a:pt x="809" y="1241"/>
                    </a:cubicBezTo>
                    <a:cubicBezTo>
                      <a:pt x="962" y="1428"/>
                      <a:pt x="1106" y="1598"/>
                      <a:pt x="1228" y="1729"/>
                    </a:cubicBezTo>
                    <a:cubicBezTo>
                      <a:pt x="1150" y="1791"/>
                      <a:pt x="1075" y="1848"/>
                      <a:pt x="1023" y="1887"/>
                    </a:cubicBezTo>
                    <a:cubicBezTo>
                      <a:pt x="932" y="1949"/>
                      <a:pt x="883" y="1987"/>
                      <a:pt x="892" y="2009"/>
                    </a:cubicBezTo>
                    <a:cubicBezTo>
                      <a:pt x="897" y="2024"/>
                      <a:pt x="918" y="2031"/>
                      <a:pt x="954" y="2031"/>
                    </a:cubicBezTo>
                    <a:cubicBezTo>
                      <a:pt x="984" y="2031"/>
                      <a:pt x="1025" y="2026"/>
                      <a:pt x="1075" y="2014"/>
                    </a:cubicBezTo>
                    <a:cubicBezTo>
                      <a:pt x="1154" y="1996"/>
                      <a:pt x="1263" y="1953"/>
                      <a:pt x="1377" y="1891"/>
                    </a:cubicBezTo>
                    <a:cubicBezTo>
                      <a:pt x="1461" y="1972"/>
                      <a:pt x="1516" y="2015"/>
                      <a:pt x="1538" y="2015"/>
                    </a:cubicBezTo>
                    <a:cubicBezTo>
                      <a:pt x="1540" y="2015"/>
                      <a:pt x="1542" y="2014"/>
                      <a:pt x="1543" y="2014"/>
                    </a:cubicBezTo>
                    <a:cubicBezTo>
                      <a:pt x="1557" y="2001"/>
                      <a:pt x="1525" y="1939"/>
                      <a:pt x="1464" y="1838"/>
                    </a:cubicBezTo>
                    <a:cubicBezTo>
                      <a:pt x="1486" y="1826"/>
                      <a:pt x="1499" y="1822"/>
                      <a:pt x="1521" y="1808"/>
                    </a:cubicBezTo>
                    <a:cubicBezTo>
                      <a:pt x="1547" y="1786"/>
                      <a:pt x="1569" y="1756"/>
                      <a:pt x="1596" y="1729"/>
                    </a:cubicBezTo>
                    <a:cubicBezTo>
                      <a:pt x="1695" y="1833"/>
                      <a:pt x="1762" y="1893"/>
                      <a:pt x="1786" y="1893"/>
                    </a:cubicBezTo>
                    <a:cubicBezTo>
                      <a:pt x="1789" y="1893"/>
                      <a:pt x="1791" y="1892"/>
                      <a:pt x="1793" y="1891"/>
                    </a:cubicBezTo>
                    <a:cubicBezTo>
                      <a:pt x="1810" y="1878"/>
                      <a:pt x="1761" y="1786"/>
                      <a:pt x="1670" y="1646"/>
                    </a:cubicBezTo>
                    <a:cubicBezTo>
                      <a:pt x="1700" y="1608"/>
                      <a:pt x="1727" y="1568"/>
                      <a:pt x="1753" y="1520"/>
                    </a:cubicBezTo>
                    <a:cubicBezTo>
                      <a:pt x="1814" y="1398"/>
                      <a:pt x="1854" y="1231"/>
                      <a:pt x="1793" y="1052"/>
                    </a:cubicBezTo>
                    <a:cubicBezTo>
                      <a:pt x="1731" y="882"/>
                      <a:pt x="1587" y="737"/>
                      <a:pt x="1390" y="690"/>
                    </a:cubicBezTo>
                    <a:cubicBezTo>
                      <a:pt x="1338" y="676"/>
                      <a:pt x="1285" y="672"/>
                      <a:pt x="1237" y="672"/>
                    </a:cubicBezTo>
                    <a:cubicBezTo>
                      <a:pt x="1184" y="676"/>
                      <a:pt x="1137" y="685"/>
                      <a:pt x="1093" y="698"/>
                    </a:cubicBezTo>
                    <a:cubicBezTo>
                      <a:pt x="1053" y="711"/>
                      <a:pt x="1023" y="729"/>
                      <a:pt x="988" y="747"/>
                    </a:cubicBezTo>
                    <a:cubicBezTo>
                      <a:pt x="861" y="589"/>
                      <a:pt x="739" y="449"/>
                      <a:pt x="639" y="331"/>
                    </a:cubicBezTo>
                    <a:cubicBezTo>
                      <a:pt x="691" y="291"/>
                      <a:pt x="739" y="257"/>
                      <a:pt x="783" y="231"/>
                    </a:cubicBezTo>
                    <a:cubicBezTo>
                      <a:pt x="870" y="166"/>
                      <a:pt x="914" y="121"/>
                      <a:pt x="905" y="99"/>
                    </a:cubicBezTo>
                    <a:cubicBezTo>
                      <a:pt x="901" y="88"/>
                      <a:pt x="883" y="83"/>
                      <a:pt x="853" y="83"/>
                    </a:cubicBezTo>
                    <a:cubicBezTo>
                      <a:pt x="823" y="83"/>
                      <a:pt x="781" y="88"/>
                      <a:pt x="726" y="99"/>
                    </a:cubicBezTo>
                    <a:cubicBezTo>
                      <a:pt x="669" y="113"/>
                      <a:pt x="603" y="134"/>
                      <a:pt x="529" y="166"/>
                    </a:cubicBezTo>
                    <a:cubicBezTo>
                      <a:pt x="521" y="170"/>
                      <a:pt x="508" y="178"/>
                      <a:pt x="498" y="182"/>
                    </a:cubicBezTo>
                    <a:cubicBezTo>
                      <a:pt x="392" y="72"/>
                      <a:pt x="314" y="1"/>
                      <a:pt x="290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9" name="Google Shape;2542;p46">
                <a:extLst>
                  <a:ext uri="{FF2B5EF4-FFF2-40B4-BE49-F238E27FC236}">
                    <a16:creationId xmlns:a16="http://schemas.microsoft.com/office/drawing/2014/main" id="{CCDA7E1C-2D75-4F73-2A08-FA2E72FAE55B}"/>
                  </a:ext>
                </a:extLst>
              </p:cNvPr>
              <p:cNvSpPr/>
              <p:nvPr/>
            </p:nvSpPr>
            <p:spPr>
              <a:xfrm>
                <a:off x="2700128" y="1258825"/>
                <a:ext cx="302900" cy="276785"/>
              </a:xfrm>
              <a:custGeom>
                <a:avLst/>
                <a:gdLst/>
                <a:ahLst/>
                <a:cxnLst/>
                <a:rect l="l" t="t" r="r" b="b"/>
                <a:pathLst>
                  <a:path w="8212" h="7504" extrusionOk="0">
                    <a:moveTo>
                      <a:pt x="6123" y="179"/>
                    </a:moveTo>
                    <a:lnTo>
                      <a:pt x="8090" y="2504"/>
                    </a:lnTo>
                    <a:cubicBezTo>
                      <a:pt x="7251" y="4309"/>
                      <a:pt x="5573" y="5340"/>
                      <a:pt x="4379" y="5673"/>
                    </a:cubicBezTo>
                    <a:cubicBezTo>
                      <a:pt x="3318" y="5974"/>
                      <a:pt x="2159" y="7106"/>
                      <a:pt x="1923" y="7347"/>
                    </a:cubicBezTo>
                    <a:lnTo>
                      <a:pt x="123" y="5144"/>
                    </a:lnTo>
                    <a:cubicBezTo>
                      <a:pt x="660" y="3859"/>
                      <a:pt x="2636" y="3046"/>
                      <a:pt x="3942" y="2508"/>
                    </a:cubicBezTo>
                    <a:cubicBezTo>
                      <a:pt x="4173" y="2413"/>
                      <a:pt x="4393" y="2321"/>
                      <a:pt x="4580" y="2238"/>
                    </a:cubicBezTo>
                    <a:cubicBezTo>
                      <a:pt x="4803" y="2141"/>
                      <a:pt x="4996" y="2014"/>
                      <a:pt x="5157" y="1875"/>
                    </a:cubicBezTo>
                    <a:cubicBezTo>
                      <a:pt x="5742" y="1377"/>
                      <a:pt x="5983" y="709"/>
                      <a:pt x="6053" y="477"/>
                    </a:cubicBezTo>
                    <a:cubicBezTo>
                      <a:pt x="6065" y="437"/>
                      <a:pt x="6105" y="302"/>
                      <a:pt x="6123" y="179"/>
                    </a:cubicBezTo>
                    <a:close/>
                    <a:moveTo>
                      <a:pt x="6105" y="1"/>
                    </a:moveTo>
                    <a:lnTo>
                      <a:pt x="6018" y="57"/>
                    </a:lnTo>
                    <a:cubicBezTo>
                      <a:pt x="6061" y="175"/>
                      <a:pt x="5769" y="1595"/>
                      <a:pt x="4536" y="2141"/>
                    </a:cubicBezTo>
                    <a:cubicBezTo>
                      <a:pt x="4353" y="2224"/>
                      <a:pt x="4135" y="2316"/>
                      <a:pt x="3903" y="2408"/>
                    </a:cubicBezTo>
                    <a:cubicBezTo>
                      <a:pt x="2977" y="2793"/>
                      <a:pt x="1718" y="3309"/>
                      <a:pt x="857" y="4043"/>
                    </a:cubicBezTo>
                    <a:cubicBezTo>
                      <a:pt x="476" y="4362"/>
                      <a:pt x="175" y="4725"/>
                      <a:pt x="14" y="5135"/>
                    </a:cubicBezTo>
                    <a:lnTo>
                      <a:pt x="0" y="5166"/>
                    </a:lnTo>
                    <a:lnTo>
                      <a:pt x="1914" y="7504"/>
                    </a:lnTo>
                    <a:lnTo>
                      <a:pt x="1958" y="7460"/>
                    </a:lnTo>
                    <a:cubicBezTo>
                      <a:pt x="1971" y="7447"/>
                      <a:pt x="3273" y="6096"/>
                      <a:pt x="4409" y="5778"/>
                    </a:cubicBezTo>
                    <a:cubicBezTo>
                      <a:pt x="5629" y="5432"/>
                      <a:pt x="7350" y="4374"/>
                      <a:pt x="8199" y="2518"/>
                    </a:cubicBezTo>
                    <a:lnTo>
                      <a:pt x="8211" y="2486"/>
                    </a:lnTo>
                    <a:lnTo>
                      <a:pt x="6105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41" name="Google Shape;2543;p46">
              <a:extLst>
                <a:ext uri="{FF2B5EF4-FFF2-40B4-BE49-F238E27FC236}">
                  <a16:creationId xmlns:a16="http://schemas.microsoft.com/office/drawing/2014/main" id="{778B0ABB-6EAF-C1BF-CA14-68F64204DA2B}"/>
                </a:ext>
              </a:extLst>
            </p:cNvPr>
            <p:cNvGrpSpPr/>
            <p:nvPr/>
          </p:nvGrpSpPr>
          <p:grpSpPr>
            <a:xfrm>
              <a:off x="6472501" y="1281478"/>
              <a:ext cx="1000385" cy="883233"/>
              <a:chOff x="6472501" y="1326053"/>
              <a:chExt cx="1000385" cy="883233"/>
            </a:xfrm>
          </p:grpSpPr>
          <p:sp>
            <p:nvSpPr>
              <p:cNvPr id="722" name="Google Shape;2544;p46">
                <a:extLst>
                  <a:ext uri="{FF2B5EF4-FFF2-40B4-BE49-F238E27FC236}">
                    <a16:creationId xmlns:a16="http://schemas.microsoft.com/office/drawing/2014/main" id="{3DFB29FC-129C-E7E6-2FC1-C1F0B4AA4D69}"/>
                  </a:ext>
                </a:extLst>
              </p:cNvPr>
              <p:cNvSpPr/>
              <p:nvPr/>
            </p:nvSpPr>
            <p:spPr>
              <a:xfrm>
                <a:off x="6472501" y="1326053"/>
                <a:ext cx="1000385" cy="883233"/>
              </a:xfrm>
              <a:custGeom>
                <a:avLst/>
                <a:gdLst/>
                <a:ahLst/>
                <a:cxnLst/>
                <a:rect l="l" t="t" r="r" b="b"/>
                <a:pathLst>
                  <a:path w="22535" h="19896" extrusionOk="0">
                    <a:moveTo>
                      <a:pt x="11255" y="0"/>
                    </a:moveTo>
                    <a:cubicBezTo>
                      <a:pt x="8227" y="0"/>
                      <a:pt x="5239" y="1376"/>
                      <a:pt x="3289" y="3985"/>
                    </a:cubicBezTo>
                    <a:cubicBezTo>
                      <a:pt x="1" y="8378"/>
                      <a:pt x="913" y="14612"/>
                      <a:pt x="5316" y="17907"/>
                    </a:cubicBezTo>
                    <a:cubicBezTo>
                      <a:pt x="7110" y="19248"/>
                      <a:pt x="9206" y="19895"/>
                      <a:pt x="11284" y="19895"/>
                    </a:cubicBezTo>
                    <a:cubicBezTo>
                      <a:pt x="14312" y="19895"/>
                      <a:pt x="17299" y="18520"/>
                      <a:pt x="19247" y="15912"/>
                    </a:cubicBezTo>
                    <a:cubicBezTo>
                      <a:pt x="22535" y="11515"/>
                      <a:pt x="21627" y="5281"/>
                      <a:pt x="17219" y="1986"/>
                    </a:cubicBezTo>
                    <a:cubicBezTo>
                      <a:pt x="15426" y="647"/>
                      <a:pt x="13331" y="0"/>
                      <a:pt x="11255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3" name="Google Shape;2545;p46">
                <a:extLst>
                  <a:ext uri="{FF2B5EF4-FFF2-40B4-BE49-F238E27FC236}">
                    <a16:creationId xmlns:a16="http://schemas.microsoft.com/office/drawing/2014/main" id="{9646AB0C-4E62-CC1F-1A71-47367EA01029}"/>
                  </a:ext>
                </a:extLst>
              </p:cNvPr>
              <p:cNvSpPr/>
              <p:nvPr/>
            </p:nvSpPr>
            <p:spPr>
              <a:xfrm>
                <a:off x="6591559" y="1431083"/>
                <a:ext cx="762308" cy="673123"/>
              </a:xfrm>
              <a:custGeom>
                <a:avLst/>
                <a:gdLst/>
                <a:ahLst/>
                <a:cxnLst/>
                <a:rect l="l" t="t" r="r" b="b"/>
                <a:pathLst>
                  <a:path w="17172" h="15163" extrusionOk="0">
                    <a:moveTo>
                      <a:pt x="8574" y="0"/>
                    </a:moveTo>
                    <a:cubicBezTo>
                      <a:pt x="6268" y="0"/>
                      <a:pt x="3991" y="1048"/>
                      <a:pt x="2505" y="3036"/>
                    </a:cubicBezTo>
                    <a:cubicBezTo>
                      <a:pt x="0" y="6385"/>
                      <a:pt x="693" y="11138"/>
                      <a:pt x="4052" y="13646"/>
                    </a:cubicBezTo>
                    <a:cubicBezTo>
                      <a:pt x="5418" y="14669"/>
                      <a:pt x="7014" y="15162"/>
                      <a:pt x="8596" y="15162"/>
                    </a:cubicBezTo>
                    <a:cubicBezTo>
                      <a:pt x="10903" y="15162"/>
                      <a:pt x="13180" y="14113"/>
                      <a:pt x="14666" y="12124"/>
                    </a:cubicBezTo>
                    <a:cubicBezTo>
                      <a:pt x="17171" y="8776"/>
                      <a:pt x="16479" y="4023"/>
                      <a:pt x="13119" y="1515"/>
                    </a:cubicBezTo>
                    <a:cubicBezTo>
                      <a:pt x="11753" y="494"/>
                      <a:pt x="10157" y="0"/>
                      <a:pt x="8574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4" name="Google Shape;2546;p46">
                <a:extLst>
                  <a:ext uri="{FF2B5EF4-FFF2-40B4-BE49-F238E27FC236}">
                    <a16:creationId xmlns:a16="http://schemas.microsoft.com/office/drawing/2014/main" id="{E0993237-9AE4-3464-2C4C-26C48B7AB356}"/>
                  </a:ext>
                </a:extLst>
              </p:cNvPr>
              <p:cNvSpPr/>
              <p:nvPr/>
            </p:nvSpPr>
            <p:spPr>
              <a:xfrm>
                <a:off x="6695435" y="1419230"/>
                <a:ext cx="625446" cy="541722"/>
              </a:xfrm>
              <a:custGeom>
                <a:avLst/>
                <a:gdLst/>
                <a:ahLst/>
                <a:cxnLst/>
                <a:rect l="l" t="t" r="r" b="b"/>
                <a:pathLst>
                  <a:path w="14089" h="12203" extrusionOk="0">
                    <a:moveTo>
                      <a:pt x="6307" y="1"/>
                    </a:moveTo>
                    <a:cubicBezTo>
                      <a:pt x="6282" y="1"/>
                      <a:pt x="6257" y="1"/>
                      <a:pt x="6231" y="1"/>
                    </a:cubicBezTo>
                    <a:cubicBezTo>
                      <a:pt x="5492" y="8"/>
                      <a:pt x="4795" y="127"/>
                      <a:pt x="4167" y="306"/>
                    </a:cubicBezTo>
                    <a:cubicBezTo>
                      <a:pt x="3539" y="490"/>
                      <a:pt x="2983" y="737"/>
                      <a:pt x="2502" y="1013"/>
                    </a:cubicBezTo>
                    <a:cubicBezTo>
                      <a:pt x="1540" y="1566"/>
                      <a:pt x="909" y="2216"/>
                      <a:pt x="528" y="2690"/>
                    </a:cubicBezTo>
                    <a:cubicBezTo>
                      <a:pt x="147" y="3170"/>
                      <a:pt x="1" y="3480"/>
                      <a:pt x="29" y="3497"/>
                    </a:cubicBezTo>
                    <a:cubicBezTo>
                      <a:pt x="31" y="3498"/>
                      <a:pt x="33" y="3499"/>
                      <a:pt x="35" y="3499"/>
                    </a:cubicBezTo>
                    <a:cubicBezTo>
                      <a:pt x="85" y="3499"/>
                      <a:pt x="292" y="3245"/>
                      <a:pt x="693" y="2844"/>
                    </a:cubicBezTo>
                    <a:cubicBezTo>
                      <a:pt x="1116" y="2428"/>
                      <a:pt x="1767" y="1853"/>
                      <a:pt x="2700" y="1376"/>
                    </a:cubicBezTo>
                    <a:cubicBezTo>
                      <a:pt x="3166" y="1136"/>
                      <a:pt x="3701" y="924"/>
                      <a:pt x="4297" y="770"/>
                    </a:cubicBezTo>
                    <a:cubicBezTo>
                      <a:pt x="4863" y="630"/>
                      <a:pt x="5480" y="539"/>
                      <a:pt x="6128" y="539"/>
                    </a:cubicBezTo>
                    <a:cubicBezTo>
                      <a:pt x="6162" y="539"/>
                      <a:pt x="6197" y="539"/>
                      <a:pt x="6231" y="540"/>
                    </a:cubicBezTo>
                    <a:cubicBezTo>
                      <a:pt x="6576" y="543"/>
                      <a:pt x="6928" y="565"/>
                      <a:pt x="7283" y="622"/>
                    </a:cubicBezTo>
                    <a:cubicBezTo>
                      <a:pt x="7638" y="680"/>
                      <a:pt x="7997" y="755"/>
                      <a:pt x="8357" y="869"/>
                    </a:cubicBezTo>
                    <a:cubicBezTo>
                      <a:pt x="8712" y="981"/>
                      <a:pt x="9067" y="1114"/>
                      <a:pt x="9412" y="1286"/>
                    </a:cubicBezTo>
                    <a:cubicBezTo>
                      <a:pt x="9760" y="1459"/>
                      <a:pt x="10097" y="1656"/>
                      <a:pt x="10424" y="1882"/>
                    </a:cubicBezTo>
                    <a:cubicBezTo>
                      <a:pt x="10747" y="2112"/>
                      <a:pt x="11049" y="2360"/>
                      <a:pt x="11324" y="2625"/>
                    </a:cubicBezTo>
                    <a:cubicBezTo>
                      <a:pt x="11604" y="2890"/>
                      <a:pt x="11856" y="3182"/>
                      <a:pt x="12082" y="3475"/>
                    </a:cubicBezTo>
                    <a:cubicBezTo>
                      <a:pt x="12311" y="3773"/>
                      <a:pt x="12505" y="4083"/>
                      <a:pt x="12678" y="4398"/>
                    </a:cubicBezTo>
                    <a:cubicBezTo>
                      <a:pt x="12853" y="4714"/>
                      <a:pt x="12997" y="5034"/>
                      <a:pt x="13120" y="5357"/>
                    </a:cubicBezTo>
                    <a:cubicBezTo>
                      <a:pt x="13363" y="5999"/>
                      <a:pt x="13499" y="6645"/>
                      <a:pt x="13564" y="7255"/>
                    </a:cubicBezTo>
                    <a:cubicBezTo>
                      <a:pt x="13625" y="7865"/>
                      <a:pt x="13607" y="8443"/>
                      <a:pt x="13547" y="8960"/>
                    </a:cubicBezTo>
                    <a:cubicBezTo>
                      <a:pt x="13418" y="10005"/>
                      <a:pt x="13098" y="10812"/>
                      <a:pt x="12853" y="11351"/>
                    </a:cubicBezTo>
                    <a:cubicBezTo>
                      <a:pt x="12603" y="11889"/>
                      <a:pt x="12430" y="12176"/>
                      <a:pt x="12466" y="12202"/>
                    </a:cubicBezTo>
                    <a:cubicBezTo>
                      <a:pt x="12467" y="12202"/>
                      <a:pt x="12468" y="12202"/>
                      <a:pt x="12469" y="12202"/>
                    </a:cubicBezTo>
                    <a:cubicBezTo>
                      <a:pt x="12511" y="12202"/>
                      <a:pt x="12743" y="11961"/>
                      <a:pt x="13055" y="11455"/>
                    </a:cubicBezTo>
                    <a:cubicBezTo>
                      <a:pt x="13367" y="10934"/>
                      <a:pt x="13762" y="10116"/>
                      <a:pt x="13952" y="9025"/>
                    </a:cubicBezTo>
                    <a:cubicBezTo>
                      <a:pt x="14046" y="8479"/>
                      <a:pt x="14089" y="7869"/>
                      <a:pt x="14046" y="7216"/>
                    </a:cubicBezTo>
                    <a:cubicBezTo>
                      <a:pt x="13999" y="6566"/>
                      <a:pt x="13873" y="5870"/>
                      <a:pt x="13622" y="5173"/>
                    </a:cubicBezTo>
                    <a:cubicBezTo>
                      <a:pt x="13499" y="4829"/>
                      <a:pt x="13353" y="4477"/>
                      <a:pt x="13169" y="4136"/>
                    </a:cubicBezTo>
                    <a:cubicBezTo>
                      <a:pt x="12987" y="3795"/>
                      <a:pt x="12782" y="3458"/>
                      <a:pt x="12538" y="3135"/>
                    </a:cubicBezTo>
                    <a:cubicBezTo>
                      <a:pt x="12293" y="2815"/>
                      <a:pt x="12028" y="2499"/>
                      <a:pt x="11730" y="2212"/>
                    </a:cubicBezTo>
                    <a:cubicBezTo>
                      <a:pt x="11429" y="1921"/>
                      <a:pt x="11102" y="1652"/>
                      <a:pt x="10754" y="1404"/>
                    </a:cubicBezTo>
                    <a:cubicBezTo>
                      <a:pt x="10403" y="1164"/>
                      <a:pt x="10040" y="949"/>
                      <a:pt x="9663" y="766"/>
                    </a:cubicBezTo>
                    <a:cubicBezTo>
                      <a:pt x="9290" y="583"/>
                      <a:pt x="8905" y="443"/>
                      <a:pt x="8518" y="324"/>
                    </a:cubicBezTo>
                    <a:cubicBezTo>
                      <a:pt x="8134" y="206"/>
                      <a:pt x="7746" y="127"/>
                      <a:pt x="7362" y="73"/>
                    </a:cubicBezTo>
                    <a:cubicBezTo>
                      <a:pt x="7005" y="23"/>
                      <a:pt x="6653" y="1"/>
                      <a:pt x="6307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5" name="Google Shape;2547;p46">
                <a:extLst>
                  <a:ext uri="{FF2B5EF4-FFF2-40B4-BE49-F238E27FC236}">
                    <a16:creationId xmlns:a16="http://schemas.microsoft.com/office/drawing/2014/main" id="{D209EB9B-4AF6-C9F7-9DA3-E7A3798AB5AC}"/>
                  </a:ext>
                </a:extLst>
              </p:cNvPr>
              <p:cNvSpPr/>
              <p:nvPr/>
            </p:nvSpPr>
            <p:spPr>
              <a:xfrm>
                <a:off x="6758560" y="1569362"/>
                <a:ext cx="413028" cy="429586"/>
              </a:xfrm>
              <a:custGeom>
                <a:avLst/>
                <a:gdLst/>
                <a:ahLst/>
                <a:cxnLst/>
                <a:rect l="l" t="t" r="r" b="b"/>
                <a:pathLst>
                  <a:path w="9304" h="9677" extrusionOk="0">
                    <a:moveTo>
                      <a:pt x="5325" y="2199"/>
                    </a:moveTo>
                    <a:cubicBezTo>
                      <a:pt x="5490" y="2199"/>
                      <a:pt x="5679" y="2241"/>
                      <a:pt x="5893" y="2333"/>
                    </a:cubicBezTo>
                    <a:lnTo>
                      <a:pt x="4910" y="3690"/>
                    </a:lnTo>
                    <a:cubicBezTo>
                      <a:pt x="4587" y="3252"/>
                      <a:pt x="4429" y="2861"/>
                      <a:pt x="4673" y="2527"/>
                    </a:cubicBezTo>
                    <a:cubicBezTo>
                      <a:pt x="4819" y="2326"/>
                      <a:pt x="5035" y="2199"/>
                      <a:pt x="5325" y="2199"/>
                    </a:cubicBezTo>
                    <a:close/>
                    <a:moveTo>
                      <a:pt x="4673" y="6027"/>
                    </a:moveTo>
                    <a:cubicBezTo>
                      <a:pt x="4978" y="6468"/>
                      <a:pt x="5126" y="6849"/>
                      <a:pt x="4881" y="7186"/>
                    </a:cubicBezTo>
                    <a:cubicBezTo>
                      <a:pt x="4747" y="7373"/>
                      <a:pt x="4548" y="7482"/>
                      <a:pt x="4286" y="7482"/>
                    </a:cubicBezTo>
                    <a:cubicBezTo>
                      <a:pt x="4121" y="7482"/>
                      <a:pt x="3930" y="7438"/>
                      <a:pt x="3715" y="7344"/>
                    </a:cubicBezTo>
                    <a:lnTo>
                      <a:pt x="4673" y="6027"/>
                    </a:lnTo>
                    <a:close/>
                    <a:moveTo>
                      <a:pt x="7584" y="0"/>
                    </a:moveTo>
                    <a:lnTo>
                      <a:pt x="6816" y="1059"/>
                    </a:lnTo>
                    <a:cubicBezTo>
                      <a:pt x="6155" y="686"/>
                      <a:pt x="5538" y="519"/>
                      <a:pt x="4989" y="519"/>
                    </a:cubicBezTo>
                    <a:cubicBezTo>
                      <a:pt x="4180" y="519"/>
                      <a:pt x="3518" y="883"/>
                      <a:pt x="3080" y="1486"/>
                    </a:cubicBezTo>
                    <a:cubicBezTo>
                      <a:pt x="2089" y="2854"/>
                      <a:pt x="3015" y="4067"/>
                      <a:pt x="3890" y="5094"/>
                    </a:cubicBezTo>
                    <a:lnTo>
                      <a:pt x="2731" y="6691"/>
                    </a:lnTo>
                    <a:cubicBezTo>
                      <a:pt x="2093" y="6123"/>
                      <a:pt x="1594" y="5366"/>
                      <a:pt x="1371" y="4667"/>
                    </a:cubicBezTo>
                    <a:lnTo>
                      <a:pt x="0" y="5452"/>
                    </a:lnTo>
                    <a:cubicBezTo>
                      <a:pt x="226" y="6246"/>
                      <a:pt x="918" y="7200"/>
                      <a:pt x="1823" y="7944"/>
                    </a:cubicBezTo>
                    <a:lnTo>
                      <a:pt x="1069" y="8984"/>
                    </a:lnTo>
                    <a:lnTo>
                      <a:pt x="2024" y="9677"/>
                    </a:lnTo>
                    <a:lnTo>
                      <a:pt x="2800" y="8608"/>
                    </a:lnTo>
                    <a:cubicBezTo>
                      <a:pt x="3458" y="8973"/>
                      <a:pt x="4071" y="9136"/>
                      <a:pt x="4614" y="9136"/>
                    </a:cubicBezTo>
                    <a:cubicBezTo>
                      <a:pt x="5419" y="9136"/>
                      <a:pt x="6073" y="8778"/>
                      <a:pt x="6504" y="8187"/>
                    </a:cubicBezTo>
                    <a:cubicBezTo>
                      <a:pt x="7480" y="6838"/>
                      <a:pt x="6572" y="5639"/>
                      <a:pt x="5692" y="4620"/>
                    </a:cubicBezTo>
                    <a:lnTo>
                      <a:pt x="6870" y="2997"/>
                    </a:lnTo>
                    <a:cubicBezTo>
                      <a:pt x="7308" y="3399"/>
                      <a:pt x="7684" y="3923"/>
                      <a:pt x="7972" y="4556"/>
                    </a:cubicBezTo>
                    <a:lnTo>
                      <a:pt x="9304" y="3726"/>
                    </a:lnTo>
                    <a:cubicBezTo>
                      <a:pt x="9019" y="3008"/>
                      <a:pt x="8459" y="2311"/>
                      <a:pt x="7785" y="1734"/>
                    </a:cubicBezTo>
                    <a:lnTo>
                      <a:pt x="8539" y="693"/>
                    </a:lnTo>
                    <a:lnTo>
                      <a:pt x="7584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42" name="Google Shape;2548;p46">
              <a:extLst>
                <a:ext uri="{FF2B5EF4-FFF2-40B4-BE49-F238E27FC236}">
                  <a16:creationId xmlns:a16="http://schemas.microsoft.com/office/drawing/2014/main" id="{DF391F2E-AF48-7A36-A2EA-EE8D35590D01}"/>
                </a:ext>
              </a:extLst>
            </p:cNvPr>
            <p:cNvGrpSpPr/>
            <p:nvPr/>
          </p:nvGrpSpPr>
          <p:grpSpPr>
            <a:xfrm>
              <a:off x="6256625" y="936264"/>
              <a:ext cx="546250" cy="503056"/>
              <a:chOff x="6256625" y="616414"/>
              <a:chExt cx="546250" cy="503056"/>
            </a:xfrm>
          </p:grpSpPr>
          <p:sp>
            <p:nvSpPr>
              <p:cNvPr id="718" name="Google Shape;2549;p46">
                <a:extLst>
                  <a:ext uri="{FF2B5EF4-FFF2-40B4-BE49-F238E27FC236}">
                    <a16:creationId xmlns:a16="http://schemas.microsoft.com/office/drawing/2014/main" id="{DEECAA2C-4537-F561-0477-1804158EBB43}"/>
                  </a:ext>
                </a:extLst>
              </p:cNvPr>
              <p:cNvSpPr/>
              <p:nvPr/>
            </p:nvSpPr>
            <p:spPr>
              <a:xfrm>
                <a:off x="6256625" y="616414"/>
                <a:ext cx="546250" cy="503056"/>
              </a:xfrm>
              <a:custGeom>
                <a:avLst/>
                <a:gdLst/>
                <a:ahLst/>
                <a:cxnLst/>
                <a:rect l="l" t="t" r="r" b="b"/>
                <a:pathLst>
                  <a:path w="12305" h="11332" extrusionOk="0">
                    <a:moveTo>
                      <a:pt x="6142" y="0"/>
                    </a:moveTo>
                    <a:cubicBezTo>
                      <a:pt x="3460" y="0"/>
                      <a:pt x="1077" y="1903"/>
                      <a:pt x="571" y="4630"/>
                    </a:cubicBezTo>
                    <a:cubicBezTo>
                      <a:pt x="1" y="7706"/>
                      <a:pt x="2035" y="10663"/>
                      <a:pt x="5119" y="11234"/>
                    </a:cubicBezTo>
                    <a:cubicBezTo>
                      <a:pt x="5471" y="11300"/>
                      <a:pt x="5822" y="11332"/>
                      <a:pt x="6167" y="11332"/>
                    </a:cubicBezTo>
                    <a:cubicBezTo>
                      <a:pt x="8847" y="11332"/>
                      <a:pt x="11228" y="9429"/>
                      <a:pt x="11733" y="6705"/>
                    </a:cubicBezTo>
                    <a:cubicBezTo>
                      <a:pt x="12305" y="3629"/>
                      <a:pt x="10269" y="671"/>
                      <a:pt x="7186" y="97"/>
                    </a:cubicBezTo>
                    <a:cubicBezTo>
                      <a:pt x="6835" y="32"/>
                      <a:pt x="6486" y="0"/>
                      <a:pt x="6142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9" name="Google Shape;2550;p46">
                <a:extLst>
                  <a:ext uri="{FF2B5EF4-FFF2-40B4-BE49-F238E27FC236}">
                    <a16:creationId xmlns:a16="http://schemas.microsoft.com/office/drawing/2014/main" id="{4EBA60CA-9389-6927-0E7F-DAC4644E4F60}"/>
                  </a:ext>
                </a:extLst>
              </p:cNvPr>
              <p:cNvSpPr/>
              <p:nvPr/>
            </p:nvSpPr>
            <p:spPr>
              <a:xfrm>
                <a:off x="6321659" y="676342"/>
                <a:ext cx="416224" cy="383285"/>
              </a:xfrm>
              <a:custGeom>
                <a:avLst/>
                <a:gdLst/>
                <a:ahLst/>
                <a:cxnLst/>
                <a:rect l="l" t="t" r="r" b="b"/>
                <a:pathLst>
                  <a:path w="9376" h="8634" extrusionOk="0">
                    <a:moveTo>
                      <a:pt x="4678" y="0"/>
                    </a:moveTo>
                    <a:cubicBezTo>
                      <a:pt x="2635" y="0"/>
                      <a:pt x="819" y="1451"/>
                      <a:pt x="434" y="3528"/>
                    </a:cubicBezTo>
                    <a:cubicBezTo>
                      <a:pt x="0" y="5872"/>
                      <a:pt x="1551" y="8125"/>
                      <a:pt x="3898" y="8559"/>
                    </a:cubicBezTo>
                    <a:cubicBezTo>
                      <a:pt x="4167" y="8610"/>
                      <a:pt x="4434" y="8634"/>
                      <a:pt x="4698" y="8634"/>
                    </a:cubicBezTo>
                    <a:cubicBezTo>
                      <a:pt x="6741" y="8634"/>
                      <a:pt x="8556" y="7183"/>
                      <a:pt x="8941" y="5107"/>
                    </a:cubicBezTo>
                    <a:cubicBezTo>
                      <a:pt x="9375" y="2763"/>
                      <a:pt x="7825" y="509"/>
                      <a:pt x="5477" y="74"/>
                    </a:cubicBezTo>
                    <a:cubicBezTo>
                      <a:pt x="5209" y="24"/>
                      <a:pt x="4942" y="0"/>
                      <a:pt x="4678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0" name="Google Shape;2551;p46">
                <a:extLst>
                  <a:ext uri="{FF2B5EF4-FFF2-40B4-BE49-F238E27FC236}">
                    <a16:creationId xmlns:a16="http://schemas.microsoft.com/office/drawing/2014/main" id="{BEABBA49-5ED5-8088-0EDF-FB20350B2330}"/>
                  </a:ext>
                </a:extLst>
              </p:cNvPr>
              <p:cNvSpPr/>
              <p:nvPr/>
            </p:nvSpPr>
            <p:spPr>
              <a:xfrm>
                <a:off x="6339016" y="668929"/>
                <a:ext cx="386881" cy="228266"/>
              </a:xfrm>
              <a:custGeom>
                <a:avLst/>
                <a:gdLst/>
                <a:ahLst/>
                <a:cxnLst/>
                <a:rect l="l" t="t" r="r" b="b"/>
                <a:pathLst>
                  <a:path w="8715" h="5142" extrusionOk="0">
                    <a:moveTo>
                      <a:pt x="4257" y="1"/>
                    </a:moveTo>
                    <a:cubicBezTo>
                      <a:pt x="4020" y="4"/>
                      <a:pt x="3787" y="26"/>
                      <a:pt x="3561" y="66"/>
                    </a:cubicBezTo>
                    <a:cubicBezTo>
                      <a:pt x="3335" y="102"/>
                      <a:pt x="3115" y="159"/>
                      <a:pt x="2908" y="227"/>
                    </a:cubicBezTo>
                    <a:cubicBezTo>
                      <a:pt x="2696" y="296"/>
                      <a:pt x="2498" y="382"/>
                      <a:pt x="2312" y="478"/>
                    </a:cubicBezTo>
                    <a:cubicBezTo>
                      <a:pt x="1935" y="665"/>
                      <a:pt x="1608" y="902"/>
                      <a:pt x="1332" y="1154"/>
                    </a:cubicBezTo>
                    <a:cubicBezTo>
                      <a:pt x="1059" y="1404"/>
                      <a:pt x="837" y="1674"/>
                      <a:pt x="660" y="1936"/>
                    </a:cubicBezTo>
                    <a:cubicBezTo>
                      <a:pt x="309" y="2459"/>
                      <a:pt x="148" y="2951"/>
                      <a:pt x="72" y="3289"/>
                    </a:cubicBezTo>
                    <a:cubicBezTo>
                      <a:pt x="0" y="3630"/>
                      <a:pt x="0" y="3824"/>
                      <a:pt x="22" y="3827"/>
                    </a:cubicBezTo>
                    <a:cubicBezTo>
                      <a:pt x="22" y="3827"/>
                      <a:pt x="22" y="3827"/>
                      <a:pt x="23" y="3827"/>
                    </a:cubicBezTo>
                    <a:cubicBezTo>
                      <a:pt x="48" y="3827"/>
                      <a:pt x="91" y="3641"/>
                      <a:pt x="198" y="3325"/>
                    </a:cubicBezTo>
                    <a:cubicBezTo>
                      <a:pt x="309" y="3006"/>
                      <a:pt x="496" y="2550"/>
                      <a:pt x="851" y="2068"/>
                    </a:cubicBezTo>
                    <a:cubicBezTo>
                      <a:pt x="1031" y="1828"/>
                      <a:pt x="1249" y="1584"/>
                      <a:pt x="1515" y="1358"/>
                    </a:cubicBezTo>
                    <a:cubicBezTo>
                      <a:pt x="1780" y="1132"/>
                      <a:pt x="2093" y="920"/>
                      <a:pt x="2448" y="751"/>
                    </a:cubicBezTo>
                    <a:cubicBezTo>
                      <a:pt x="2624" y="665"/>
                      <a:pt x="2810" y="590"/>
                      <a:pt x="3004" y="529"/>
                    </a:cubicBezTo>
                    <a:cubicBezTo>
                      <a:pt x="3201" y="468"/>
                      <a:pt x="3403" y="418"/>
                      <a:pt x="3615" y="385"/>
                    </a:cubicBezTo>
                    <a:cubicBezTo>
                      <a:pt x="3826" y="353"/>
                      <a:pt x="4041" y="332"/>
                      <a:pt x="4261" y="332"/>
                    </a:cubicBezTo>
                    <a:cubicBezTo>
                      <a:pt x="4480" y="332"/>
                      <a:pt x="4702" y="349"/>
                      <a:pt x="4929" y="382"/>
                    </a:cubicBezTo>
                    <a:cubicBezTo>
                      <a:pt x="5151" y="418"/>
                      <a:pt x="5366" y="468"/>
                      <a:pt x="5578" y="532"/>
                    </a:cubicBezTo>
                    <a:cubicBezTo>
                      <a:pt x="5786" y="600"/>
                      <a:pt x="5987" y="683"/>
                      <a:pt x="6178" y="780"/>
                    </a:cubicBezTo>
                    <a:cubicBezTo>
                      <a:pt x="6367" y="870"/>
                      <a:pt x="6547" y="981"/>
                      <a:pt x="6716" y="1099"/>
                    </a:cubicBezTo>
                    <a:cubicBezTo>
                      <a:pt x="6884" y="1215"/>
                      <a:pt x="7039" y="1344"/>
                      <a:pt x="7182" y="1477"/>
                    </a:cubicBezTo>
                    <a:cubicBezTo>
                      <a:pt x="7470" y="1745"/>
                      <a:pt x="7699" y="2040"/>
                      <a:pt x="7889" y="2335"/>
                    </a:cubicBezTo>
                    <a:cubicBezTo>
                      <a:pt x="8073" y="2632"/>
                      <a:pt x="8209" y="2930"/>
                      <a:pt x="8310" y="3213"/>
                    </a:cubicBezTo>
                    <a:cubicBezTo>
                      <a:pt x="8504" y="3777"/>
                      <a:pt x="8547" y="4273"/>
                      <a:pt x="8557" y="4606"/>
                    </a:cubicBezTo>
                    <a:cubicBezTo>
                      <a:pt x="8564" y="4947"/>
                      <a:pt x="8547" y="5138"/>
                      <a:pt x="8575" y="5141"/>
                    </a:cubicBezTo>
                    <a:cubicBezTo>
                      <a:pt x="8575" y="5141"/>
                      <a:pt x="8575" y="5141"/>
                      <a:pt x="8576" y="5141"/>
                    </a:cubicBezTo>
                    <a:cubicBezTo>
                      <a:pt x="8594" y="5141"/>
                      <a:pt x="8655" y="4954"/>
                      <a:pt x="8686" y="4613"/>
                    </a:cubicBezTo>
                    <a:cubicBezTo>
                      <a:pt x="8715" y="4265"/>
                      <a:pt x="8708" y="3748"/>
                      <a:pt x="8532" y="3142"/>
                    </a:cubicBezTo>
                    <a:cubicBezTo>
                      <a:pt x="8442" y="2840"/>
                      <a:pt x="8310" y="2517"/>
                      <a:pt x="8123" y="2194"/>
                    </a:cubicBezTo>
                    <a:cubicBezTo>
                      <a:pt x="7936" y="1875"/>
                      <a:pt x="7695" y="1552"/>
                      <a:pt x="7394" y="1258"/>
                    </a:cubicBezTo>
                    <a:cubicBezTo>
                      <a:pt x="7243" y="1110"/>
                      <a:pt x="7078" y="970"/>
                      <a:pt x="6899" y="841"/>
                    </a:cubicBezTo>
                    <a:cubicBezTo>
                      <a:pt x="6719" y="712"/>
                      <a:pt x="6529" y="594"/>
                      <a:pt x="6324" y="489"/>
                    </a:cubicBezTo>
                    <a:cubicBezTo>
                      <a:pt x="6120" y="385"/>
                      <a:pt x="5905" y="292"/>
                      <a:pt x="5678" y="220"/>
                    </a:cubicBezTo>
                    <a:cubicBezTo>
                      <a:pt x="5452" y="148"/>
                      <a:pt x="5219" y="91"/>
                      <a:pt x="4979" y="55"/>
                    </a:cubicBezTo>
                    <a:cubicBezTo>
                      <a:pt x="4735" y="19"/>
                      <a:pt x="4494" y="1"/>
                      <a:pt x="4257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1" name="Google Shape;2552;p46">
                <a:extLst>
                  <a:ext uri="{FF2B5EF4-FFF2-40B4-BE49-F238E27FC236}">
                    <a16:creationId xmlns:a16="http://schemas.microsoft.com/office/drawing/2014/main" id="{C622A955-3F63-A231-368C-421BA2EF3A49}"/>
                  </a:ext>
                </a:extLst>
              </p:cNvPr>
              <p:cNvSpPr/>
              <p:nvPr/>
            </p:nvSpPr>
            <p:spPr>
              <a:xfrm>
                <a:off x="6431261" y="735693"/>
                <a:ext cx="191864" cy="281937"/>
              </a:xfrm>
              <a:custGeom>
                <a:avLst/>
                <a:gdLst/>
                <a:ahLst/>
                <a:cxnLst/>
                <a:rect l="l" t="t" r="r" b="b"/>
                <a:pathLst>
                  <a:path w="4322" h="6351" extrusionOk="0">
                    <a:moveTo>
                      <a:pt x="2226" y="1620"/>
                    </a:moveTo>
                    <a:lnTo>
                      <a:pt x="2064" y="2560"/>
                    </a:lnTo>
                    <a:cubicBezTo>
                      <a:pt x="1791" y="2420"/>
                      <a:pt x="1612" y="2259"/>
                      <a:pt x="1651" y="2025"/>
                    </a:cubicBezTo>
                    <a:cubicBezTo>
                      <a:pt x="1691" y="1807"/>
                      <a:pt x="1863" y="1638"/>
                      <a:pt x="2226" y="1620"/>
                    </a:cubicBezTo>
                    <a:close/>
                    <a:moveTo>
                      <a:pt x="2534" y="3816"/>
                    </a:moveTo>
                    <a:cubicBezTo>
                      <a:pt x="2803" y="3964"/>
                      <a:pt x="2972" y="4121"/>
                      <a:pt x="2932" y="4355"/>
                    </a:cubicBezTo>
                    <a:cubicBezTo>
                      <a:pt x="2897" y="4567"/>
                      <a:pt x="2721" y="4714"/>
                      <a:pt x="2377" y="4732"/>
                    </a:cubicBezTo>
                    <a:lnTo>
                      <a:pt x="2534" y="3816"/>
                    </a:lnTo>
                    <a:close/>
                    <a:moveTo>
                      <a:pt x="2502" y="1"/>
                    </a:moveTo>
                    <a:lnTo>
                      <a:pt x="2377" y="737"/>
                    </a:lnTo>
                    <a:cubicBezTo>
                      <a:pt x="2323" y="734"/>
                      <a:pt x="2270" y="732"/>
                      <a:pt x="2218" y="732"/>
                    </a:cubicBezTo>
                    <a:cubicBezTo>
                      <a:pt x="1249" y="732"/>
                      <a:pt x="691" y="1228"/>
                      <a:pt x="575" y="1896"/>
                    </a:cubicBezTo>
                    <a:cubicBezTo>
                      <a:pt x="413" y="2847"/>
                      <a:pt x="1192" y="3231"/>
                      <a:pt x="1899" y="3536"/>
                    </a:cubicBezTo>
                    <a:lnTo>
                      <a:pt x="1709" y="4646"/>
                    </a:lnTo>
                    <a:cubicBezTo>
                      <a:pt x="1239" y="4517"/>
                      <a:pt x="793" y="4255"/>
                      <a:pt x="503" y="3953"/>
                    </a:cubicBezTo>
                    <a:lnTo>
                      <a:pt x="0" y="4699"/>
                    </a:lnTo>
                    <a:cubicBezTo>
                      <a:pt x="316" y="5047"/>
                      <a:pt x="912" y="5360"/>
                      <a:pt x="1562" y="5514"/>
                    </a:cubicBezTo>
                    <a:lnTo>
                      <a:pt x="1440" y="6236"/>
                    </a:lnTo>
                    <a:lnTo>
                      <a:pt x="2100" y="6351"/>
                    </a:lnTo>
                    <a:lnTo>
                      <a:pt x="2229" y="5607"/>
                    </a:lnTo>
                    <a:cubicBezTo>
                      <a:pt x="2278" y="5610"/>
                      <a:pt x="2326" y="5611"/>
                      <a:pt x="2373" y="5611"/>
                    </a:cubicBezTo>
                    <a:cubicBezTo>
                      <a:pt x="3346" y="5611"/>
                      <a:pt x="3904" y="5116"/>
                      <a:pt x="4017" y="4459"/>
                    </a:cubicBezTo>
                    <a:cubicBezTo>
                      <a:pt x="4175" y="3523"/>
                      <a:pt x="3406" y="3138"/>
                      <a:pt x="2700" y="2840"/>
                    </a:cubicBezTo>
                    <a:lnTo>
                      <a:pt x="2894" y="1714"/>
                    </a:lnTo>
                    <a:cubicBezTo>
                      <a:pt x="3220" y="1810"/>
                      <a:pt x="3543" y="1982"/>
                      <a:pt x="3848" y="2230"/>
                    </a:cubicBezTo>
                    <a:lnTo>
                      <a:pt x="4322" y="1472"/>
                    </a:lnTo>
                    <a:cubicBezTo>
                      <a:pt x="3995" y="1179"/>
                      <a:pt x="3532" y="963"/>
                      <a:pt x="3044" y="837"/>
                    </a:cubicBezTo>
                    <a:lnTo>
                      <a:pt x="3166" y="116"/>
                    </a:lnTo>
                    <a:lnTo>
                      <a:pt x="2502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43" name="Google Shape;2553;p46">
              <a:extLst>
                <a:ext uri="{FF2B5EF4-FFF2-40B4-BE49-F238E27FC236}">
                  <a16:creationId xmlns:a16="http://schemas.microsoft.com/office/drawing/2014/main" id="{2A8DE5A8-799A-25D2-1805-252BCB837202}"/>
                </a:ext>
              </a:extLst>
            </p:cNvPr>
            <p:cNvGrpSpPr/>
            <p:nvPr/>
          </p:nvGrpSpPr>
          <p:grpSpPr>
            <a:xfrm flipH="1">
              <a:off x="7934272" y="3156168"/>
              <a:ext cx="921144" cy="1561106"/>
              <a:chOff x="4321997" y="3141168"/>
              <a:chExt cx="921144" cy="1561106"/>
            </a:xfrm>
          </p:grpSpPr>
          <p:sp>
            <p:nvSpPr>
              <p:cNvPr id="712" name="Google Shape;2554;p46">
                <a:extLst>
                  <a:ext uri="{FF2B5EF4-FFF2-40B4-BE49-F238E27FC236}">
                    <a16:creationId xmlns:a16="http://schemas.microsoft.com/office/drawing/2014/main" id="{B7A8DF31-46CB-6A31-1B5B-AA7BD57A0411}"/>
                  </a:ext>
                </a:extLst>
              </p:cNvPr>
              <p:cNvSpPr/>
              <p:nvPr/>
            </p:nvSpPr>
            <p:spPr>
              <a:xfrm>
                <a:off x="4321997" y="3141168"/>
                <a:ext cx="921144" cy="1187366"/>
              </a:xfrm>
              <a:custGeom>
                <a:avLst/>
                <a:gdLst/>
                <a:ahLst/>
                <a:cxnLst/>
                <a:rect l="l" t="t" r="r" b="b"/>
                <a:pathLst>
                  <a:path w="20750" h="26747" extrusionOk="0">
                    <a:moveTo>
                      <a:pt x="2574" y="0"/>
                    </a:moveTo>
                    <a:cubicBezTo>
                      <a:pt x="1560" y="0"/>
                      <a:pt x="524" y="638"/>
                      <a:pt x="269" y="1627"/>
                    </a:cubicBezTo>
                    <a:cubicBezTo>
                      <a:pt x="0" y="2664"/>
                      <a:pt x="607" y="3716"/>
                      <a:pt x="1264" y="4552"/>
                    </a:cubicBezTo>
                    <a:cubicBezTo>
                      <a:pt x="2240" y="5797"/>
                      <a:pt x="3396" y="6900"/>
                      <a:pt x="4680" y="7811"/>
                    </a:cubicBezTo>
                    <a:cubicBezTo>
                      <a:pt x="4910" y="7977"/>
                      <a:pt x="5162" y="8152"/>
                      <a:pt x="5251" y="8425"/>
                    </a:cubicBezTo>
                    <a:cubicBezTo>
                      <a:pt x="5412" y="8913"/>
                      <a:pt x="4946" y="9402"/>
                      <a:pt x="4461" y="9563"/>
                    </a:cubicBezTo>
                    <a:cubicBezTo>
                      <a:pt x="3916" y="9746"/>
                      <a:pt x="3320" y="9688"/>
                      <a:pt x="2745" y="9756"/>
                    </a:cubicBezTo>
                    <a:cubicBezTo>
                      <a:pt x="2175" y="9824"/>
                      <a:pt x="1554" y="10076"/>
                      <a:pt x="1335" y="10618"/>
                    </a:cubicBezTo>
                    <a:cubicBezTo>
                      <a:pt x="1034" y="11368"/>
                      <a:pt x="1662" y="12158"/>
                      <a:pt x="2283" y="12672"/>
                    </a:cubicBezTo>
                    <a:cubicBezTo>
                      <a:pt x="3521" y="13705"/>
                      <a:pt x="4935" y="14519"/>
                      <a:pt x="6443" y="15072"/>
                    </a:cubicBezTo>
                    <a:cubicBezTo>
                      <a:pt x="6981" y="15270"/>
                      <a:pt x="7552" y="15445"/>
                      <a:pt x="7986" y="15826"/>
                    </a:cubicBezTo>
                    <a:cubicBezTo>
                      <a:pt x="8424" y="16207"/>
                      <a:pt x="8686" y="16867"/>
                      <a:pt x="8424" y="17384"/>
                    </a:cubicBezTo>
                    <a:cubicBezTo>
                      <a:pt x="8209" y="17803"/>
                      <a:pt x="7723" y="17991"/>
                      <a:pt x="7244" y="17991"/>
                    </a:cubicBezTo>
                    <a:cubicBezTo>
                      <a:pt x="7133" y="17991"/>
                      <a:pt x="7023" y="17981"/>
                      <a:pt x="6917" y="17962"/>
                    </a:cubicBezTo>
                    <a:cubicBezTo>
                      <a:pt x="6350" y="17857"/>
                      <a:pt x="5843" y="17549"/>
                      <a:pt x="5305" y="17348"/>
                    </a:cubicBezTo>
                    <a:cubicBezTo>
                      <a:pt x="4931" y="17206"/>
                      <a:pt x="4517" y="17126"/>
                      <a:pt x="4111" y="17126"/>
                    </a:cubicBezTo>
                    <a:cubicBezTo>
                      <a:pt x="3419" y="17126"/>
                      <a:pt x="2751" y="17358"/>
                      <a:pt x="2344" y="17908"/>
                    </a:cubicBezTo>
                    <a:cubicBezTo>
                      <a:pt x="1917" y="18482"/>
                      <a:pt x="1881" y="19279"/>
                      <a:pt x="2096" y="19964"/>
                    </a:cubicBezTo>
                    <a:cubicBezTo>
                      <a:pt x="2308" y="20650"/>
                      <a:pt x="2745" y="21238"/>
                      <a:pt x="3209" y="21781"/>
                    </a:cubicBezTo>
                    <a:cubicBezTo>
                      <a:pt x="4828" y="23680"/>
                      <a:pt x="6902" y="25209"/>
                      <a:pt x="9246" y="26024"/>
                    </a:cubicBezTo>
                    <a:cubicBezTo>
                      <a:pt x="10555" y="26477"/>
                      <a:pt x="11811" y="26747"/>
                      <a:pt x="13072" y="26747"/>
                    </a:cubicBezTo>
                    <a:cubicBezTo>
                      <a:pt x="14065" y="26747"/>
                      <a:pt x="15061" y="26579"/>
                      <a:pt x="16087" y="26203"/>
                    </a:cubicBezTo>
                    <a:cubicBezTo>
                      <a:pt x="19885" y="23551"/>
                      <a:pt x="20749" y="18626"/>
                      <a:pt x="20599" y="14196"/>
                    </a:cubicBezTo>
                    <a:cubicBezTo>
                      <a:pt x="20574" y="13457"/>
                      <a:pt x="20653" y="12678"/>
                      <a:pt x="20301" y="12029"/>
                    </a:cubicBezTo>
                    <a:cubicBezTo>
                      <a:pt x="20028" y="11528"/>
                      <a:pt x="19475" y="11148"/>
                      <a:pt x="18933" y="11148"/>
                    </a:cubicBezTo>
                    <a:cubicBezTo>
                      <a:pt x="18776" y="11148"/>
                      <a:pt x="18619" y="11180"/>
                      <a:pt x="18471" y="11250"/>
                    </a:cubicBezTo>
                    <a:cubicBezTo>
                      <a:pt x="17921" y="11509"/>
                      <a:pt x="17681" y="12147"/>
                      <a:pt x="17373" y="12675"/>
                    </a:cubicBezTo>
                    <a:cubicBezTo>
                      <a:pt x="16967" y="13378"/>
                      <a:pt x="16356" y="13959"/>
                      <a:pt x="15639" y="14330"/>
                    </a:cubicBezTo>
                    <a:cubicBezTo>
                      <a:pt x="15341" y="14484"/>
                      <a:pt x="15000" y="14601"/>
                      <a:pt x="14672" y="14601"/>
                    </a:cubicBezTo>
                    <a:cubicBezTo>
                      <a:pt x="14481" y="14601"/>
                      <a:pt x="14294" y="14561"/>
                      <a:pt x="14124" y="14466"/>
                    </a:cubicBezTo>
                    <a:cubicBezTo>
                      <a:pt x="13485" y="14114"/>
                      <a:pt x="13410" y="13235"/>
                      <a:pt x="13413" y="12499"/>
                    </a:cubicBezTo>
                    <a:cubicBezTo>
                      <a:pt x="13424" y="11128"/>
                      <a:pt x="13432" y="9760"/>
                      <a:pt x="13442" y="8389"/>
                    </a:cubicBezTo>
                    <a:cubicBezTo>
                      <a:pt x="13445" y="7654"/>
                      <a:pt x="13445" y="6903"/>
                      <a:pt x="13220" y="6206"/>
                    </a:cubicBezTo>
                    <a:cubicBezTo>
                      <a:pt x="12990" y="5507"/>
                      <a:pt x="12484" y="4861"/>
                      <a:pt x="11784" y="4664"/>
                    </a:cubicBezTo>
                    <a:cubicBezTo>
                      <a:pt x="11666" y="4631"/>
                      <a:pt x="11543" y="4615"/>
                      <a:pt x="11419" y="4615"/>
                    </a:cubicBezTo>
                    <a:cubicBezTo>
                      <a:pt x="10815" y="4615"/>
                      <a:pt x="10198" y="4993"/>
                      <a:pt x="10075" y="5590"/>
                    </a:cubicBezTo>
                    <a:cubicBezTo>
                      <a:pt x="10011" y="5891"/>
                      <a:pt x="10072" y="6203"/>
                      <a:pt x="10054" y="6505"/>
                    </a:cubicBezTo>
                    <a:cubicBezTo>
                      <a:pt x="10032" y="6814"/>
                      <a:pt x="9888" y="7151"/>
                      <a:pt x="9602" y="7233"/>
                    </a:cubicBezTo>
                    <a:cubicBezTo>
                      <a:pt x="9555" y="7247"/>
                      <a:pt x="9508" y="7253"/>
                      <a:pt x="9462" y="7253"/>
                    </a:cubicBezTo>
                    <a:cubicBezTo>
                      <a:pt x="9216" y="7253"/>
                      <a:pt x="8978" y="7077"/>
                      <a:pt x="8794" y="6896"/>
                    </a:cubicBezTo>
                    <a:cubicBezTo>
                      <a:pt x="8033" y="6156"/>
                      <a:pt x="7520" y="5199"/>
                      <a:pt x="7039" y="4247"/>
                    </a:cubicBezTo>
                    <a:cubicBezTo>
                      <a:pt x="6557" y="3296"/>
                      <a:pt x="6091" y="2323"/>
                      <a:pt x="5402" y="1516"/>
                    </a:cubicBezTo>
                    <a:cubicBezTo>
                      <a:pt x="4713" y="704"/>
                      <a:pt x="3762" y="62"/>
                      <a:pt x="2710" y="4"/>
                    </a:cubicBezTo>
                    <a:cubicBezTo>
                      <a:pt x="2665" y="2"/>
                      <a:pt x="2619" y="0"/>
                      <a:pt x="2574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3" name="Google Shape;2555;p46">
                <a:extLst>
                  <a:ext uri="{FF2B5EF4-FFF2-40B4-BE49-F238E27FC236}">
                    <a16:creationId xmlns:a16="http://schemas.microsoft.com/office/drawing/2014/main" id="{03377471-360C-3BDC-1DDF-2D189BF7977D}"/>
                  </a:ext>
                </a:extLst>
              </p:cNvPr>
              <p:cNvSpPr/>
              <p:nvPr/>
            </p:nvSpPr>
            <p:spPr>
              <a:xfrm>
                <a:off x="4380949" y="3168602"/>
                <a:ext cx="665088" cy="1533672"/>
              </a:xfrm>
              <a:custGeom>
                <a:avLst/>
                <a:gdLst/>
                <a:ahLst/>
                <a:cxnLst/>
                <a:rect l="l" t="t" r="r" b="b"/>
                <a:pathLst>
                  <a:path w="14982" h="34548" extrusionOk="0">
                    <a:moveTo>
                      <a:pt x="0" y="0"/>
                    </a:moveTo>
                    <a:cubicBezTo>
                      <a:pt x="0" y="4"/>
                      <a:pt x="25" y="25"/>
                      <a:pt x="72" y="72"/>
                    </a:cubicBezTo>
                    <a:cubicBezTo>
                      <a:pt x="125" y="118"/>
                      <a:pt x="201" y="183"/>
                      <a:pt x="291" y="266"/>
                    </a:cubicBezTo>
                    <a:cubicBezTo>
                      <a:pt x="485" y="434"/>
                      <a:pt x="768" y="686"/>
                      <a:pt x="1124" y="1019"/>
                    </a:cubicBezTo>
                    <a:cubicBezTo>
                      <a:pt x="1838" y="1684"/>
                      <a:pt x="2843" y="2681"/>
                      <a:pt x="3934" y="4049"/>
                    </a:cubicBezTo>
                    <a:cubicBezTo>
                      <a:pt x="4480" y="4731"/>
                      <a:pt x="5047" y="5502"/>
                      <a:pt x="5643" y="6342"/>
                    </a:cubicBezTo>
                    <a:cubicBezTo>
                      <a:pt x="6238" y="7182"/>
                      <a:pt x="6866" y="8083"/>
                      <a:pt x="7491" y="9056"/>
                    </a:cubicBezTo>
                    <a:cubicBezTo>
                      <a:pt x="8115" y="10029"/>
                      <a:pt x="8744" y="11073"/>
                      <a:pt x="9304" y="12200"/>
                    </a:cubicBezTo>
                    <a:cubicBezTo>
                      <a:pt x="9587" y="12760"/>
                      <a:pt x="9842" y="13349"/>
                      <a:pt x="10096" y="13949"/>
                    </a:cubicBezTo>
                    <a:cubicBezTo>
                      <a:pt x="10355" y="14547"/>
                      <a:pt x="10613" y="15158"/>
                      <a:pt x="10879" y="15771"/>
                    </a:cubicBezTo>
                    <a:cubicBezTo>
                      <a:pt x="11924" y="18238"/>
                      <a:pt x="12843" y="20620"/>
                      <a:pt x="13499" y="22846"/>
                    </a:cubicBezTo>
                    <a:cubicBezTo>
                      <a:pt x="14160" y="25072"/>
                      <a:pt x="14551" y="27132"/>
                      <a:pt x="14723" y="28876"/>
                    </a:cubicBezTo>
                    <a:cubicBezTo>
                      <a:pt x="14899" y="30624"/>
                      <a:pt x="14864" y="32053"/>
                      <a:pt x="14791" y="33029"/>
                    </a:cubicBezTo>
                    <a:cubicBezTo>
                      <a:pt x="14752" y="33517"/>
                      <a:pt x="14716" y="33898"/>
                      <a:pt x="14680" y="34156"/>
                    </a:cubicBezTo>
                    <a:cubicBezTo>
                      <a:pt x="14666" y="34279"/>
                      <a:pt x="14655" y="34375"/>
                      <a:pt x="14648" y="34447"/>
                    </a:cubicBezTo>
                    <a:cubicBezTo>
                      <a:pt x="14640" y="34515"/>
                      <a:pt x="14637" y="34547"/>
                      <a:pt x="14640" y="34547"/>
                    </a:cubicBezTo>
                    <a:cubicBezTo>
                      <a:pt x="14645" y="34547"/>
                      <a:pt x="14652" y="34515"/>
                      <a:pt x="14662" y="34451"/>
                    </a:cubicBezTo>
                    <a:cubicBezTo>
                      <a:pt x="14673" y="34378"/>
                      <a:pt x="14688" y="34282"/>
                      <a:pt x="14709" y="34160"/>
                    </a:cubicBezTo>
                    <a:cubicBezTo>
                      <a:pt x="14752" y="33905"/>
                      <a:pt x="14799" y="33525"/>
                      <a:pt x="14845" y="33033"/>
                    </a:cubicBezTo>
                    <a:cubicBezTo>
                      <a:pt x="14932" y="32053"/>
                      <a:pt x="14982" y="30624"/>
                      <a:pt x="14817" y="28869"/>
                    </a:cubicBezTo>
                    <a:cubicBezTo>
                      <a:pt x="14659" y="27114"/>
                      <a:pt x="14274" y="25043"/>
                      <a:pt x="13618" y="22810"/>
                    </a:cubicBezTo>
                    <a:cubicBezTo>
                      <a:pt x="12965" y="20574"/>
                      <a:pt x="12049" y="18183"/>
                      <a:pt x="11001" y="15718"/>
                    </a:cubicBezTo>
                    <a:cubicBezTo>
                      <a:pt x="10739" y="15104"/>
                      <a:pt x="10477" y="14494"/>
                      <a:pt x="10222" y="13894"/>
                    </a:cubicBezTo>
                    <a:cubicBezTo>
                      <a:pt x="9964" y="13295"/>
                      <a:pt x="9709" y="12703"/>
                      <a:pt x="9422" y="12140"/>
                    </a:cubicBezTo>
                    <a:cubicBezTo>
                      <a:pt x="8855" y="11009"/>
                      <a:pt x="8227" y="9960"/>
                      <a:pt x="7595" y="8988"/>
                    </a:cubicBezTo>
                    <a:cubicBezTo>
                      <a:pt x="6967" y="8015"/>
                      <a:pt x="6332" y="7114"/>
                      <a:pt x="5732" y="6274"/>
                    </a:cubicBezTo>
                    <a:cubicBezTo>
                      <a:pt x="5133" y="5438"/>
                      <a:pt x="4558" y="4670"/>
                      <a:pt x="4006" y="3988"/>
                    </a:cubicBezTo>
                    <a:cubicBezTo>
                      <a:pt x="2903" y="2624"/>
                      <a:pt x="1884" y="1634"/>
                      <a:pt x="1159" y="980"/>
                    </a:cubicBezTo>
                    <a:cubicBezTo>
                      <a:pt x="797" y="653"/>
                      <a:pt x="506" y="406"/>
                      <a:pt x="309" y="244"/>
                    </a:cubicBezTo>
                    <a:cubicBezTo>
                      <a:pt x="211" y="166"/>
                      <a:pt x="140" y="105"/>
                      <a:pt x="82" y="61"/>
                    </a:cubicBezTo>
                    <a:cubicBezTo>
                      <a:pt x="29" y="18"/>
                      <a:pt x="4" y="0"/>
                      <a:pt x="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4" name="Google Shape;2556;p46">
                <a:extLst>
                  <a:ext uri="{FF2B5EF4-FFF2-40B4-BE49-F238E27FC236}">
                    <a16:creationId xmlns:a16="http://schemas.microsoft.com/office/drawing/2014/main" id="{87B0BE07-0A2F-C3B9-8C3F-12692BD53ABC}"/>
                  </a:ext>
                </a:extLst>
              </p:cNvPr>
              <p:cNvSpPr/>
              <p:nvPr/>
            </p:nvSpPr>
            <p:spPr>
              <a:xfrm>
                <a:off x="4797120" y="3348164"/>
                <a:ext cx="48477" cy="359002"/>
              </a:xfrm>
              <a:custGeom>
                <a:avLst/>
                <a:gdLst/>
                <a:ahLst/>
                <a:cxnLst/>
                <a:rect l="l" t="t" r="r" b="b"/>
                <a:pathLst>
                  <a:path w="1092" h="8087" extrusionOk="0">
                    <a:moveTo>
                      <a:pt x="1081" y="1"/>
                    </a:moveTo>
                    <a:lnTo>
                      <a:pt x="1081" y="1"/>
                    </a:lnTo>
                    <a:cubicBezTo>
                      <a:pt x="1074" y="1"/>
                      <a:pt x="1041" y="108"/>
                      <a:pt x="991" y="309"/>
                    </a:cubicBezTo>
                    <a:cubicBezTo>
                      <a:pt x="937" y="510"/>
                      <a:pt x="876" y="801"/>
                      <a:pt x="808" y="1167"/>
                    </a:cubicBezTo>
                    <a:cubicBezTo>
                      <a:pt x="668" y="1892"/>
                      <a:pt x="528" y="2908"/>
                      <a:pt x="413" y="4028"/>
                    </a:cubicBezTo>
                    <a:cubicBezTo>
                      <a:pt x="302" y="5133"/>
                      <a:pt x="198" y="6135"/>
                      <a:pt x="123" y="6899"/>
                    </a:cubicBezTo>
                    <a:cubicBezTo>
                      <a:pt x="87" y="7244"/>
                      <a:pt x="54" y="7535"/>
                      <a:pt x="29" y="7767"/>
                    </a:cubicBezTo>
                    <a:cubicBezTo>
                      <a:pt x="7" y="7972"/>
                      <a:pt x="0" y="8087"/>
                      <a:pt x="7" y="8087"/>
                    </a:cubicBezTo>
                    <a:cubicBezTo>
                      <a:pt x="7" y="8087"/>
                      <a:pt x="8" y="8087"/>
                      <a:pt x="8" y="8087"/>
                    </a:cubicBezTo>
                    <a:cubicBezTo>
                      <a:pt x="19" y="8087"/>
                      <a:pt x="44" y="7976"/>
                      <a:pt x="80" y="7775"/>
                    </a:cubicBezTo>
                    <a:cubicBezTo>
                      <a:pt x="118" y="7570"/>
                      <a:pt x="166" y="7276"/>
                      <a:pt x="216" y="6910"/>
                    </a:cubicBezTo>
                    <a:cubicBezTo>
                      <a:pt x="320" y="6178"/>
                      <a:pt x="431" y="5161"/>
                      <a:pt x="546" y="4042"/>
                    </a:cubicBezTo>
                    <a:cubicBezTo>
                      <a:pt x="661" y="2922"/>
                      <a:pt x="786" y="1910"/>
                      <a:pt x="901" y="1182"/>
                    </a:cubicBezTo>
                    <a:cubicBezTo>
                      <a:pt x="955" y="819"/>
                      <a:pt x="1006" y="524"/>
                      <a:pt x="1041" y="320"/>
                    </a:cubicBezTo>
                    <a:cubicBezTo>
                      <a:pt x="1077" y="119"/>
                      <a:pt x="1092" y="4"/>
                      <a:pt x="1081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5" name="Google Shape;2557;p46">
                <a:extLst>
                  <a:ext uri="{FF2B5EF4-FFF2-40B4-BE49-F238E27FC236}">
                    <a16:creationId xmlns:a16="http://schemas.microsoft.com/office/drawing/2014/main" id="{3887E220-F202-E9E4-FCC7-F06BB34A75AC}"/>
                  </a:ext>
                </a:extLst>
              </p:cNvPr>
              <p:cNvSpPr/>
              <p:nvPr/>
            </p:nvSpPr>
            <p:spPr>
              <a:xfrm>
                <a:off x="4377886" y="3628362"/>
                <a:ext cx="419731" cy="78930"/>
              </a:xfrm>
              <a:custGeom>
                <a:avLst/>
                <a:gdLst/>
                <a:ahLst/>
                <a:cxnLst/>
                <a:rect l="l" t="t" r="r" b="b"/>
                <a:pathLst>
                  <a:path w="9455" h="1778" extrusionOk="0">
                    <a:moveTo>
                      <a:pt x="209" y="1"/>
                    </a:moveTo>
                    <a:cubicBezTo>
                      <a:pt x="74" y="1"/>
                      <a:pt x="0" y="4"/>
                      <a:pt x="0" y="9"/>
                    </a:cubicBezTo>
                    <a:cubicBezTo>
                      <a:pt x="0" y="20"/>
                      <a:pt x="137" y="34"/>
                      <a:pt x="378" y="55"/>
                    </a:cubicBezTo>
                    <a:cubicBezTo>
                      <a:pt x="622" y="77"/>
                      <a:pt x="974" y="106"/>
                      <a:pt x="1405" y="156"/>
                    </a:cubicBezTo>
                    <a:cubicBezTo>
                      <a:pt x="2270" y="249"/>
                      <a:pt x="3461" y="422"/>
                      <a:pt x="4768" y="666"/>
                    </a:cubicBezTo>
                    <a:cubicBezTo>
                      <a:pt x="6074" y="917"/>
                      <a:pt x="7248" y="1190"/>
                      <a:pt x="8088" y="1417"/>
                    </a:cubicBezTo>
                    <a:cubicBezTo>
                      <a:pt x="8511" y="1524"/>
                      <a:pt x="8848" y="1621"/>
                      <a:pt x="9085" y="1685"/>
                    </a:cubicBezTo>
                    <a:cubicBezTo>
                      <a:pt x="9288" y="1745"/>
                      <a:pt x="9415" y="1777"/>
                      <a:pt x="9445" y="1777"/>
                    </a:cubicBezTo>
                    <a:cubicBezTo>
                      <a:pt x="9449" y="1777"/>
                      <a:pt x="9451" y="1776"/>
                      <a:pt x="9451" y="1775"/>
                    </a:cubicBezTo>
                    <a:cubicBezTo>
                      <a:pt x="9455" y="1768"/>
                      <a:pt x="9330" y="1718"/>
                      <a:pt x="9100" y="1635"/>
                    </a:cubicBezTo>
                    <a:cubicBezTo>
                      <a:pt x="8870" y="1553"/>
                      <a:pt x="8533" y="1442"/>
                      <a:pt x="8113" y="1319"/>
                    </a:cubicBezTo>
                    <a:cubicBezTo>
                      <a:pt x="7276" y="1072"/>
                      <a:pt x="6103" y="781"/>
                      <a:pt x="4793" y="534"/>
                    </a:cubicBezTo>
                    <a:cubicBezTo>
                      <a:pt x="3482" y="285"/>
                      <a:pt x="2283" y="128"/>
                      <a:pt x="1415" y="60"/>
                    </a:cubicBezTo>
                    <a:cubicBezTo>
                      <a:pt x="981" y="24"/>
                      <a:pt x="625" y="9"/>
                      <a:pt x="381" y="2"/>
                    </a:cubicBezTo>
                    <a:cubicBezTo>
                      <a:pt x="316" y="1"/>
                      <a:pt x="258" y="1"/>
                      <a:pt x="209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6" name="Google Shape;2558;p46">
                <a:extLst>
                  <a:ext uri="{FF2B5EF4-FFF2-40B4-BE49-F238E27FC236}">
                    <a16:creationId xmlns:a16="http://schemas.microsoft.com/office/drawing/2014/main" id="{B870E0EA-4979-AC39-646B-EFF4090A3BD7}"/>
                  </a:ext>
                </a:extLst>
              </p:cNvPr>
              <p:cNvSpPr/>
              <p:nvPr/>
            </p:nvSpPr>
            <p:spPr>
              <a:xfrm>
                <a:off x="4980013" y="3637507"/>
                <a:ext cx="211663" cy="535906"/>
              </a:xfrm>
              <a:custGeom>
                <a:avLst/>
                <a:gdLst/>
                <a:ahLst/>
                <a:cxnLst/>
                <a:rect l="l" t="t" r="r" b="b"/>
                <a:pathLst>
                  <a:path w="4768" h="12072" extrusionOk="0">
                    <a:moveTo>
                      <a:pt x="4764" y="0"/>
                    </a:moveTo>
                    <a:lnTo>
                      <a:pt x="4764" y="0"/>
                    </a:lnTo>
                    <a:cubicBezTo>
                      <a:pt x="4760" y="0"/>
                      <a:pt x="4739" y="40"/>
                      <a:pt x="4699" y="119"/>
                    </a:cubicBezTo>
                    <a:cubicBezTo>
                      <a:pt x="4656" y="209"/>
                      <a:pt x="4602" y="323"/>
                      <a:pt x="4538" y="460"/>
                    </a:cubicBezTo>
                    <a:cubicBezTo>
                      <a:pt x="4397" y="758"/>
                      <a:pt x="4208" y="1192"/>
                      <a:pt x="3981" y="1734"/>
                    </a:cubicBezTo>
                    <a:cubicBezTo>
                      <a:pt x="3526" y="2818"/>
                      <a:pt x="2944" y="4333"/>
                      <a:pt x="2323" y="6013"/>
                    </a:cubicBezTo>
                    <a:cubicBezTo>
                      <a:pt x="1702" y="7696"/>
                      <a:pt x="1132" y="9214"/>
                      <a:pt x="701" y="10306"/>
                    </a:cubicBezTo>
                    <a:cubicBezTo>
                      <a:pt x="489" y="10833"/>
                      <a:pt x="313" y="11271"/>
                      <a:pt x="184" y="11594"/>
                    </a:cubicBezTo>
                    <a:cubicBezTo>
                      <a:pt x="130" y="11734"/>
                      <a:pt x="83" y="11853"/>
                      <a:pt x="47" y="11946"/>
                    </a:cubicBezTo>
                    <a:cubicBezTo>
                      <a:pt x="15" y="12028"/>
                      <a:pt x="1" y="12072"/>
                      <a:pt x="4" y="12072"/>
                    </a:cubicBezTo>
                    <a:cubicBezTo>
                      <a:pt x="4" y="12072"/>
                      <a:pt x="5" y="12072"/>
                      <a:pt x="5" y="12072"/>
                    </a:cubicBezTo>
                    <a:cubicBezTo>
                      <a:pt x="14" y="12072"/>
                      <a:pt x="35" y="12032"/>
                      <a:pt x="69" y="11957"/>
                    </a:cubicBezTo>
                    <a:cubicBezTo>
                      <a:pt x="116" y="11866"/>
                      <a:pt x="169" y="11752"/>
                      <a:pt x="231" y="11616"/>
                    </a:cubicBezTo>
                    <a:cubicBezTo>
                      <a:pt x="370" y="11318"/>
                      <a:pt x="561" y="10884"/>
                      <a:pt x="791" y="10342"/>
                    </a:cubicBezTo>
                    <a:cubicBezTo>
                      <a:pt x="1246" y="9257"/>
                      <a:pt x="1828" y="7743"/>
                      <a:pt x="2449" y="6063"/>
                    </a:cubicBezTo>
                    <a:cubicBezTo>
                      <a:pt x="3070" y="4380"/>
                      <a:pt x="3637" y="2861"/>
                      <a:pt x="4071" y="1770"/>
                    </a:cubicBezTo>
                    <a:cubicBezTo>
                      <a:pt x="4283" y="1242"/>
                      <a:pt x="4455" y="805"/>
                      <a:pt x="4584" y="482"/>
                    </a:cubicBezTo>
                    <a:cubicBezTo>
                      <a:pt x="4642" y="341"/>
                      <a:pt x="4689" y="223"/>
                      <a:pt x="4725" y="129"/>
                    </a:cubicBezTo>
                    <a:cubicBezTo>
                      <a:pt x="4753" y="48"/>
                      <a:pt x="4768" y="5"/>
                      <a:pt x="476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7" name="Google Shape;2559;p46">
                <a:extLst>
                  <a:ext uri="{FF2B5EF4-FFF2-40B4-BE49-F238E27FC236}">
                    <a16:creationId xmlns:a16="http://schemas.microsoft.com/office/drawing/2014/main" id="{777B005C-912D-F3B9-67C9-F1F785075D1B}"/>
                  </a:ext>
                </a:extLst>
              </p:cNvPr>
              <p:cNvSpPr/>
              <p:nvPr/>
            </p:nvSpPr>
            <p:spPr>
              <a:xfrm>
                <a:off x="4422677" y="3993702"/>
                <a:ext cx="557747" cy="179790"/>
              </a:xfrm>
              <a:custGeom>
                <a:avLst/>
                <a:gdLst/>
                <a:ahLst/>
                <a:cxnLst/>
                <a:rect l="l" t="t" r="r" b="b"/>
                <a:pathLst>
                  <a:path w="12564" h="4050" extrusionOk="0">
                    <a:moveTo>
                      <a:pt x="8" y="0"/>
                    </a:moveTo>
                    <a:cubicBezTo>
                      <a:pt x="3" y="0"/>
                      <a:pt x="1" y="1"/>
                      <a:pt x="0" y="2"/>
                    </a:cubicBezTo>
                    <a:cubicBezTo>
                      <a:pt x="0" y="6"/>
                      <a:pt x="43" y="24"/>
                      <a:pt x="126" y="52"/>
                    </a:cubicBezTo>
                    <a:cubicBezTo>
                      <a:pt x="227" y="85"/>
                      <a:pt x="345" y="125"/>
                      <a:pt x="492" y="175"/>
                    </a:cubicBezTo>
                    <a:cubicBezTo>
                      <a:pt x="830" y="286"/>
                      <a:pt x="1282" y="433"/>
                      <a:pt x="1834" y="612"/>
                    </a:cubicBezTo>
                    <a:cubicBezTo>
                      <a:pt x="2972" y="978"/>
                      <a:pt x="4534" y="1506"/>
                      <a:pt x="6260" y="2091"/>
                    </a:cubicBezTo>
                    <a:cubicBezTo>
                      <a:pt x="7987" y="2676"/>
                      <a:pt x="9555" y="3186"/>
                      <a:pt x="10700" y="3531"/>
                    </a:cubicBezTo>
                    <a:cubicBezTo>
                      <a:pt x="11271" y="3706"/>
                      <a:pt x="11734" y="3839"/>
                      <a:pt x="12057" y="3925"/>
                    </a:cubicBezTo>
                    <a:cubicBezTo>
                      <a:pt x="12204" y="3965"/>
                      <a:pt x="12330" y="3998"/>
                      <a:pt x="12430" y="4026"/>
                    </a:cubicBezTo>
                    <a:cubicBezTo>
                      <a:pt x="12495" y="4040"/>
                      <a:pt x="12538" y="4050"/>
                      <a:pt x="12553" y="4050"/>
                    </a:cubicBezTo>
                    <a:cubicBezTo>
                      <a:pt x="12557" y="4050"/>
                      <a:pt x="12559" y="4049"/>
                      <a:pt x="12559" y="4048"/>
                    </a:cubicBezTo>
                    <a:cubicBezTo>
                      <a:pt x="12563" y="4044"/>
                      <a:pt x="12520" y="4026"/>
                      <a:pt x="12438" y="3998"/>
                    </a:cubicBezTo>
                    <a:cubicBezTo>
                      <a:pt x="12337" y="3965"/>
                      <a:pt x="12219" y="3925"/>
                      <a:pt x="12072" y="3875"/>
                    </a:cubicBezTo>
                    <a:cubicBezTo>
                      <a:pt x="11734" y="3768"/>
                      <a:pt x="11282" y="3620"/>
                      <a:pt x="10725" y="3441"/>
                    </a:cubicBezTo>
                    <a:cubicBezTo>
                      <a:pt x="9591" y="3072"/>
                      <a:pt x="8030" y="2543"/>
                      <a:pt x="6303" y="1962"/>
                    </a:cubicBezTo>
                    <a:cubicBezTo>
                      <a:pt x="4577" y="1377"/>
                      <a:pt x="3008" y="864"/>
                      <a:pt x="1864" y="519"/>
                    </a:cubicBezTo>
                    <a:cubicBezTo>
                      <a:pt x="1292" y="347"/>
                      <a:pt x="830" y="211"/>
                      <a:pt x="507" y="125"/>
                    </a:cubicBezTo>
                    <a:cubicBezTo>
                      <a:pt x="356" y="85"/>
                      <a:pt x="234" y="52"/>
                      <a:pt x="133" y="27"/>
                    </a:cubicBezTo>
                    <a:cubicBezTo>
                      <a:pt x="65" y="10"/>
                      <a:pt x="23" y="0"/>
                      <a:pt x="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44" name="Google Shape;2560;p46">
              <a:extLst>
                <a:ext uri="{FF2B5EF4-FFF2-40B4-BE49-F238E27FC236}">
                  <a16:creationId xmlns:a16="http://schemas.microsoft.com/office/drawing/2014/main" id="{6FC9A7D4-3216-193E-B0ED-09A4A4BCCED7}"/>
                </a:ext>
              </a:extLst>
            </p:cNvPr>
            <p:cNvGrpSpPr/>
            <p:nvPr/>
          </p:nvGrpSpPr>
          <p:grpSpPr>
            <a:xfrm>
              <a:off x="4980432" y="915866"/>
              <a:ext cx="773384" cy="715644"/>
              <a:chOff x="2681574" y="1237063"/>
              <a:chExt cx="340338" cy="314998"/>
            </a:xfrm>
          </p:grpSpPr>
          <p:sp>
            <p:nvSpPr>
              <p:cNvPr id="708" name="Google Shape;2561;p46">
                <a:extLst>
                  <a:ext uri="{FF2B5EF4-FFF2-40B4-BE49-F238E27FC236}">
                    <a16:creationId xmlns:a16="http://schemas.microsoft.com/office/drawing/2014/main" id="{57B9A895-7263-9D06-7F72-AF9494FF255D}"/>
                  </a:ext>
                </a:extLst>
              </p:cNvPr>
              <p:cNvSpPr/>
              <p:nvPr/>
            </p:nvSpPr>
            <p:spPr>
              <a:xfrm>
                <a:off x="2681574" y="1237063"/>
                <a:ext cx="340338" cy="314998"/>
              </a:xfrm>
              <a:custGeom>
                <a:avLst/>
                <a:gdLst/>
                <a:ahLst/>
                <a:cxnLst/>
                <a:rect l="l" t="t" r="r" b="b"/>
                <a:pathLst>
                  <a:path w="9227" h="8540" extrusionOk="0">
                    <a:moveTo>
                      <a:pt x="6425" y="0"/>
                    </a:moveTo>
                    <a:cubicBezTo>
                      <a:pt x="6425" y="0"/>
                      <a:pt x="6228" y="2011"/>
                      <a:pt x="3964" y="2884"/>
                    </a:cubicBezTo>
                    <a:cubicBezTo>
                      <a:pt x="2562" y="3427"/>
                      <a:pt x="1" y="4855"/>
                      <a:pt x="254" y="5974"/>
                    </a:cubicBezTo>
                    <a:lnTo>
                      <a:pt x="2369" y="8540"/>
                    </a:lnTo>
                    <a:cubicBezTo>
                      <a:pt x="2369" y="8540"/>
                      <a:pt x="3746" y="7084"/>
                      <a:pt x="5677" y="6442"/>
                    </a:cubicBezTo>
                    <a:cubicBezTo>
                      <a:pt x="7574" y="5813"/>
                      <a:pt x="9226" y="3160"/>
                      <a:pt x="9226" y="3160"/>
                    </a:cubicBezTo>
                    <a:lnTo>
                      <a:pt x="6425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9" name="Google Shape;2562;p46">
                <a:extLst>
                  <a:ext uri="{FF2B5EF4-FFF2-40B4-BE49-F238E27FC236}">
                    <a16:creationId xmlns:a16="http://schemas.microsoft.com/office/drawing/2014/main" id="{8DC9592E-341A-5AAE-0D69-2A0EF305AE4E}"/>
                  </a:ext>
                </a:extLst>
              </p:cNvPr>
              <p:cNvSpPr/>
              <p:nvPr/>
            </p:nvSpPr>
            <p:spPr>
              <a:xfrm>
                <a:off x="2798758" y="1347238"/>
                <a:ext cx="136733" cy="114897"/>
              </a:xfrm>
              <a:custGeom>
                <a:avLst/>
                <a:gdLst/>
                <a:ahLst/>
                <a:cxnLst/>
                <a:rect l="l" t="t" r="r" b="b"/>
                <a:pathLst>
                  <a:path w="3707" h="3115" extrusionOk="0">
                    <a:moveTo>
                      <a:pt x="2035" y="1"/>
                    </a:moveTo>
                    <a:cubicBezTo>
                      <a:pt x="1894" y="1"/>
                      <a:pt x="1751" y="21"/>
                      <a:pt x="1608" y="63"/>
                    </a:cubicBezTo>
                    <a:cubicBezTo>
                      <a:pt x="813" y="299"/>
                      <a:pt x="1" y="1239"/>
                      <a:pt x="232" y="2035"/>
                    </a:cubicBezTo>
                    <a:cubicBezTo>
                      <a:pt x="409" y="2631"/>
                      <a:pt x="1028" y="3114"/>
                      <a:pt x="1736" y="3114"/>
                    </a:cubicBezTo>
                    <a:cubicBezTo>
                      <a:pt x="1972" y="3114"/>
                      <a:pt x="2218" y="3061"/>
                      <a:pt x="2461" y="2939"/>
                    </a:cubicBezTo>
                    <a:cubicBezTo>
                      <a:pt x="3200" y="2568"/>
                      <a:pt x="3706" y="1868"/>
                      <a:pt x="3470" y="1077"/>
                    </a:cubicBezTo>
                    <a:cubicBezTo>
                      <a:pt x="3276" y="424"/>
                      <a:pt x="2682" y="1"/>
                      <a:pt x="2035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0" name="Google Shape;2563;p46">
                <a:extLst>
                  <a:ext uri="{FF2B5EF4-FFF2-40B4-BE49-F238E27FC236}">
                    <a16:creationId xmlns:a16="http://schemas.microsoft.com/office/drawing/2014/main" id="{6CB9411C-05E8-107E-C1AC-76B87688CCAE}"/>
                  </a:ext>
                </a:extLst>
              </p:cNvPr>
              <p:cNvSpPr/>
              <p:nvPr/>
            </p:nvSpPr>
            <p:spPr>
              <a:xfrm>
                <a:off x="2831807" y="1370734"/>
                <a:ext cx="68385" cy="74950"/>
              </a:xfrm>
              <a:custGeom>
                <a:avLst/>
                <a:gdLst/>
                <a:ahLst/>
                <a:cxnLst/>
                <a:rect l="l" t="t" r="r" b="b"/>
                <a:pathLst>
                  <a:path w="1854" h="2032" extrusionOk="0">
                    <a:moveTo>
                      <a:pt x="529" y="422"/>
                    </a:moveTo>
                    <a:cubicBezTo>
                      <a:pt x="613" y="541"/>
                      <a:pt x="712" y="676"/>
                      <a:pt x="827" y="825"/>
                    </a:cubicBezTo>
                    <a:cubicBezTo>
                      <a:pt x="796" y="842"/>
                      <a:pt x="770" y="856"/>
                      <a:pt x="744" y="873"/>
                    </a:cubicBezTo>
                    <a:cubicBezTo>
                      <a:pt x="630" y="737"/>
                      <a:pt x="525" y="615"/>
                      <a:pt x="433" y="523"/>
                    </a:cubicBezTo>
                    <a:cubicBezTo>
                      <a:pt x="442" y="515"/>
                      <a:pt x="446" y="501"/>
                      <a:pt x="450" y="493"/>
                    </a:cubicBezTo>
                    <a:cubicBezTo>
                      <a:pt x="476" y="467"/>
                      <a:pt x="503" y="445"/>
                      <a:pt x="529" y="422"/>
                    </a:cubicBezTo>
                    <a:close/>
                    <a:moveTo>
                      <a:pt x="363" y="642"/>
                    </a:moveTo>
                    <a:cubicBezTo>
                      <a:pt x="424" y="733"/>
                      <a:pt x="503" y="838"/>
                      <a:pt x="587" y="952"/>
                    </a:cubicBezTo>
                    <a:cubicBezTo>
                      <a:pt x="569" y="956"/>
                      <a:pt x="547" y="969"/>
                      <a:pt x="534" y="973"/>
                    </a:cubicBezTo>
                    <a:cubicBezTo>
                      <a:pt x="512" y="978"/>
                      <a:pt x="494" y="978"/>
                      <a:pt x="476" y="978"/>
                    </a:cubicBezTo>
                    <a:cubicBezTo>
                      <a:pt x="460" y="978"/>
                      <a:pt x="446" y="973"/>
                      <a:pt x="433" y="969"/>
                    </a:cubicBezTo>
                    <a:cubicBezTo>
                      <a:pt x="407" y="961"/>
                      <a:pt x="377" y="939"/>
                      <a:pt x="359" y="908"/>
                    </a:cubicBezTo>
                    <a:cubicBezTo>
                      <a:pt x="315" y="851"/>
                      <a:pt x="302" y="785"/>
                      <a:pt x="329" y="707"/>
                    </a:cubicBezTo>
                    <a:cubicBezTo>
                      <a:pt x="333" y="685"/>
                      <a:pt x="355" y="664"/>
                      <a:pt x="363" y="642"/>
                    </a:cubicBezTo>
                    <a:close/>
                    <a:moveTo>
                      <a:pt x="1286" y="1027"/>
                    </a:moveTo>
                    <a:cubicBezTo>
                      <a:pt x="1295" y="1027"/>
                      <a:pt x="1303" y="1028"/>
                      <a:pt x="1311" y="1031"/>
                    </a:cubicBezTo>
                    <a:cubicBezTo>
                      <a:pt x="1382" y="1039"/>
                      <a:pt x="1456" y="1100"/>
                      <a:pt x="1482" y="1170"/>
                    </a:cubicBezTo>
                    <a:cubicBezTo>
                      <a:pt x="1513" y="1227"/>
                      <a:pt x="1509" y="1310"/>
                      <a:pt x="1486" y="1384"/>
                    </a:cubicBezTo>
                    <a:cubicBezTo>
                      <a:pt x="1408" y="1279"/>
                      <a:pt x="1321" y="1162"/>
                      <a:pt x="1224" y="1035"/>
                    </a:cubicBezTo>
                    <a:cubicBezTo>
                      <a:pt x="1245" y="1032"/>
                      <a:pt x="1266" y="1027"/>
                      <a:pt x="1286" y="1027"/>
                    </a:cubicBezTo>
                    <a:close/>
                    <a:moveTo>
                      <a:pt x="1053" y="1104"/>
                    </a:moveTo>
                    <a:cubicBezTo>
                      <a:pt x="1180" y="1262"/>
                      <a:pt x="1303" y="1406"/>
                      <a:pt x="1408" y="1524"/>
                    </a:cubicBezTo>
                    <a:cubicBezTo>
                      <a:pt x="1386" y="1555"/>
                      <a:pt x="1373" y="1594"/>
                      <a:pt x="1347" y="1620"/>
                    </a:cubicBezTo>
                    <a:cubicBezTo>
                      <a:pt x="1342" y="1624"/>
                      <a:pt x="1338" y="1629"/>
                      <a:pt x="1333" y="1638"/>
                    </a:cubicBezTo>
                    <a:cubicBezTo>
                      <a:pt x="1233" y="1498"/>
                      <a:pt x="1111" y="1332"/>
                      <a:pt x="970" y="1152"/>
                    </a:cubicBezTo>
                    <a:cubicBezTo>
                      <a:pt x="992" y="1140"/>
                      <a:pt x="1015" y="1126"/>
                      <a:pt x="1037" y="1114"/>
                    </a:cubicBezTo>
                    <a:cubicBezTo>
                      <a:pt x="1041" y="1109"/>
                      <a:pt x="1045" y="1109"/>
                      <a:pt x="1053" y="1104"/>
                    </a:cubicBezTo>
                    <a:close/>
                    <a:moveTo>
                      <a:pt x="290" y="1"/>
                    </a:moveTo>
                    <a:cubicBezTo>
                      <a:pt x="288" y="1"/>
                      <a:pt x="286" y="1"/>
                      <a:pt x="285" y="3"/>
                    </a:cubicBezTo>
                    <a:cubicBezTo>
                      <a:pt x="267" y="12"/>
                      <a:pt x="315" y="104"/>
                      <a:pt x="403" y="235"/>
                    </a:cubicBezTo>
                    <a:cubicBezTo>
                      <a:pt x="363" y="261"/>
                      <a:pt x="324" y="275"/>
                      <a:pt x="280" y="305"/>
                    </a:cubicBezTo>
                    <a:cubicBezTo>
                      <a:pt x="272" y="313"/>
                      <a:pt x="258" y="327"/>
                      <a:pt x="250" y="340"/>
                    </a:cubicBezTo>
                    <a:cubicBezTo>
                      <a:pt x="217" y="311"/>
                      <a:pt x="194" y="294"/>
                      <a:pt x="179" y="294"/>
                    </a:cubicBezTo>
                    <a:cubicBezTo>
                      <a:pt x="176" y="294"/>
                      <a:pt x="173" y="295"/>
                      <a:pt x="171" y="297"/>
                    </a:cubicBezTo>
                    <a:cubicBezTo>
                      <a:pt x="162" y="305"/>
                      <a:pt x="175" y="335"/>
                      <a:pt x="202" y="388"/>
                    </a:cubicBezTo>
                    <a:cubicBezTo>
                      <a:pt x="145" y="445"/>
                      <a:pt x="88" y="511"/>
                      <a:pt x="49" y="602"/>
                    </a:cubicBezTo>
                    <a:cubicBezTo>
                      <a:pt x="22" y="672"/>
                      <a:pt x="0" y="747"/>
                      <a:pt x="4" y="838"/>
                    </a:cubicBezTo>
                    <a:cubicBezTo>
                      <a:pt x="10" y="926"/>
                      <a:pt x="36" y="1013"/>
                      <a:pt x="79" y="1092"/>
                    </a:cubicBezTo>
                    <a:cubicBezTo>
                      <a:pt x="131" y="1166"/>
                      <a:pt x="202" y="1235"/>
                      <a:pt x="298" y="1279"/>
                    </a:cubicBezTo>
                    <a:cubicBezTo>
                      <a:pt x="341" y="1301"/>
                      <a:pt x="394" y="1314"/>
                      <a:pt x="446" y="1323"/>
                    </a:cubicBezTo>
                    <a:cubicBezTo>
                      <a:pt x="466" y="1325"/>
                      <a:pt x="487" y="1326"/>
                      <a:pt x="508" y="1326"/>
                    </a:cubicBezTo>
                    <a:cubicBezTo>
                      <a:pt x="537" y="1326"/>
                      <a:pt x="567" y="1324"/>
                      <a:pt x="595" y="1319"/>
                    </a:cubicBezTo>
                    <a:cubicBezTo>
                      <a:pt x="678" y="1301"/>
                      <a:pt x="748" y="1271"/>
                      <a:pt x="809" y="1241"/>
                    </a:cubicBezTo>
                    <a:cubicBezTo>
                      <a:pt x="962" y="1428"/>
                      <a:pt x="1106" y="1598"/>
                      <a:pt x="1228" y="1729"/>
                    </a:cubicBezTo>
                    <a:cubicBezTo>
                      <a:pt x="1150" y="1791"/>
                      <a:pt x="1075" y="1848"/>
                      <a:pt x="1023" y="1887"/>
                    </a:cubicBezTo>
                    <a:cubicBezTo>
                      <a:pt x="932" y="1949"/>
                      <a:pt x="883" y="1987"/>
                      <a:pt x="892" y="2009"/>
                    </a:cubicBezTo>
                    <a:cubicBezTo>
                      <a:pt x="897" y="2024"/>
                      <a:pt x="918" y="2031"/>
                      <a:pt x="954" y="2031"/>
                    </a:cubicBezTo>
                    <a:cubicBezTo>
                      <a:pt x="984" y="2031"/>
                      <a:pt x="1025" y="2026"/>
                      <a:pt x="1075" y="2014"/>
                    </a:cubicBezTo>
                    <a:cubicBezTo>
                      <a:pt x="1154" y="1996"/>
                      <a:pt x="1263" y="1953"/>
                      <a:pt x="1377" y="1891"/>
                    </a:cubicBezTo>
                    <a:cubicBezTo>
                      <a:pt x="1461" y="1972"/>
                      <a:pt x="1516" y="2015"/>
                      <a:pt x="1538" y="2015"/>
                    </a:cubicBezTo>
                    <a:cubicBezTo>
                      <a:pt x="1540" y="2015"/>
                      <a:pt x="1542" y="2014"/>
                      <a:pt x="1543" y="2014"/>
                    </a:cubicBezTo>
                    <a:cubicBezTo>
                      <a:pt x="1557" y="2001"/>
                      <a:pt x="1525" y="1939"/>
                      <a:pt x="1464" y="1838"/>
                    </a:cubicBezTo>
                    <a:cubicBezTo>
                      <a:pt x="1486" y="1826"/>
                      <a:pt x="1499" y="1822"/>
                      <a:pt x="1521" y="1808"/>
                    </a:cubicBezTo>
                    <a:cubicBezTo>
                      <a:pt x="1547" y="1786"/>
                      <a:pt x="1569" y="1756"/>
                      <a:pt x="1596" y="1729"/>
                    </a:cubicBezTo>
                    <a:cubicBezTo>
                      <a:pt x="1695" y="1833"/>
                      <a:pt x="1762" y="1893"/>
                      <a:pt x="1786" y="1893"/>
                    </a:cubicBezTo>
                    <a:cubicBezTo>
                      <a:pt x="1789" y="1893"/>
                      <a:pt x="1791" y="1892"/>
                      <a:pt x="1793" y="1891"/>
                    </a:cubicBezTo>
                    <a:cubicBezTo>
                      <a:pt x="1810" y="1878"/>
                      <a:pt x="1761" y="1786"/>
                      <a:pt x="1670" y="1646"/>
                    </a:cubicBezTo>
                    <a:cubicBezTo>
                      <a:pt x="1700" y="1608"/>
                      <a:pt x="1727" y="1568"/>
                      <a:pt x="1753" y="1520"/>
                    </a:cubicBezTo>
                    <a:cubicBezTo>
                      <a:pt x="1814" y="1398"/>
                      <a:pt x="1854" y="1231"/>
                      <a:pt x="1793" y="1052"/>
                    </a:cubicBezTo>
                    <a:cubicBezTo>
                      <a:pt x="1731" y="882"/>
                      <a:pt x="1587" y="737"/>
                      <a:pt x="1390" y="690"/>
                    </a:cubicBezTo>
                    <a:cubicBezTo>
                      <a:pt x="1338" y="676"/>
                      <a:pt x="1285" y="672"/>
                      <a:pt x="1237" y="672"/>
                    </a:cubicBezTo>
                    <a:cubicBezTo>
                      <a:pt x="1184" y="676"/>
                      <a:pt x="1137" y="685"/>
                      <a:pt x="1093" y="698"/>
                    </a:cubicBezTo>
                    <a:cubicBezTo>
                      <a:pt x="1053" y="711"/>
                      <a:pt x="1023" y="729"/>
                      <a:pt x="988" y="747"/>
                    </a:cubicBezTo>
                    <a:cubicBezTo>
                      <a:pt x="861" y="589"/>
                      <a:pt x="739" y="449"/>
                      <a:pt x="639" y="331"/>
                    </a:cubicBezTo>
                    <a:cubicBezTo>
                      <a:pt x="691" y="291"/>
                      <a:pt x="739" y="257"/>
                      <a:pt x="783" y="231"/>
                    </a:cubicBezTo>
                    <a:cubicBezTo>
                      <a:pt x="870" y="166"/>
                      <a:pt x="914" y="121"/>
                      <a:pt x="905" y="99"/>
                    </a:cubicBezTo>
                    <a:cubicBezTo>
                      <a:pt x="901" y="88"/>
                      <a:pt x="883" y="83"/>
                      <a:pt x="853" y="83"/>
                    </a:cubicBezTo>
                    <a:cubicBezTo>
                      <a:pt x="823" y="83"/>
                      <a:pt x="781" y="88"/>
                      <a:pt x="726" y="99"/>
                    </a:cubicBezTo>
                    <a:cubicBezTo>
                      <a:pt x="669" y="113"/>
                      <a:pt x="603" y="134"/>
                      <a:pt x="529" y="166"/>
                    </a:cubicBezTo>
                    <a:cubicBezTo>
                      <a:pt x="521" y="170"/>
                      <a:pt x="508" y="178"/>
                      <a:pt x="498" y="182"/>
                    </a:cubicBezTo>
                    <a:cubicBezTo>
                      <a:pt x="392" y="72"/>
                      <a:pt x="314" y="1"/>
                      <a:pt x="290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1" name="Google Shape;2564;p46">
                <a:extLst>
                  <a:ext uri="{FF2B5EF4-FFF2-40B4-BE49-F238E27FC236}">
                    <a16:creationId xmlns:a16="http://schemas.microsoft.com/office/drawing/2014/main" id="{AE00BD88-AA62-815B-874B-8FA4AB02CC8A}"/>
                  </a:ext>
                </a:extLst>
              </p:cNvPr>
              <p:cNvSpPr/>
              <p:nvPr/>
            </p:nvSpPr>
            <p:spPr>
              <a:xfrm>
                <a:off x="2700128" y="1258825"/>
                <a:ext cx="302900" cy="276785"/>
              </a:xfrm>
              <a:custGeom>
                <a:avLst/>
                <a:gdLst/>
                <a:ahLst/>
                <a:cxnLst/>
                <a:rect l="l" t="t" r="r" b="b"/>
                <a:pathLst>
                  <a:path w="8212" h="7504" extrusionOk="0">
                    <a:moveTo>
                      <a:pt x="6123" y="179"/>
                    </a:moveTo>
                    <a:lnTo>
                      <a:pt x="8090" y="2504"/>
                    </a:lnTo>
                    <a:cubicBezTo>
                      <a:pt x="7251" y="4309"/>
                      <a:pt x="5573" y="5340"/>
                      <a:pt x="4379" y="5673"/>
                    </a:cubicBezTo>
                    <a:cubicBezTo>
                      <a:pt x="3318" y="5974"/>
                      <a:pt x="2159" y="7106"/>
                      <a:pt x="1923" y="7347"/>
                    </a:cubicBezTo>
                    <a:lnTo>
                      <a:pt x="123" y="5144"/>
                    </a:lnTo>
                    <a:cubicBezTo>
                      <a:pt x="660" y="3859"/>
                      <a:pt x="2636" y="3046"/>
                      <a:pt x="3942" y="2508"/>
                    </a:cubicBezTo>
                    <a:cubicBezTo>
                      <a:pt x="4173" y="2413"/>
                      <a:pt x="4393" y="2321"/>
                      <a:pt x="4580" y="2238"/>
                    </a:cubicBezTo>
                    <a:cubicBezTo>
                      <a:pt x="4803" y="2141"/>
                      <a:pt x="4996" y="2014"/>
                      <a:pt x="5157" y="1875"/>
                    </a:cubicBezTo>
                    <a:cubicBezTo>
                      <a:pt x="5742" y="1377"/>
                      <a:pt x="5983" y="709"/>
                      <a:pt x="6053" y="477"/>
                    </a:cubicBezTo>
                    <a:cubicBezTo>
                      <a:pt x="6065" y="437"/>
                      <a:pt x="6105" y="302"/>
                      <a:pt x="6123" y="179"/>
                    </a:cubicBezTo>
                    <a:close/>
                    <a:moveTo>
                      <a:pt x="6105" y="1"/>
                    </a:moveTo>
                    <a:lnTo>
                      <a:pt x="6018" y="57"/>
                    </a:lnTo>
                    <a:cubicBezTo>
                      <a:pt x="6061" y="175"/>
                      <a:pt x="5769" y="1595"/>
                      <a:pt x="4536" y="2141"/>
                    </a:cubicBezTo>
                    <a:cubicBezTo>
                      <a:pt x="4353" y="2224"/>
                      <a:pt x="4135" y="2316"/>
                      <a:pt x="3903" y="2408"/>
                    </a:cubicBezTo>
                    <a:cubicBezTo>
                      <a:pt x="2977" y="2793"/>
                      <a:pt x="1718" y="3309"/>
                      <a:pt x="857" y="4043"/>
                    </a:cubicBezTo>
                    <a:cubicBezTo>
                      <a:pt x="476" y="4362"/>
                      <a:pt x="175" y="4725"/>
                      <a:pt x="14" y="5135"/>
                    </a:cubicBezTo>
                    <a:lnTo>
                      <a:pt x="0" y="5166"/>
                    </a:lnTo>
                    <a:lnTo>
                      <a:pt x="1914" y="7504"/>
                    </a:lnTo>
                    <a:lnTo>
                      <a:pt x="1958" y="7460"/>
                    </a:lnTo>
                    <a:cubicBezTo>
                      <a:pt x="1971" y="7447"/>
                      <a:pt x="3273" y="6096"/>
                      <a:pt x="4409" y="5778"/>
                    </a:cubicBezTo>
                    <a:cubicBezTo>
                      <a:pt x="5629" y="5432"/>
                      <a:pt x="7350" y="4374"/>
                      <a:pt x="8199" y="2518"/>
                    </a:cubicBezTo>
                    <a:lnTo>
                      <a:pt x="8211" y="2486"/>
                    </a:lnTo>
                    <a:lnTo>
                      <a:pt x="6105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45" name="Google Shape;2565;p46">
              <a:extLst>
                <a:ext uri="{FF2B5EF4-FFF2-40B4-BE49-F238E27FC236}">
                  <a16:creationId xmlns:a16="http://schemas.microsoft.com/office/drawing/2014/main" id="{548D7D26-A17E-25DE-B33E-F5EEE6708B07}"/>
                </a:ext>
              </a:extLst>
            </p:cNvPr>
            <p:cNvGrpSpPr/>
            <p:nvPr/>
          </p:nvGrpSpPr>
          <p:grpSpPr>
            <a:xfrm>
              <a:off x="4534350" y="4713051"/>
              <a:ext cx="4600713" cy="150450"/>
              <a:chOff x="0" y="4397412"/>
              <a:chExt cx="4600713" cy="150450"/>
            </a:xfrm>
          </p:grpSpPr>
          <p:sp>
            <p:nvSpPr>
              <p:cNvPr id="703" name="Google Shape;2566;p46">
                <a:extLst>
                  <a:ext uri="{FF2B5EF4-FFF2-40B4-BE49-F238E27FC236}">
                    <a16:creationId xmlns:a16="http://schemas.microsoft.com/office/drawing/2014/main" id="{48A4B5E2-B301-C7E3-43D2-6A87F19D4584}"/>
                  </a:ext>
                </a:extLst>
              </p:cNvPr>
              <p:cNvSpPr/>
              <p:nvPr/>
            </p:nvSpPr>
            <p:spPr>
              <a:xfrm>
                <a:off x="0" y="4397412"/>
                <a:ext cx="4600713" cy="2416"/>
              </a:xfrm>
              <a:custGeom>
                <a:avLst/>
                <a:gdLst/>
                <a:ahLst/>
                <a:cxnLst/>
                <a:rect l="l" t="t" r="r" b="b"/>
                <a:pathLst>
                  <a:path w="131402" h="69" extrusionOk="0">
                    <a:moveTo>
                      <a:pt x="0" y="1"/>
                    </a:moveTo>
                    <a:lnTo>
                      <a:pt x="0" y="69"/>
                    </a:lnTo>
                    <a:lnTo>
                      <a:pt x="131401" y="69"/>
                    </a:lnTo>
                    <a:lnTo>
                      <a:pt x="131401" y="1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4" name="Google Shape;2567;p46">
                <a:extLst>
                  <a:ext uri="{FF2B5EF4-FFF2-40B4-BE49-F238E27FC236}">
                    <a16:creationId xmlns:a16="http://schemas.microsoft.com/office/drawing/2014/main" id="{0DF7A276-1A0E-2388-960C-6BB5210BE220}"/>
                  </a:ext>
                </a:extLst>
              </p:cNvPr>
              <p:cNvSpPr/>
              <p:nvPr/>
            </p:nvSpPr>
            <p:spPr>
              <a:xfrm>
                <a:off x="755786" y="4545586"/>
                <a:ext cx="305519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8726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8726" y="65"/>
                    </a:lnTo>
                    <a:lnTo>
                      <a:pt x="8726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5" name="Google Shape;2568;p46">
                <a:extLst>
                  <a:ext uri="{FF2B5EF4-FFF2-40B4-BE49-F238E27FC236}">
                    <a16:creationId xmlns:a16="http://schemas.microsoft.com/office/drawing/2014/main" id="{2401B5C1-E669-7E0A-60BF-DE69E5599F89}"/>
                  </a:ext>
                </a:extLst>
              </p:cNvPr>
              <p:cNvSpPr/>
              <p:nvPr/>
            </p:nvSpPr>
            <p:spPr>
              <a:xfrm>
                <a:off x="1619552" y="4536412"/>
                <a:ext cx="497808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14218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14217" y="65"/>
                    </a:lnTo>
                    <a:lnTo>
                      <a:pt x="14217" y="0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6" name="Google Shape;2569;p46">
                <a:extLst>
                  <a:ext uri="{FF2B5EF4-FFF2-40B4-BE49-F238E27FC236}">
                    <a16:creationId xmlns:a16="http://schemas.microsoft.com/office/drawing/2014/main" id="{C6251FCF-10F4-3F2F-8D4C-8E252EA3D0C5}"/>
                  </a:ext>
                </a:extLst>
              </p:cNvPr>
              <p:cNvSpPr/>
              <p:nvPr/>
            </p:nvSpPr>
            <p:spPr>
              <a:xfrm>
                <a:off x="1070481" y="4460119"/>
                <a:ext cx="175833" cy="2311"/>
              </a:xfrm>
              <a:custGeom>
                <a:avLst/>
                <a:gdLst/>
                <a:ahLst/>
                <a:cxnLst/>
                <a:rect l="l" t="t" r="r" b="b"/>
                <a:pathLst>
                  <a:path w="5022" h="66" extrusionOk="0">
                    <a:moveTo>
                      <a:pt x="1" y="1"/>
                    </a:moveTo>
                    <a:lnTo>
                      <a:pt x="1" y="65"/>
                    </a:lnTo>
                    <a:lnTo>
                      <a:pt x="5022" y="65"/>
                    </a:lnTo>
                    <a:lnTo>
                      <a:pt x="5022" y="1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7" name="Google Shape;2570;p46">
                <a:extLst>
                  <a:ext uri="{FF2B5EF4-FFF2-40B4-BE49-F238E27FC236}">
                    <a16:creationId xmlns:a16="http://schemas.microsoft.com/office/drawing/2014/main" id="{6FC49C83-0686-0122-C2B7-DE4FB365AEAD}"/>
                  </a:ext>
                </a:extLst>
              </p:cNvPr>
              <p:cNvSpPr/>
              <p:nvPr/>
            </p:nvSpPr>
            <p:spPr>
              <a:xfrm>
                <a:off x="2732853" y="4514424"/>
                <a:ext cx="418259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11946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11946" y="65"/>
                    </a:lnTo>
                    <a:lnTo>
                      <a:pt x="11946" y="0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46" name="Google Shape;2571;p46">
              <a:extLst>
                <a:ext uri="{FF2B5EF4-FFF2-40B4-BE49-F238E27FC236}">
                  <a16:creationId xmlns:a16="http://schemas.microsoft.com/office/drawing/2014/main" id="{E31D111D-7E0A-04F4-015E-FF0707A41710}"/>
                </a:ext>
              </a:extLst>
            </p:cNvPr>
            <p:cNvGrpSpPr/>
            <p:nvPr/>
          </p:nvGrpSpPr>
          <p:grpSpPr>
            <a:xfrm rot="-721003">
              <a:off x="4854784" y="1530565"/>
              <a:ext cx="1961438" cy="2825117"/>
              <a:chOff x="4937611" y="1161749"/>
              <a:chExt cx="1961412" cy="2825079"/>
            </a:xfrm>
          </p:grpSpPr>
          <p:sp>
            <p:nvSpPr>
              <p:cNvPr id="666" name="Google Shape;2572;p46">
                <a:extLst>
                  <a:ext uri="{FF2B5EF4-FFF2-40B4-BE49-F238E27FC236}">
                    <a16:creationId xmlns:a16="http://schemas.microsoft.com/office/drawing/2014/main" id="{16B347C6-063D-A8E0-18DA-204A79E3DFBA}"/>
                  </a:ext>
                </a:extLst>
              </p:cNvPr>
              <p:cNvSpPr/>
              <p:nvPr/>
            </p:nvSpPr>
            <p:spPr>
              <a:xfrm>
                <a:off x="5456776" y="1161749"/>
                <a:ext cx="1117961" cy="499117"/>
              </a:xfrm>
              <a:custGeom>
                <a:avLst/>
                <a:gdLst/>
                <a:ahLst/>
                <a:cxnLst/>
                <a:rect l="l" t="t" r="r" b="b"/>
                <a:pathLst>
                  <a:path w="34909" h="15584" extrusionOk="0">
                    <a:moveTo>
                      <a:pt x="1" y="0"/>
                    </a:moveTo>
                    <a:cubicBezTo>
                      <a:pt x="8550" y="5252"/>
                      <a:pt x="8348" y="15583"/>
                      <a:pt x="8348" y="15583"/>
                    </a:cubicBezTo>
                    <a:lnTo>
                      <a:pt x="34909" y="15583"/>
                    </a:lnTo>
                    <a:cubicBezTo>
                      <a:pt x="34846" y="6279"/>
                      <a:pt x="27099" y="0"/>
                      <a:pt x="27099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7" name="Google Shape;2573;p46">
                <a:extLst>
                  <a:ext uri="{FF2B5EF4-FFF2-40B4-BE49-F238E27FC236}">
                    <a16:creationId xmlns:a16="http://schemas.microsoft.com/office/drawing/2014/main" id="{538D8D45-95E1-E815-137F-B8491B9C1302}"/>
                  </a:ext>
                </a:extLst>
              </p:cNvPr>
              <p:cNvSpPr/>
              <p:nvPr/>
            </p:nvSpPr>
            <p:spPr>
              <a:xfrm>
                <a:off x="5815749" y="1280498"/>
                <a:ext cx="442746" cy="3875"/>
              </a:xfrm>
              <a:custGeom>
                <a:avLst/>
                <a:gdLst/>
                <a:ahLst/>
                <a:cxnLst/>
                <a:rect l="l" t="t" r="r" b="b"/>
                <a:pathLst>
                  <a:path w="13825" h="121" extrusionOk="0">
                    <a:moveTo>
                      <a:pt x="6910" y="1"/>
                    </a:moveTo>
                    <a:cubicBezTo>
                      <a:pt x="3093" y="1"/>
                      <a:pt x="1" y="27"/>
                      <a:pt x="1" y="61"/>
                    </a:cubicBezTo>
                    <a:cubicBezTo>
                      <a:pt x="1" y="94"/>
                      <a:pt x="3093" y="120"/>
                      <a:pt x="6910" y="120"/>
                    </a:cubicBezTo>
                    <a:cubicBezTo>
                      <a:pt x="10728" y="120"/>
                      <a:pt x="13825" y="94"/>
                      <a:pt x="13825" y="61"/>
                    </a:cubicBezTo>
                    <a:cubicBezTo>
                      <a:pt x="13825" y="27"/>
                      <a:pt x="10728" y="1"/>
                      <a:pt x="6910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8" name="Google Shape;2574;p46">
                <a:extLst>
                  <a:ext uri="{FF2B5EF4-FFF2-40B4-BE49-F238E27FC236}">
                    <a16:creationId xmlns:a16="http://schemas.microsoft.com/office/drawing/2014/main" id="{BC5A93BC-BBD6-153F-8D47-694716232011}"/>
                  </a:ext>
                </a:extLst>
              </p:cNvPr>
              <p:cNvSpPr/>
              <p:nvPr/>
            </p:nvSpPr>
            <p:spPr>
              <a:xfrm>
                <a:off x="5766462" y="1340321"/>
                <a:ext cx="586762" cy="3875"/>
              </a:xfrm>
              <a:custGeom>
                <a:avLst/>
                <a:gdLst/>
                <a:ahLst/>
                <a:cxnLst/>
                <a:rect l="l" t="t" r="r" b="b"/>
                <a:pathLst>
                  <a:path w="18322" h="121" extrusionOk="0">
                    <a:moveTo>
                      <a:pt x="9159" y="0"/>
                    </a:moveTo>
                    <a:cubicBezTo>
                      <a:pt x="4102" y="0"/>
                      <a:pt x="1" y="27"/>
                      <a:pt x="1" y="60"/>
                    </a:cubicBezTo>
                    <a:cubicBezTo>
                      <a:pt x="1" y="94"/>
                      <a:pt x="4102" y="120"/>
                      <a:pt x="9159" y="120"/>
                    </a:cubicBezTo>
                    <a:cubicBezTo>
                      <a:pt x="14221" y="120"/>
                      <a:pt x="18322" y="94"/>
                      <a:pt x="18322" y="60"/>
                    </a:cubicBezTo>
                    <a:cubicBezTo>
                      <a:pt x="18322" y="27"/>
                      <a:pt x="14221" y="0"/>
                      <a:pt x="915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9" name="Google Shape;2575;p46">
                <a:extLst>
                  <a:ext uri="{FF2B5EF4-FFF2-40B4-BE49-F238E27FC236}">
                    <a16:creationId xmlns:a16="http://schemas.microsoft.com/office/drawing/2014/main" id="{1F851708-B3B8-385B-75E7-660C3647D162}"/>
                  </a:ext>
                </a:extLst>
              </p:cNvPr>
              <p:cNvSpPr/>
              <p:nvPr/>
            </p:nvSpPr>
            <p:spPr>
              <a:xfrm>
                <a:off x="5815749" y="1491737"/>
                <a:ext cx="586762" cy="4003"/>
              </a:xfrm>
              <a:custGeom>
                <a:avLst/>
                <a:gdLst/>
                <a:ahLst/>
                <a:cxnLst/>
                <a:rect l="l" t="t" r="r" b="b"/>
                <a:pathLst>
                  <a:path w="18322" h="125" extrusionOk="0">
                    <a:moveTo>
                      <a:pt x="9160" y="1"/>
                    </a:moveTo>
                    <a:cubicBezTo>
                      <a:pt x="4102" y="1"/>
                      <a:pt x="1" y="31"/>
                      <a:pt x="1" y="65"/>
                    </a:cubicBezTo>
                    <a:cubicBezTo>
                      <a:pt x="1" y="95"/>
                      <a:pt x="4102" y="125"/>
                      <a:pt x="9160" y="125"/>
                    </a:cubicBezTo>
                    <a:cubicBezTo>
                      <a:pt x="14220" y="125"/>
                      <a:pt x="18321" y="95"/>
                      <a:pt x="18321" y="65"/>
                    </a:cubicBezTo>
                    <a:cubicBezTo>
                      <a:pt x="18321" y="31"/>
                      <a:pt x="14220" y="1"/>
                      <a:pt x="916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0" name="Google Shape;2576;p46">
                <a:extLst>
                  <a:ext uri="{FF2B5EF4-FFF2-40B4-BE49-F238E27FC236}">
                    <a16:creationId xmlns:a16="http://schemas.microsoft.com/office/drawing/2014/main" id="{22F948DC-EABE-2559-F403-37ED87665BC6}"/>
                  </a:ext>
                </a:extLst>
              </p:cNvPr>
              <p:cNvSpPr/>
              <p:nvPr/>
            </p:nvSpPr>
            <p:spPr>
              <a:xfrm>
                <a:off x="5790033" y="1409368"/>
                <a:ext cx="305903" cy="3843"/>
              </a:xfrm>
              <a:custGeom>
                <a:avLst/>
                <a:gdLst/>
                <a:ahLst/>
                <a:cxnLst/>
                <a:rect l="l" t="t" r="r" b="b"/>
                <a:pathLst>
                  <a:path w="9552" h="120" extrusionOk="0">
                    <a:moveTo>
                      <a:pt x="4778" y="0"/>
                    </a:moveTo>
                    <a:cubicBezTo>
                      <a:pt x="3459" y="0"/>
                      <a:pt x="2264" y="7"/>
                      <a:pt x="1402" y="18"/>
                    </a:cubicBezTo>
                    <a:cubicBezTo>
                      <a:pt x="983" y="26"/>
                      <a:pt x="640" y="30"/>
                      <a:pt x="378" y="37"/>
                    </a:cubicBezTo>
                    <a:cubicBezTo>
                      <a:pt x="135" y="45"/>
                      <a:pt x="1" y="52"/>
                      <a:pt x="1" y="59"/>
                    </a:cubicBezTo>
                    <a:cubicBezTo>
                      <a:pt x="1" y="67"/>
                      <a:pt x="135" y="75"/>
                      <a:pt x="378" y="82"/>
                    </a:cubicBezTo>
                    <a:cubicBezTo>
                      <a:pt x="640" y="90"/>
                      <a:pt x="983" y="93"/>
                      <a:pt x="1402" y="101"/>
                    </a:cubicBezTo>
                    <a:cubicBezTo>
                      <a:pt x="2264" y="112"/>
                      <a:pt x="3459" y="119"/>
                      <a:pt x="4778" y="119"/>
                    </a:cubicBezTo>
                    <a:cubicBezTo>
                      <a:pt x="6096" y="119"/>
                      <a:pt x="7291" y="112"/>
                      <a:pt x="8154" y="101"/>
                    </a:cubicBezTo>
                    <a:cubicBezTo>
                      <a:pt x="8569" y="93"/>
                      <a:pt x="8916" y="90"/>
                      <a:pt x="9178" y="82"/>
                    </a:cubicBezTo>
                    <a:cubicBezTo>
                      <a:pt x="9420" y="75"/>
                      <a:pt x="9551" y="67"/>
                      <a:pt x="9551" y="59"/>
                    </a:cubicBezTo>
                    <a:cubicBezTo>
                      <a:pt x="9551" y="52"/>
                      <a:pt x="9420" y="45"/>
                      <a:pt x="9178" y="37"/>
                    </a:cubicBezTo>
                    <a:cubicBezTo>
                      <a:pt x="8916" y="30"/>
                      <a:pt x="8569" y="26"/>
                      <a:pt x="8154" y="18"/>
                    </a:cubicBezTo>
                    <a:cubicBezTo>
                      <a:pt x="7291" y="7"/>
                      <a:pt x="6096" y="0"/>
                      <a:pt x="4778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1" name="Google Shape;2577;p46">
                <a:extLst>
                  <a:ext uri="{FF2B5EF4-FFF2-40B4-BE49-F238E27FC236}">
                    <a16:creationId xmlns:a16="http://schemas.microsoft.com/office/drawing/2014/main" id="{A432CD2D-87DA-F0F9-D326-9A186983A8AC}"/>
                  </a:ext>
                </a:extLst>
              </p:cNvPr>
              <p:cNvSpPr/>
              <p:nvPr/>
            </p:nvSpPr>
            <p:spPr>
              <a:xfrm>
                <a:off x="6127260" y="1409368"/>
                <a:ext cx="225968" cy="3843"/>
              </a:xfrm>
              <a:custGeom>
                <a:avLst/>
                <a:gdLst/>
                <a:ahLst/>
                <a:cxnLst/>
                <a:rect l="l" t="t" r="r" b="b"/>
                <a:pathLst>
                  <a:path w="7056" h="120" extrusionOk="0">
                    <a:moveTo>
                      <a:pt x="3526" y="0"/>
                    </a:moveTo>
                    <a:cubicBezTo>
                      <a:pt x="2551" y="0"/>
                      <a:pt x="1669" y="7"/>
                      <a:pt x="1031" y="18"/>
                    </a:cubicBezTo>
                    <a:cubicBezTo>
                      <a:pt x="732" y="26"/>
                      <a:pt x="478" y="30"/>
                      <a:pt x="276" y="37"/>
                    </a:cubicBezTo>
                    <a:cubicBezTo>
                      <a:pt x="97" y="45"/>
                      <a:pt x="0" y="52"/>
                      <a:pt x="0" y="59"/>
                    </a:cubicBezTo>
                    <a:cubicBezTo>
                      <a:pt x="0" y="67"/>
                      <a:pt x="97" y="75"/>
                      <a:pt x="276" y="82"/>
                    </a:cubicBezTo>
                    <a:cubicBezTo>
                      <a:pt x="478" y="90"/>
                      <a:pt x="732" y="93"/>
                      <a:pt x="1031" y="101"/>
                    </a:cubicBezTo>
                    <a:cubicBezTo>
                      <a:pt x="1669" y="112"/>
                      <a:pt x="2551" y="119"/>
                      <a:pt x="3526" y="119"/>
                    </a:cubicBezTo>
                    <a:cubicBezTo>
                      <a:pt x="4501" y="119"/>
                      <a:pt x="5382" y="112"/>
                      <a:pt x="6021" y="101"/>
                    </a:cubicBezTo>
                    <a:cubicBezTo>
                      <a:pt x="6320" y="93"/>
                      <a:pt x="6574" y="90"/>
                      <a:pt x="6775" y="82"/>
                    </a:cubicBezTo>
                    <a:cubicBezTo>
                      <a:pt x="6954" y="75"/>
                      <a:pt x="7056" y="67"/>
                      <a:pt x="7056" y="59"/>
                    </a:cubicBezTo>
                    <a:cubicBezTo>
                      <a:pt x="7056" y="52"/>
                      <a:pt x="6954" y="45"/>
                      <a:pt x="6775" y="37"/>
                    </a:cubicBezTo>
                    <a:cubicBezTo>
                      <a:pt x="6574" y="30"/>
                      <a:pt x="6320" y="26"/>
                      <a:pt x="6021" y="18"/>
                    </a:cubicBezTo>
                    <a:cubicBezTo>
                      <a:pt x="5382" y="7"/>
                      <a:pt x="4501" y="0"/>
                      <a:pt x="352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2" name="Google Shape;2578;p46">
                <a:extLst>
                  <a:ext uri="{FF2B5EF4-FFF2-40B4-BE49-F238E27FC236}">
                    <a16:creationId xmlns:a16="http://schemas.microsoft.com/office/drawing/2014/main" id="{A20FB08B-C34B-9B53-B2BC-A978061174B0}"/>
                  </a:ext>
                </a:extLst>
              </p:cNvPr>
              <p:cNvSpPr/>
              <p:nvPr/>
            </p:nvSpPr>
            <p:spPr>
              <a:xfrm>
                <a:off x="5844476" y="1572985"/>
                <a:ext cx="305871" cy="3971"/>
              </a:xfrm>
              <a:custGeom>
                <a:avLst/>
                <a:gdLst/>
                <a:ahLst/>
                <a:cxnLst/>
                <a:rect l="l" t="t" r="r" b="b"/>
                <a:pathLst>
                  <a:path w="9551" h="124" extrusionOk="0">
                    <a:moveTo>
                      <a:pt x="4777" y="1"/>
                    </a:moveTo>
                    <a:cubicBezTo>
                      <a:pt x="3459" y="1"/>
                      <a:pt x="2264" y="8"/>
                      <a:pt x="1400" y="19"/>
                    </a:cubicBezTo>
                    <a:cubicBezTo>
                      <a:pt x="983" y="27"/>
                      <a:pt x="638" y="34"/>
                      <a:pt x="378" y="38"/>
                    </a:cubicBezTo>
                    <a:cubicBezTo>
                      <a:pt x="135" y="46"/>
                      <a:pt x="0" y="53"/>
                      <a:pt x="0" y="60"/>
                    </a:cubicBezTo>
                    <a:cubicBezTo>
                      <a:pt x="0" y="72"/>
                      <a:pt x="135" y="79"/>
                      <a:pt x="378" y="86"/>
                    </a:cubicBezTo>
                    <a:cubicBezTo>
                      <a:pt x="638" y="90"/>
                      <a:pt x="983" y="98"/>
                      <a:pt x="1400" y="105"/>
                    </a:cubicBezTo>
                    <a:cubicBezTo>
                      <a:pt x="2264" y="116"/>
                      <a:pt x="3459" y="124"/>
                      <a:pt x="4777" y="124"/>
                    </a:cubicBezTo>
                    <a:cubicBezTo>
                      <a:pt x="6096" y="124"/>
                      <a:pt x="7287" y="116"/>
                      <a:pt x="8154" y="105"/>
                    </a:cubicBezTo>
                    <a:cubicBezTo>
                      <a:pt x="8568" y="98"/>
                      <a:pt x="8912" y="90"/>
                      <a:pt x="9177" y="86"/>
                    </a:cubicBezTo>
                    <a:cubicBezTo>
                      <a:pt x="9416" y="79"/>
                      <a:pt x="9551" y="72"/>
                      <a:pt x="9551" y="60"/>
                    </a:cubicBezTo>
                    <a:cubicBezTo>
                      <a:pt x="9551" y="53"/>
                      <a:pt x="9416" y="46"/>
                      <a:pt x="9177" y="38"/>
                    </a:cubicBezTo>
                    <a:cubicBezTo>
                      <a:pt x="8912" y="34"/>
                      <a:pt x="8568" y="27"/>
                      <a:pt x="8154" y="19"/>
                    </a:cubicBezTo>
                    <a:cubicBezTo>
                      <a:pt x="7287" y="8"/>
                      <a:pt x="6096" y="1"/>
                      <a:pt x="4777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3" name="Google Shape;2579;p46">
                <a:extLst>
                  <a:ext uri="{FF2B5EF4-FFF2-40B4-BE49-F238E27FC236}">
                    <a16:creationId xmlns:a16="http://schemas.microsoft.com/office/drawing/2014/main" id="{2C1B818D-0C2B-A13E-0DB7-DB76A1344C6C}"/>
                  </a:ext>
                </a:extLst>
              </p:cNvPr>
              <p:cNvSpPr/>
              <p:nvPr/>
            </p:nvSpPr>
            <p:spPr>
              <a:xfrm>
                <a:off x="6181672" y="1572985"/>
                <a:ext cx="225840" cy="3971"/>
              </a:xfrm>
              <a:custGeom>
                <a:avLst/>
                <a:gdLst/>
                <a:ahLst/>
                <a:cxnLst/>
                <a:rect l="l" t="t" r="r" b="b"/>
                <a:pathLst>
                  <a:path w="7052" h="124" extrusionOk="0">
                    <a:moveTo>
                      <a:pt x="3526" y="1"/>
                    </a:moveTo>
                    <a:cubicBezTo>
                      <a:pt x="2552" y="1"/>
                      <a:pt x="1670" y="8"/>
                      <a:pt x="1032" y="19"/>
                    </a:cubicBezTo>
                    <a:cubicBezTo>
                      <a:pt x="732" y="27"/>
                      <a:pt x="478" y="34"/>
                      <a:pt x="277" y="38"/>
                    </a:cubicBezTo>
                    <a:cubicBezTo>
                      <a:pt x="97" y="46"/>
                      <a:pt x="1" y="53"/>
                      <a:pt x="1" y="60"/>
                    </a:cubicBezTo>
                    <a:cubicBezTo>
                      <a:pt x="1" y="72"/>
                      <a:pt x="97" y="79"/>
                      <a:pt x="277" y="86"/>
                    </a:cubicBezTo>
                    <a:cubicBezTo>
                      <a:pt x="478" y="90"/>
                      <a:pt x="732" y="98"/>
                      <a:pt x="1032" y="105"/>
                    </a:cubicBezTo>
                    <a:cubicBezTo>
                      <a:pt x="1670" y="116"/>
                      <a:pt x="2552" y="124"/>
                      <a:pt x="3526" y="124"/>
                    </a:cubicBezTo>
                    <a:cubicBezTo>
                      <a:pt x="4502" y="124"/>
                      <a:pt x="5383" y="116"/>
                      <a:pt x="6021" y="105"/>
                    </a:cubicBezTo>
                    <a:cubicBezTo>
                      <a:pt x="6320" y="98"/>
                      <a:pt x="6574" y="90"/>
                      <a:pt x="6776" y="86"/>
                    </a:cubicBezTo>
                    <a:cubicBezTo>
                      <a:pt x="6955" y="79"/>
                      <a:pt x="7052" y="72"/>
                      <a:pt x="7052" y="60"/>
                    </a:cubicBezTo>
                    <a:cubicBezTo>
                      <a:pt x="7052" y="53"/>
                      <a:pt x="6955" y="46"/>
                      <a:pt x="6776" y="38"/>
                    </a:cubicBezTo>
                    <a:cubicBezTo>
                      <a:pt x="6574" y="34"/>
                      <a:pt x="6320" y="27"/>
                      <a:pt x="6021" y="19"/>
                    </a:cubicBezTo>
                    <a:cubicBezTo>
                      <a:pt x="5383" y="8"/>
                      <a:pt x="4502" y="1"/>
                      <a:pt x="3526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4" name="Google Shape;2580;p46">
                <a:extLst>
                  <a:ext uri="{FF2B5EF4-FFF2-40B4-BE49-F238E27FC236}">
                    <a16:creationId xmlns:a16="http://schemas.microsoft.com/office/drawing/2014/main" id="{08CB89DB-4B26-77E7-ED58-1C6E6129D3C6}"/>
                  </a:ext>
                </a:extLst>
              </p:cNvPr>
              <p:cNvSpPr/>
              <p:nvPr/>
            </p:nvSpPr>
            <p:spPr>
              <a:xfrm>
                <a:off x="4937611" y="1651447"/>
                <a:ext cx="1961307" cy="2335381"/>
              </a:xfrm>
              <a:custGeom>
                <a:avLst/>
                <a:gdLst/>
                <a:ahLst/>
                <a:cxnLst/>
                <a:rect l="l" t="t" r="r" b="b"/>
                <a:pathLst>
                  <a:path w="61243" h="72918" extrusionOk="0">
                    <a:moveTo>
                      <a:pt x="19020" y="1"/>
                    </a:moveTo>
                    <a:cubicBezTo>
                      <a:pt x="740" y="1"/>
                      <a:pt x="192" y="14190"/>
                      <a:pt x="192" y="14190"/>
                    </a:cubicBezTo>
                    <a:cubicBezTo>
                      <a:pt x="1" y="27323"/>
                      <a:pt x="11856" y="31629"/>
                      <a:pt x="11856" y="31629"/>
                    </a:cubicBezTo>
                    <a:lnTo>
                      <a:pt x="13780" y="70740"/>
                    </a:lnTo>
                    <a:cubicBezTo>
                      <a:pt x="13840" y="71958"/>
                      <a:pt x="14845" y="72918"/>
                      <a:pt x="16066" y="72918"/>
                    </a:cubicBezTo>
                    <a:lnTo>
                      <a:pt x="57638" y="72918"/>
                    </a:lnTo>
                    <a:cubicBezTo>
                      <a:pt x="59636" y="72918"/>
                      <a:pt x="61242" y="71263"/>
                      <a:pt x="61178" y="69265"/>
                    </a:cubicBezTo>
                    <a:lnTo>
                      <a:pt x="59001" y="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5" name="Google Shape;2581;p46">
                <a:extLst>
                  <a:ext uri="{FF2B5EF4-FFF2-40B4-BE49-F238E27FC236}">
                    <a16:creationId xmlns:a16="http://schemas.microsoft.com/office/drawing/2014/main" id="{3549BFFF-3204-7560-827E-A6CCCB75D1E2}"/>
                  </a:ext>
                </a:extLst>
              </p:cNvPr>
              <p:cNvSpPr/>
              <p:nvPr/>
            </p:nvSpPr>
            <p:spPr>
              <a:xfrm>
                <a:off x="5560026" y="1651447"/>
                <a:ext cx="1338997" cy="2335029"/>
              </a:xfrm>
              <a:custGeom>
                <a:avLst/>
                <a:gdLst/>
                <a:ahLst/>
                <a:cxnLst/>
                <a:rect l="l" t="t" r="r" b="b"/>
                <a:pathLst>
                  <a:path w="41811" h="72907" extrusionOk="0">
                    <a:moveTo>
                      <a:pt x="0" y="1"/>
                    </a:moveTo>
                    <a:lnTo>
                      <a:pt x="1744" y="72810"/>
                    </a:lnTo>
                    <a:lnTo>
                      <a:pt x="38688" y="72906"/>
                    </a:lnTo>
                    <a:cubicBezTo>
                      <a:pt x="38693" y="72906"/>
                      <a:pt x="38697" y="72906"/>
                      <a:pt x="38701" y="72906"/>
                    </a:cubicBezTo>
                    <a:cubicBezTo>
                      <a:pt x="40428" y="72906"/>
                      <a:pt x="41811" y="71475"/>
                      <a:pt x="41759" y="69746"/>
                    </a:cubicBezTo>
                    <a:lnTo>
                      <a:pt x="41016" y="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6" name="Google Shape;2582;p46">
                <a:extLst>
                  <a:ext uri="{FF2B5EF4-FFF2-40B4-BE49-F238E27FC236}">
                    <a16:creationId xmlns:a16="http://schemas.microsoft.com/office/drawing/2014/main" id="{B2EA53D9-23DD-D3B9-C545-DF67B59AD607}"/>
                  </a:ext>
                </a:extLst>
              </p:cNvPr>
              <p:cNvSpPr/>
              <p:nvPr/>
            </p:nvSpPr>
            <p:spPr>
              <a:xfrm>
                <a:off x="5668848" y="1786497"/>
                <a:ext cx="1096088" cy="1085892"/>
              </a:xfrm>
              <a:custGeom>
                <a:avLst/>
                <a:gdLst/>
                <a:ahLst/>
                <a:cxnLst/>
                <a:rect l="l" t="t" r="r" b="b"/>
                <a:pathLst>
                  <a:path w="34226" h="33905" extrusionOk="0">
                    <a:moveTo>
                      <a:pt x="1" y="0"/>
                    </a:moveTo>
                    <a:lnTo>
                      <a:pt x="834" y="33904"/>
                    </a:lnTo>
                    <a:lnTo>
                      <a:pt x="34225" y="33904"/>
                    </a:lnTo>
                    <a:lnTo>
                      <a:pt x="33777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7" name="Google Shape;2583;p46">
                <a:extLst>
                  <a:ext uri="{FF2B5EF4-FFF2-40B4-BE49-F238E27FC236}">
                    <a16:creationId xmlns:a16="http://schemas.microsoft.com/office/drawing/2014/main" id="{B7C44C07-1183-330E-7D92-30939BB95C36}"/>
                  </a:ext>
                </a:extLst>
              </p:cNvPr>
              <p:cNvSpPr/>
              <p:nvPr/>
            </p:nvSpPr>
            <p:spPr>
              <a:xfrm>
                <a:off x="5777959" y="1899130"/>
                <a:ext cx="200380" cy="36992"/>
              </a:xfrm>
              <a:custGeom>
                <a:avLst/>
                <a:gdLst/>
                <a:ahLst/>
                <a:cxnLst/>
                <a:rect l="l" t="t" r="r" b="b"/>
                <a:pathLst>
                  <a:path w="6257" h="1155" extrusionOk="0">
                    <a:moveTo>
                      <a:pt x="2918" y="0"/>
                    </a:moveTo>
                    <a:cubicBezTo>
                      <a:pt x="2003" y="0"/>
                      <a:pt x="1095" y="65"/>
                      <a:pt x="291" y="283"/>
                    </a:cubicBezTo>
                    <a:cubicBezTo>
                      <a:pt x="0" y="361"/>
                      <a:pt x="0" y="794"/>
                      <a:pt x="291" y="872"/>
                    </a:cubicBezTo>
                    <a:cubicBezTo>
                      <a:pt x="1094" y="1090"/>
                      <a:pt x="2002" y="1154"/>
                      <a:pt x="2917" y="1154"/>
                    </a:cubicBezTo>
                    <a:cubicBezTo>
                      <a:pt x="3858" y="1154"/>
                      <a:pt x="4807" y="1086"/>
                      <a:pt x="5656" y="1045"/>
                    </a:cubicBezTo>
                    <a:cubicBezTo>
                      <a:pt x="6256" y="1014"/>
                      <a:pt x="6256" y="140"/>
                      <a:pt x="5656" y="110"/>
                    </a:cubicBezTo>
                    <a:cubicBezTo>
                      <a:pt x="4806" y="69"/>
                      <a:pt x="3858" y="0"/>
                      <a:pt x="291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8" name="Google Shape;2584;p46">
                <a:extLst>
                  <a:ext uri="{FF2B5EF4-FFF2-40B4-BE49-F238E27FC236}">
                    <a16:creationId xmlns:a16="http://schemas.microsoft.com/office/drawing/2014/main" id="{0688F975-6324-0BFF-6F4D-121AF7A4BB1D}"/>
                  </a:ext>
                </a:extLst>
              </p:cNvPr>
              <p:cNvSpPr/>
              <p:nvPr/>
            </p:nvSpPr>
            <p:spPr>
              <a:xfrm>
                <a:off x="6041336" y="1896984"/>
                <a:ext cx="197914" cy="37632"/>
              </a:xfrm>
              <a:custGeom>
                <a:avLst/>
                <a:gdLst/>
                <a:ahLst/>
                <a:cxnLst/>
                <a:rect l="l" t="t" r="r" b="b"/>
                <a:pathLst>
                  <a:path w="6180" h="1175" extrusionOk="0">
                    <a:moveTo>
                      <a:pt x="3181" y="0"/>
                    </a:moveTo>
                    <a:cubicBezTo>
                      <a:pt x="2172" y="0"/>
                      <a:pt x="1156" y="80"/>
                      <a:pt x="281" y="305"/>
                    </a:cubicBezTo>
                    <a:cubicBezTo>
                      <a:pt x="1" y="376"/>
                      <a:pt x="1" y="801"/>
                      <a:pt x="281" y="872"/>
                    </a:cubicBezTo>
                    <a:cubicBezTo>
                      <a:pt x="1159" y="1095"/>
                      <a:pt x="2177" y="1175"/>
                      <a:pt x="3186" y="1175"/>
                    </a:cubicBezTo>
                    <a:cubicBezTo>
                      <a:pt x="4019" y="1175"/>
                      <a:pt x="4847" y="1120"/>
                      <a:pt x="5585" y="1048"/>
                    </a:cubicBezTo>
                    <a:cubicBezTo>
                      <a:pt x="6179" y="991"/>
                      <a:pt x="6179" y="181"/>
                      <a:pt x="5585" y="125"/>
                    </a:cubicBezTo>
                    <a:cubicBezTo>
                      <a:pt x="4844" y="54"/>
                      <a:pt x="4015" y="0"/>
                      <a:pt x="3181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9" name="Google Shape;2585;p46">
                <a:extLst>
                  <a:ext uri="{FF2B5EF4-FFF2-40B4-BE49-F238E27FC236}">
                    <a16:creationId xmlns:a16="http://schemas.microsoft.com/office/drawing/2014/main" id="{E5378C76-0348-95E0-C155-96BDFF12CDED}"/>
                  </a:ext>
                </a:extLst>
              </p:cNvPr>
              <p:cNvSpPr/>
              <p:nvPr/>
            </p:nvSpPr>
            <p:spPr>
              <a:xfrm>
                <a:off x="6301767" y="1896088"/>
                <a:ext cx="183888" cy="32060"/>
              </a:xfrm>
              <a:custGeom>
                <a:avLst/>
                <a:gdLst/>
                <a:ahLst/>
                <a:cxnLst/>
                <a:rect l="l" t="t" r="r" b="b"/>
                <a:pathLst>
                  <a:path w="5742" h="1001" extrusionOk="0">
                    <a:moveTo>
                      <a:pt x="4094" y="2"/>
                    </a:moveTo>
                    <a:cubicBezTo>
                      <a:pt x="3650" y="2"/>
                      <a:pt x="3206" y="22"/>
                      <a:pt x="2764" y="30"/>
                    </a:cubicBezTo>
                    <a:cubicBezTo>
                      <a:pt x="1928" y="41"/>
                      <a:pt x="1061" y="0"/>
                      <a:pt x="254" y="243"/>
                    </a:cubicBezTo>
                    <a:cubicBezTo>
                      <a:pt x="0" y="321"/>
                      <a:pt x="0" y="680"/>
                      <a:pt x="254" y="754"/>
                    </a:cubicBezTo>
                    <a:cubicBezTo>
                      <a:pt x="1061" y="1001"/>
                      <a:pt x="1928" y="956"/>
                      <a:pt x="2764" y="971"/>
                    </a:cubicBezTo>
                    <a:cubicBezTo>
                      <a:pt x="3201" y="979"/>
                      <a:pt x="3640" y="997"/>
                      <a:pt x="4079" y="997"/>
                    </a:cubicBezTo>
                    <a:cubicBezTo>
                      <a:pt x="4495" y="997"/>
                      <a:pt x="4910" y="981"/>
                      <a:pt x="5323" y="923"/>
                    </a:cubicBezTo>
                    <a:cubicBezTo>
                      <a:pt x="5741" y="863"/>
                      <a:pt x="5741" y="138"/>
                      <a:pt x="5323" y="78"/>
                    </a:cubicBezTo>
                    <a:cubicBezTo>
                      <a:pt x="4915" y="19"/>
                      <a:pt x="4505" y="2"/>
                      <a:pt x="4094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0" name="Google Shape;2586;p46">
                <a:extLst>
                  <a:ext uri="{FF2B5EF4-FFF2-40B4-BE49-F238E27FC236}">
                    <a16:creationId xmlns:a16="http://schemas.microsoft.com/office/drawing/2014/main" id="{44F2E7E1-2F82-23FB-B6CD-A32043562363}"/>
                  </a:ext>
                </a:extLst>
              </p:cNvPr>
              <p:cNvSpPr/>
              <p:nvPr/>
            </p:nvSpPr>
            <p:spPr>
              <a:xfrm>
                <a:off x="6540869" y="1896600"/>
                <a:ext cx="139981" cy="31035"/>
              </a:xfrm>
              <a:custGeom>
                <a:avLst/>
                <a:gdLst/>
                <a:ahLst/>
                <a:cxnLst/>
                <a:rect l="l" t="t" r="r" b="b"/>
                <a:pathLst>
                  <a:path w="4371" h="969" extrusionOk="0">
                    <a:moveTo>
                      <a:pt x="3171" y="1"/>
                    </a:moveTo>
                    <a:cubicBezTo>
                      <a:pt x="2824" y="1"/>
                      <a:pt x="2471" y="35"/>
                      <a:pt x="2133" y="43"/>
                    </a:cubicBezTo>
                    <a:cubicBezTo>
                      <a:pt x="1514" y="55"/>
                      <a:pt x="909" y="85"/>
                      <a:pt x="300" y="186"/>
                    </a:cubicBezTo>
                    <a:cubicBezTo>
                      <a:pt x="1" y="231"/>
                      <a:pt x="1" y="734"/>
                      <a:pt x="300" y="783"/>
                    </a:cubicBezTo>
                    <a:cubicBezTo>
                      <a:pt x="909" y="884"/>
                      <a:pt x="1514" y="910"/>
                      <a:pt x="2133" y="925"/>
                    </a:cubicBezTo>
                    <a:cubicBezTo>
                      <a:pt x="2471" y="933"/>
                      <a:pt x="2824" y="968"/>
                      <a:pt x="3171" y="968"/>
                    </a:cubicBezTo>
                    <a:cubicBezTo>
                      <a:pt x="3451" y="968"/>
                      <a:pt x="3727" y="946"/>
                      <a:pt x="3990" y="869"/>
                    </a:cubicBezTo>
                    <a:cubicBezTo>
                      <a:pt x="4371" y="760"/>
                      <a:pt x="4371" y="208"/>
                      <a:pt x="3990" y="100"/>
                    </a:cubicBezTo>
                    <a:cubicBezTo>
                      <a:pt x="3727" y="23"/>
                      <a:pt x="3451" y="1"/>
                      <a:pt x="3171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1" name="Google Shape;2587;p46">
                <a:extLst>
                  <a:ext uri="{FF2B5EF4-FFF2-40B4-BE49-F238E27FC236}">
                    <a16:creationId xmlns:a16="http://schemas.microsoft.com/office/drawing/2014/main" id="{5DCA196C-1284-4B94-330D-F42E5EE92F6C}"/>
                  </a:ext>
                </a:extLst>
              </p:cNvPr>
              <p:cNvSpPr/>
              <p:nvPr/>
            </p:nvSpPr>
            <p:spPr>
              <a:xfrm>
                <a:off x="5695782" y="3001343"/>
                <a:ext cx="310066" cy="221566"/>
              </a:xfrm>
              <a:custGeom>
                <a:avLst/>
                <a:gdLst/>
                <a:ahLst/>
                <a:cxnLst/>
                <a:rect l="l" t="t" r="r" b="b"/>
                <a:pathLst>
                  <a:path w="9682" h="6918" extrusionOk="0">
                    <a:moveTo>
                      <a:pt x="1" y="1"/>
                    </a:moveTo>
                    <a:lnTo>
                      <a:pt x="1" y="6918"/>
                    </a:lnTo>
                    <a:lnTo>
                      <a:pt x="9682" y="6918"/>
                    </a:lnTo>
                    <a:lnTo>
                      <a:pt x="9682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2" name="Google Shape;2588;p46">
                <a:extLst>
                  <a:ext uri="{FF2B5EF4-FFF2-40B4-BE49-F238E27FC236}">
                    <a16:creationId xmlns:a16="http://schemas.microsoft.com/office/drawing/2014/main" id="{B8D19A8F-E6B0-8BC9-3149-FC4AE3B52F61}"/>
                  </a:ext>
                </a:extLst>
              </p:cNvPr>
              <p:cNvSpPr/>
              <p:nvPr/>
            </p:nvSpPr>
            <p:spPr>
              <a:xfrm>
                <a:off x="5695782" y="3001343"/>
                <a:ext cx="56140" cy="221566"/>
              </a:xfrm>
              <a:custGeom>
                <a:avLst/>
                <a:gdLst/>
                <a:ahLst/>
                <a:cxnLst/>
                <a:rect l="l" t="t" r="r" b="b"/>
                <a:pathLst>
                  <a:path w="1753" h="6918" extrusionOk="0">
                    <a:moveTo>
                      <a:pt x="1" y="1"/>
                    </a:moveTo>
                    <a:lnTo>
                      <a:pt x="1" y="6918"/>
                    </a:lnTo>
                    <a:lnTo>
                      <a:pt x="1752" y="6918"/>
                    </a:lnTo>
                    <a:lnTo>
                      <a:pt x="1752" y="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3" name="Google Shape;2589;p46">
                <a:extLst>
                  <a:ext uri="{FF2B5EF4-FFF2-40B4-BE49-F238E27FC236}">
                    <a16:creationId xmlns:a16="http://schemas.microsoft.com/office/drawing/2014/main" id="{1454A415-5D3B-A4BE-34A8-93342FBCD641}"/>
                  </a:ext>
                </a:extLst>
              </p:cNvPr>
              <p:cNvSpPr/>
              <p:nvPr/>
            </p:nvSpPr>
            <p:spPr>
              <a:xfrm>
                <a:off x="6075443" y="3001343"/>
                <a:ext cx="309970" cy="221566"/>
              </a:xfrm>
              <a:custGeom>
                <a:avLst/>
                <a:gdLst/>
                <a:ahLst/>
                <a:cxnLst/>
                <a:rect l="l" t="t" r="r" b="b"/>
                <a:pathLst>
                  <a:path w="9679" h="6918" extrusionOk="0">
                    <a:moveTo>
                      <a:pt x="1" y="1"/>
                    </a:moveTo>
                    <a:lnTo>
                      <a:pt x="1" y="6918"/>
                    </a:lnTo>
                    <a:lnTo>
                      <a:pt x="9679" y="6918"/>
                    </a:lnTo>
                    <a:lnTo>
                      <a:pt x="9679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4" name="Google Shape;2590;p46">
                <a:extLst>
                  <a:ext uri="{FF2B5EF4-FFF2-40B4-BE49-F238E27FC236}">
                    <a16:creationId xmlns:a16="http://schemas.microsoft.com/office/drawing/2014/main" id="{0162DDFC-15DF-8EC1-22E6-DAA1CE237178}"/>
                  </a:ext>
                </a:extLst>
              </p:cNvPr>
              <p:cNvSpPr/>
              <p:nvPr/>
            </p:nvSpPr>
            <p:spPr>
              <a:xfrm>
                <a:off x="6072209" y="3001343"/>
                <a:ext cx="56012" cy="221566"/>
              </a:xfrm>
              <a:custGeom>
                <a:avLst/>
                <a:gdLst/>
                <a:ahLst/>
                <a:cxnLst/>
                <a:rect l="l" t="t" r="r" b="b"/>
                <a:pathLst>
                  <a:path w="1749" h="6918" extrusionOk="0">
                    <a:moveTo>
                      <a:pt x="1" y="1"/>
                    </a:moveTo>
                    <a:lnTo>
                      <a:pt x="1" y="6918"/>
                    </a:lnTo>
                    <a:lnTo>
                      <a:pt x="1749" y="6918"/>
                    </a:lnTo>
                    <a:lnTo>
                      <a:pt x="1749" y="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5" name="Google Shape;2591;p46">
                <a:extLst>
                  <a:ext uri="{FF2B5EF4-FFF2-40B4-BE49-F238E27FC236}">
                    <a16:creationId xmlns:a16="http://schemas.microsoft.com/office/drawing/2014/main" id="{8F489C24-48A5-A39C-D78F-E755C26A7642}"/>
                  </a:ext>
                </a:extLst>
              </p:cNvPr>
              <p:cNvSpPr/>
              <p:nvPr/>
            </p:nvSpPr>
            <p:spPr>
              <a:xfrm>
                <a:off x="6455009" y="3001343"/>
                <a:ext cx="309938" cy="221566"/>
              </a:xfrm>
              <a:custGeom>
                <a:avLst/>
                <a:gdLst/>
                <a:ahLst/>
                <a:cxnLst/>
                <a:rect l="l" t="t" r="r" b="b"/>
                <a:pathLst>
                  <a:path w="9678" h="6918" extrusionOk="0">
                    <a:moveTo>
                      <a:pt x="1" y="1"/>
                    </a:moveTo>
                    <a:lnTo>
                      <a:pt x="1" y="6918"/>
                    </a:lnTo>
                    <a:lnTo>
                      <a:pt x="9677" y="6918"/>
                    </a:lnTo>
                    <a:lnTo>
                      <a:pt x="9677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6" name="Google Shape;2592;p46">
                <a:extLst>
                  <a:ext uri="{FF2B5EF4-FFF2-40B4-BE49-F238E27FC236}">
                    <a16:creationId xmlns:a16="http://schemas.microsoft.com/office/drawing/2014/main" id="{86FDEE4F-0C8B-79CA-AA42-02E4334AE097}"/>
                  </a:ext>
                </a:extLst>
              </p:cNvPr>
              <p:cNvSpPr/>
              <p:nvPr/>
            </p:nvSpPr>
            <p:spPr>
              <a:xfrm>
                <a:off x="6446138" y="3001343"/>
                <a:ext cx="56140" cy="221566"/>
              </a:xfrm>
              <a:custGeom>
                <a:avLst/>
                <a:gdLst/>
                <a:ahLst/>
                <a:cxnLst/>
                <a:rect l="l" t="t" r="r" b="b"/>
                <a:pathLst>
                  <a:path w="1753" h="6918" extrusionOk="0">
                    <a:moveTo>
                      <a:pt x="1" y="1"/>
                    </a:moveTo>
                    <a:lnTo>
                      <a:pt x="1" y="6918"/>
                    </a:lnTo>
                    <a:lnTo>
                      <a:pt x="1752" y="6918"/>
                    </a:lnTo>
                    <a:lnTo>
                      <a:pt x="1752" y="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7" name="Google Shape;2593;p46">
                <a:extLst>
                  <a:ext uri="{FF2B5EF4-FFF2-40B4-BE49-F238E27FC236}">
                    <a16:creationId xmlns:a16="http://schemas.microsoft.com/office/drawing/2014/main" id="{803FCD12-E11D-2FF0-C316-80D70F689619}"/>
                  </a:ext>
                </a:extLst>
              </p:cNvPr>
              <p:cNvSpPr/>
              <p:nvPr/>
            </p:nvSpPr>
            <p:spPr>
              <a:xfrm>
                <a:off x="6455009" y="3296071"/>
                <a:ext cx="309938" cy="221598"/>
              </a:xfrm>
              <a:custGeom>
                <a:avLst/>
                <a:gdLst/>
                <a:ahLst/>
                <a:cxnLst/>
                <a:rect l="l" t="t" r="r" b="b"/>
                <a:pathLst>
                  <a:path w="9678" h="6919" extrusionOk="0">
                    <a:moveTo>
                      <a:pt x="1" y="0"/>
                    </a:moveTo>
                    <a:lnTo>
                      <a:pt x="1" y="6918"/>
                    </a:lnTo>
                    <a:lnTo>
                      <a:pt x="9677" y="6918"/>
                    </a:lnTo>
                    <a:lnTo>
                      <a:pt x="9677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8" name="Google Shape;2594;p46">
                <a:extLst>
                  <a:ext uri="{FF2B5EF4-FFF2-40B4-BE49-F238E27FC236}">
                    <a16:creationId xmlns:a16="http://schemas.microsoft.com/office/drawing/2014/main" id="{AAC8211E-0A39-3686-85F7-895D4B7B673E}"/>
                  </a:ext>
                </a:extLst>
              </p:cNvPr>
              <p:cNvSpPr/>
              <p:nvPr/>
            </p:nvSpPr>
            <p:spPr>
              <a:xfrm>
                <a:off x="6455009" y="3296071"/>
                <a:ext cx="57805" cy="221598"/>
              </a:xfrm>
              <a:custGeom>
                <a:avLst/>
                <a:gdLst/>
                <a:ahLst/>
                <a:cxnLst/>
                <a:rect l="l" t="t" r="r" b="b"/>
                <a:pathLst>
                  <a:path w="1805" h="6919" extrusionOk="0">
                    <a:moveTo>
                      <a:pt x="1" y="0"/>
                    </a:moveTo>
                    <a:lnTo>
                      <a:pt x="1" y="6918"/>
                    </a:lnTo>
                    <a:lnTo>
                      <a:pt x="1804" y="6918"/>
                    </a:lnTo>
                    <a:lnTo>
                      <a:pt x="1804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9" name="Google Shape;2595;p46">
                <a:extLst>
                  <a:ext uri="{FF2B5EF4-FFF2-40B4-BE49-F238E27FC236}">
                    <a16:creationId xmlns:a16="http://schemas.microsoft.com/office/drawing/2014/main" id="{D1BC4D96-1CBD-BBF5-4558-355A08139D79}"/>
                  </a:ext>
                </a:extLst>
              </p:cNvPr>
              <p:cNvSpPr/>
              <p:nvPr/>
            </p:nvSpPr>
            <p:spPr>
              <a:xfrm>
                <a:off x="5695782" y="3296071"/>
                <a:ext cx="310066" cy="221598"/>
              </a:xfrm>
              <a:custGeom>
                <a:avLst/>
                <a:gdLst/>
                <a:ahLst/>
                <a:cxnLst/>
                <a:rect l="l" t="t" r="r" b="b"/>
                <a:pathLst>
                  <a:path w="9682" h="6919" extrusionOk="0">
                    <a:moveTo>
                      <a:pt x="1" y="0"/>
                    </a:moveTo>
                    <a:lnTo>
                      <a:pt x="1" y="6918"/>
                    </a:lnTo>
                    <a:lnTo>
                      <a:pt x="9682" y="6918"/>
                    </a:lnTo>
                    <a:lnTo>
                      <a:pt x="9682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0" name="Google Shape;2596;p46">
                <a:extLst>
                  <a:ext uri="{FF2B5EF4-FFF2-40B4-BE49-F238E27FC236}">
                    <a16:creationId xmlns:a16="http://schemas.microsoft.com/office/drawing/2014/main" id="{F0E010CD-9380-C9B1-EF1D-C80FAEBA3CAE}"/>
                  </a:ext>
                </a:extLst>
              </p:cNvPr>
              <p:cNvSpPr/>
              <p:nvPr/>
            </p:nvSpPr>
            <p:spPr>
              <a:xfrm>
                <a:off x="5695782" y="3295719"/>
                <a:ext cx="56140" cy="221598"/>
              </a:xfrm>
              <a:custGeom>
                <a:avLst/>
                <a:gdLst/>
                <a:ahLst/>
                <a:cxnLst/>
                <a:rect l="l" t="t" r="r" b="b"/>
                <a:pathLst>
                  <a:path w="1753" h="6919" extrusionOk="0">
                    <a:moveTo>
                      <a:pt x="1" y="1"/>
                    </a:moveTo>
                    <a:lnTo>
                      <a:pt x="1" y="6918"/>
                    </a:lnTo>
                    <a:lnTo>
                      <a:pt x="1752" y="6918"/>
                    </a:lnTo>
                    <a:lnTo>
                      <a:pt x="1752" y="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1" name="Google Shape;2597;p46">
                <a:extLst>
                  <a:ext uri="{FF2B5EF4-FFF2-40B4-BE49-F238E27FC236}">
                    <a16:creationId xmlns:a16="http://schemas.microsoft.com/office/drawing/2014/main" id="{90A84FDF-3D12-15F1-531D-6D9186A466C8}"/>
                  </a:ext>
                </a:extLst>
              </p:cNvPr>
              <p:cNvSpPr/>
              <p:nvPr/>
            </p:nvSpPr>
            <p:spPr>
              <a:xfrm>
                <a:off x="5695782" y="3587821"/>
                <a:ext cx="310066" cy="221598"/>
              </a:xfrm>
              <a:custGeom>
                <a:avLst/>
                <a:gdLst/>
                <a:ahLst/>
                <a:cxnLst/>
                <a:rect l="l" t="t" r="r" b="b"/>
                <a:pathLst>
                  <a:path w="9682" h="6919" extrusionOk="0">
                    <a:moveTo>
                      <a:pt x="1" y="1"/>
                    </a:moveTo>
                    <a:lnTo>
                      <a:pt x="1" y="6919"/>
                    </a:lnTo>
                    <a:lnTo>
                      <a:pt x="9682" y="6919"/>
                    </a:lnTo>
                    <a:lnTo>
                      <a:pt x="9682" y="1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2" name="Google Shape;2598;p46">
                <a:extLst>
                  <a:ext uri="{FF2B5EF4-FFF2-40B4-BE49-F238E27FC236}">
                    <a16:creationId xmlns:a16="http://schemas.microsoft.com/office/drawing/2014/main" id="{868A2F1D-78EE-A75D-9477-D4AF7CF62320}"/>
                  </a:ext>
                </a:extLst>
              </p:cNvPr>
              <p:cNvSpPr/>
              <p:nvPr/>
            </p:nvSpPr>
            <p:spPr>
              <a:xfrm>
                <a:off x="5695782" y="3587821"/>
                <a:ext cx="310066" cy="221598"/>
              </a:xfrm>
              <a:custGeom>
                <a:avLst/>
                <a:gdLst/>
                <a:ahLst/>
                <a:cxnLst/>
                <a:rect l="l" t="t" r="r" b="b"/>
                <a:pathLst>
                  <a:path w="9682" h="6919" extrusionOk="0">
                    <a:moveTo>
                      <a:pt x="1" y="1"/>
                    </a:moveTo>
                    <a:lnTo>
                      <a:pt x="1" y="6919"/>
                    </a:lnTo>
                    <a:lnTo>
                      <a:pt x="9682" y="6919"/>
                    </a:lnTo>
                    <a:lnTo>
                      <a:pt x="9682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3" name="Google Shape;2599;p46">
                <a:extLst>
                  <a:ext uri="{FF2B5EF4-FFF2-40B4-BE49-F238E27FC236}">
                    <a16:creationId xmlns:a16="http://schemas.microsoft.com/office/drawing/2014/main" id="{80A68A3C-4669-4AFF-05BB-15CA30A70AA8}"/>
                  </a:ext>
                </a:extLst>
              </p:cNvPr>
              <p:cNvSpPr/>
              <p:nvPr/>
            </p:nvSpPr>
            <p:spPr>
              <a:xfrm>
                <a:off x="5695782" y="3587821"/>
                <a:ext cx="56140" cy="221598"/>
              </a:xfrm>
              <a:custGeom>
                <a:avLst/>
                <a:gdLst/>
                <a:ahLst/>
                <a:cxnLst/>
                <a:rect l="l" t="t" r="r" b="b"/>
                <a:pathLst>
                  <a:path w="1753" h="6919" extrusionOk="0">
                    <a:moveTo>
                      <a:pt x="1" y="1"/>
                    </a:moveTo>
                    <a:lnTo>
                      <a:pt x="1" y="6919"/>
                    </a:lnTo>
                    <a:lnTo>
                      <a:pt x="1752" y="6919"/>
                    </a:lnTo>
                    <a:lnTo>
                      <a:pt x="1752" y="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4" name="Google Shape;2600;p46">
                <a:extLst>
                  <a:ext uri="{FF2B5EF4-FFF2-40B4-BE49-F238E27FC236}">
                    <a16:creationId xmlns:a16="http://schemas.microsoft.com/office/drawing/2014/main" id="{629F82C4-E829-2BD9-4455-43E296F6C82A}"/>
                  </a:ext>
                </a:extLst>
              </p:cNvPr>
              <p:cNvSpPr/>
              <p:nvPr/>
            </p:nvSpPr>
            <p:spPr>
              <a:xfrm>
                <a:off x="6073650" y="3296071"/>
                <a:ext cx="310066" cy="221598"/>
              </a:xfrm>
              <a:custGeom>
                <a:avLst/>
                <a:gdLst/>
                <a:ahLst/>
                <a:cxnLst/>
                <a:rect l="l" t="t" r="r" b="b"/>
                <a:pathLst>
                  <a:path w="9682" h="6919" extrusionOk="0">
                    <a:moveTo>
                      <a:pt x="0" y="0"/>
                    </a:moveTo>
                    <a:lnTo>
                      <a:pt x="0" y="6918"/>
                    </a:lnTo>
                    <a:lnTo>
                      <a:pt x="9682" y="6918"/>
                    </a:lnTo>
                    <a:lnTo>
                      <a:pt x="9682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5" name="Google Shape;2601;p46">
                <a:extLst>
                  <a:ext uri="{FF2B5EF4-FFF2-40B4-BE49-F238E27FC236}">
                    <a16:creationId xmlns:a16="http://schemas.microsoft.com/office/drawing/2014/main" id="{2656D001-DEA1-20D8-024F-04290C6C6DFE}"/>
                  </a:ext>
                </a:extLst>
              </p:cNvPr>
              <p:cNvSpPr/>
              <p:nvPr/>
            </p:nvSpPr>
            <p:spPr>
              <a:xfrm>
                <a:off x="6073650" y="3295719"/>
                <a:ext cx="56108" cy="221598"/>
              </a:xfrm>
              <a:custGeom>
                <a:avLst/>
                <a:gdLst/>
                <a:ahLst/>
                <a:cxnLst/>
                <a:rect l="l" t="t" r="r" b="b"/>
                <a:pathLst>
                  <a:path w="1752" h="6919" extrusionOk="0">
                    <a:moveTo>
                      <a:pt x="0" y="1"/>
                    </a:moveTo>
                    <a:lnTo>
                      <a:pt x="0" y="6918"/>
                    </a:lnTo>
                    <a:lnTo>
                      <a:pt x="1752" y="6918"/>
                    </a:lnTo>
                    <a:lnTo>
                      <a:pt x="1752" y="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6" name="Google Shape;2602;p46">
                <a:extLst>
                  <a:ext uri="{FF2B5EF4-FFF2-40B4-BE49-F238E27FC236}">
                    <a16:creationId xmlns:a16="http://schemas.microsoft.com/office/drawing/2014/main" id="{B364EB1F-1537-2FFA-F145-54C90CDDF11A}"/>
                  </a:ext>
                </a:extLst>
              </p:cNvPr>
              <p:cNvSpPr/>
              <p:nvPr/>
            </p:nvSpPr>
            <p:spPr>
              <a:xfrm>
                <a:off x="6075443" y="3587821"/>
                <a:ext cx="309970" cy="221598"/>
              </a:xfrm>
              <a:custGeom>
                <a:avLst/>
                <a:gdLst/>
                <a:ahLst/>
                <a:cxnLst/>
                <a:rect l="l" t="t" r="r" b="b"/>
                <a:pathLst>
                  <a:path w="9679" h="6919" extrusionOk="0">
                    <a:moveTo>
                      <a:pt x="1" y="1"/>
                    </a:moveTo>
                    <a:lnTo>
                      <a:pt x="1" y="6919"/>
                    </a:lnTo>
                    <a:lnTo>
                      <a:pt x="9679" y="6919"/>
                    </a:lnTo>
                    <a:lnTo>
                      <a:pt x="9679" y="1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7" name="Google Shape;2603;p46">
                <a:extLst>
                  <a:ext uri="{FF2B5EF4-FFF2-40B4-BE49-F238E27FC236}">
                    <a16:creationId xmlns:a16="http://schemas.microsoft.com/office/drawing/2014/main" id="{102DB18B-D2E5-CF31-00FA-6917B6CC7F02}"/>
                  </a:ext>
                </a:extLst>
              </p:cNvPr>
              <p:cNvSpPr/>
              <p:nvPr/>
            </p:nvSpPr>
            <p:spPr>
              <a:xfrm>
                <a:off x="6075443" y="3587821"/>
                <a:ext cx="309970" cy="221598"/>
              </a:xfrm>
              <a:custGeom>
                <a:avLst/>
                <a:gdLst/>
                <a:ahLst/>
                <a:cxnLst/>
                <a:rect l="l" t="t" r="r" b="b"/>
                <a:pathLst>
                  <a:path w="9679" h="6919" extrusionOk="0">
                    <a:moveTo>
                      <a:pt x="1" y="1"/>
                    </a:moveTo>
                    <a:lnTo>
                      <a:pt x="1" y="6919"/>
                    </a:lnTo>
                    <a:lnTo>
                      <a:pt x="9679" y="6919"/>
                    </a:lnTo>
                    <a:lnTo>
                      <a:pt x="9679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8" name="Google Shape;2604;p46">
                <a:extLst>
                  <a:ext uri="{FF2B5EF4-FFF2-40B4-BE49-F238E27FC236}">
                    <a16:creationId xmlns:a16="http://schemas.microsoft.com/office/drawing/2014/main" id="{185CAFA5-DE93-35E2-B597-E09B73CBDFAB}"/>
                  </a:ext>
                </a:extLst>
              </p:cNvPr>
              <p:cNvSpPr/>
              <p:nvPr/>
            </p:nvSpPr>
            <p:spPr>
              <a:xfrm>
                <a:off x="6075443" y="3587821"/>
                <a:ext cx="56140" cy="221598"/>
              </a:xfrm>
              <a:custGeom>
                <a:avLst/>
                <a:gdLst/>
                <a:ahLst/>
                <a:cxnLst/>
                <a:rect l="l" t="t" r="r" b="b"/>
                <a:pathLst>
                  <a:path w="1753" h="6919" extrusionOk="0">
                    <a:moveTo>
                      <a:pt x="1" y="1"/>
                    </a:moveTo>
                    <a:lnTo>
                      <a:pt x="1" y="6919"/>
                    </a:lnTo>
                    <a:lnTo>
                      <a:pt x="1752" y="6919"/>
                    </a:lnTo>
                    <a:lnTo>
                      <a:pt x="1752" y="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9" name="Google Shape;2605;p46">
                <a:extLst>
                  <a:ext uri="{FF2B5EF4-FFF2-40B4-BE49-F238E27FC236}">
                    <a16:creationId xmlns:a16="http://schemas.microsoft.com/office/drawing/2014/main" id="{95900040-0944-A2E1-DB4A-264C9D907BDC}"/>
                  </a:ext>
                </a:extLst>
              </p:cNvPr>
              <p:cNvSpPr/>
              <p:nvPr/>
            </p:nvSpPr>
            <p:spPr>
              <a:xfrm>
                <a:off x="6455009" y="3587821"/>
                <a:ext cx="309938" cy="221598"/>
              </a:xfrm>
              <a:custGeom>
                <a:avLst/>
                <a:gdLst/>
                <a:ahLst/>
                <a:cxnLst/>
                <a:rect l="l" t="t" r="r" b="b"/>
                <a:pathLst>
                  <a:path w="9678" h="6919" extrusionOk="0">
                    <a:moveTo>
                      <a:pt x="1" y="1"/>
                    </a:moveTo>
                    <a:lnTo>
                      <a:pt x="1" y="6919"/>
                    </a:lnTo>
                    <a:lnTo>
                      <a:pt x="9677" y="6919"/>
                    </a:lnTo>
                    <a:lnTo>
                      <a:pt x="967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0" name="Google Shape;2606;p46">
                <a:extLst>
                  <a:ext uri="{FF2B5EF4-FFF2-40B4-BE49-F238E27FC236}">
                    <a16:creationId xmlns:a16="http://schemas.microsoft.com/office/drawing/2014/main" id="{3BD53BEA-32B8-9161-A35C-4F33DED157A7}"/>
                  </a:ext>
                </a:extLst>
              </p:cNvPr>
              <p:cNvSpPr/>
              <p:nvPr/>
            </p:nvSpPr>
            <p:spPr>
              <a:xfrm>
                <a:off x="6455009" y="3587821"/>
                <a:ext cx="56140" cy="221598"/>
              </a:xfrm>
              <a:custGeom>
                <a:avLst/>
                <a:gdLst/>
                <a:ahLst/>
                <a:cxnLst/>
                <a:rect l="l" t="t" r="r" b="b"/>
                <a:pathLst>
                  <a:path w="1753" h="6919" extrusionOk="0">
                    <a:moveTo>
                      <a:pt x="1" y="1"/>
                    </a:moveTo>
                    <a:lnTo>
                      <a:pt x="1" y="6919"/>
                    </a:lnTo>
                    <a:lnTo>
                      <a:pt x="1752" y="6919"/>
                    </a:lnTo>
                    <a:lnTo>
                      <a:pt x="1752" y="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1" name="Google Shape;2607;p46">
                <a:extLst>
                  <a:ext uri="{FF2B5EF4-FFF2-40B4-BE49-F238E27FC236}">
                    <a16:creationId xmlns:a16="http://schemas.microsoft.com/office/drawing/2014/main" id="{A000138F-2A15-ABBC-B81E-F17A9443346C}"/>
                  </a:ext>
                </a:extLst>
              </p:cNvPr>
              <p:cNvSpPr/>
              <p:nvPr/>
            </p:nvSpPr>
            <p:spPr>
              <a:xfrm>
                <a:off x="5440987" y="1651447"/>
                <a:ext cx="78269" cy="2335381"/>
              </a:xfrm>
              <a:custGeom>
                <a:avLst/>
                <a:gdLst/>
                <a:ahLst/>
                <a:cxnLst/>
                <a:rect l="l" t="t" r="r" b="b"/>
                <a:pathLst>
                  <a:path w="2444" h="72918" extrusionOk="0">
                    <a:moveTo>
                      <a:pt x="165" y="1"/>
                    </a:moveTo>
                    <a:cubicBezTo>
                      <a:pt x="165" y="1"/>
                      <a:pt x="165" y="1"/>
                      <a:pt x="165" y="1"/>
                    </a:cubicBezTo>
                    <a:cubicBezTo>
                      <a:pt x="1" y="4"/>
                      <a:pt x="337" y="16331"/>
                      <a:pt x="923" y="36470"/>
                    </a:cubicBezTo>
                    <a:cubicBezTo>
                      <a:pt x="1506" y="56601"/>
                      <a:pt x="2111" y="72918"/>
                      <a:pt x="2279" y="72918"/>
                    </a:cubicBezTo>
                    <a:cubicBezTo>
                      <a:pt x="2279" y="72918"/>
                      <a:pt x="2279" y="72918"/>
                      <a:pt x="2279" y="72918"/>
                    </a:cubicBezTo>
                    <a:cubicBezTo>
                      <a:pt x="2444" y="72910"/>
                      <a:pt x="2107" y="56584"/>
                      <a:pt x="1521" y="36451"/>
                    </a:cubicBezTo>
                    <a:cubicBezTo>
                      <a:pt x="939" y="16314"/>
                      <a:pt x="329" y="1"/>
                      <a:pt x="165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2" name="Google Shape;2608;p46">
                <a:extLst>
                  <a:ext uri="{FF2B5EF4-FFF2-40B4-BE49-F238E27FC236}">
                    <a16:creationId xmlns:a16="http://schemas.microsoft.com/office/drawing/2014/main" id="{F0F5BFAE-9F6D-9933-69E4-87F808382E66}"/>
                  </a:ext>
                </a:extLst>
              </p:cNvPr>
              <p:cNvSpPr/>
              <p:nvPr/>
            </p:nvSpPr>
            <p:spPr>
              <a:xfrm>
                <a:off x="5374246" y="3717620"/>
                <a:ext cx="133640" cy="105659"/>
              </a:xfrm>
              <a:custGeom>
                <a:avLst/>
                <a:gdLst/>
                <a:ahLst/>
                <a:cxnLst/>
                <a:rect l="l" t="t" r="r" b="b"/>
                <a:pathLst>
                  <a:path w="4173" h="3299" extrusionOk="0">
                    <a:moveTo>
                      <a:pt x="4083" y="1"/>
                    </a:moveTo>
                    <a:lnTo>
                      <a:pt x="60" y="1378"/>
                    </a:lnTo>
                    <a:lnTo>
                      <a:pt x="1" y="3299"/>
                    </a:lnTo>
                    <a:lnTo>
                      <a:pt x="4173" y="1830"/>
                    </a:lnTo>
                    <a:lnTo>
                      <a:pt x="4083" y="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47" name="Google Shape;2609;p46">
              <a:extLst>
                <a:ext uri="{FF2B5EF4-FFF2-40B4-BE49-F238E27FC236}">
                  <a16:creationId xmlns:a16="http://schemas.microsoft.com/office/drawing/2014/main" id="{BAD3738D-7153-BE74-722C-2C74FA0E0463}"/>
                </a:ext>
              </a:extLst>
            </p:cNvPr>
            <p:cNvGrpSpPr/>
            <p:nvPr/>
          </p:nvGrpSpPr>
          <p:grpSpPr>
            <a:xfrm rot="-721003">
              <a:off x="4427160" y="2856628"/>
              <a:ext cx="1122199" cy="1561317"/>
              <a:chOff x="4165807" y="3024617"/>
              <a:chExt cx="1122184" cy="1561296"/>
            </a:xfrm>
          </p:grpSpPr>
          <p:sp>
            <p:nvSpPr>
              <p:cNvPr id="657" name="Google Shape;2610;p46">
                <a:extLst>
                  <a:ext uri="{FF2B5EF4-FFF2-40B4-BE49-F238E27FC236}">
                    <a16:creationId xmlns:a16="http://schemas.microsoft.com/office/drawing/2014/main" id="{0DEA28D2-665D-20DD-7CBF-55631A9E861A}"/>
                  </a:ext>
                </a:extLst>
              </p:cNvPr>
              <p:cNvSpPr/>
              <p:nvPr/>
            </p:nvSpPr>
            <p:spPr>
              <a:xfrm>
                <a:off x="4165807" y="3024617"/>
                <a:ext cx="1115475" cy="1561296"/>
              </a:xfrm>
              <a:custGeom>
                <a:avLst/>
                <a:gdLst/>
                <a:ahLst/>
                <a:cxnLst/>
                <a:rect l="l" t="t" r="r" b="b"/>
                <a:pathLst>
                  <a:path w="27215" h="38092" extrusionOk="0">
                    <a:moveTo>
                      <a:pt x="9103" y="6253"/>
                    </a:moveTo>
                    <a:lnTo>
                      <a:pt x="10441" y="10485"/>
                    </a:lnTo>
                    <a:lnTo>
                      <a:pt x="9663" y="10728"/>
                    </a:lnTo>
                    <a:lnTo>
                      <a:pt x="8326" y="6499"/>
                    </a:lnTo>
                    <a:lnTo>
                      <a:pt x="9103" y="6253"/>
                    </a:lnTo>
                    <a:close/>
                    <a:moveTo>
                      <a:pt x="11848" y="5334"/>
                    </a:moveTo>
                    <a:lnTo>
                      <a:pt x="14680" y="14298"/>
                    </a:lnTo>
                    <a:lnTo>
                      <a:pt x="13903" y="14541"/>
                    </a:lnTo>
                    <a:lnTo>
                      <a:pt x="11072" y="5581"/>
                    </a:lnTo>
                    <a:lnTo>
                      <a:pt x="11848" y="5334"/>
                    </a:lnTo>
                    <a:close/>
                    <a:moveTo>
                      <a:pt x="6555" y="7225"/>
                    </a:moveTo>
                    <a:lnTo>
                      <a:pt x="8849" y="14482"/>
                    </a:lnTo>
                    <a:lnTo>
                      <a:pt x="8072" y="14729"/>
                    </a:lnTo>
                    <a:lnTo>
                      <a:pt x="5779" y="7471"/>
                    </a:lnTo>
                    <a:lnTo>
                      <a:pt x="6555" y="7225"/>
                    </a:lnTo>
                    <a:close/>
                    <a:moveTo>
                      <a:pt x="10900" y="11621"/>
                    </a:moveTo>
                    <a:lnTo>
                      <a:pt x="12237" y="15849"/>
                    </a:lnTo>
                    <a:lnTo>
                      <a:pt x="11460" y="16096"/>
                    </a:lnTo>
                    <a:lnTo>
                      <a:pt x="10122" y="11864"/>
                    </a:lnTo>
                    <a:lnTo>
                      <a:pt x="10900" y="11621"/>
                    </a:lnTo>
                    <a:close/>
                    <a:moveTo>
                      <a:pt x="12696" y="16984"/>
                    </a:moveTo>
                    <a:lnTo>
                      <a:pt x="16394" y="28694"/>
                    </a:lnTo>
                    <a:lnTo>
                      <a:pt x="15621" y="28941"/>
                    </a:lnTo>
                    <a:lnTo>
                      <a:pt x="11920" y="17227"/>
                    </a:lnTo>
                    <a:lnTo>
                      <a:pt x="12696" y="16984"/>
                    </a:lnTo>
                    <a:close/>
                    <a:moveTo>
                      <a:pt x="15072" y="15774"/>
                    </a:moveTo>
                    <a:lnTo>
                      <a:pt x="19957" y="31227"/>
                    </a:lnTo>
                    <a:lnTo>
                      <a:pt x="19181" y="31469"/>
                    </a:lnTo>
                    <a:lnTo>
                      <a:pt x="14295" y="16017"/>
                    </a:lnTo>
                    <a:lnTo>
                      <a:pt x="15072" y="15774"/>
                    </a:lnTo>
                    <a:close/>
                    <a:moveTo>
                      <a:pt x="16756" y="29803"/>
                    </a:moveTo>
                    <a:lnTo>
                      <a:pt x="17548" y="32309"/>
                    </a:lnTo>
                    <a:lnTo>
                      <a:pt x="16771" y="32552"/>
                    </a:lnTo>
                    <a:lnTo>
                      <a:pt x="15980" y="30050"/>
                    </a:lnTo>
                    <a:lnTo>
                      <a:pt x="16756" y="29803"/>
                    </a:lnTo>
                    <a:close/>
                    <a:moveTo>
                      <a:pt x="19252" y="0"/>
                    </a:moveTo>
                    <a:cubicBezTo>
                      <a:pt x="19027" y="12"/>
                      <a:pt x="18814" y="86"/>
                      <a:pt x="18594" y="162"/>
                    </a:cubicBezTo>
                    <a:cubicBezTo>
                      <a:pt x="17716" y="457"/>
                      <a:pt x="16842" y="752"/>
                      <a:pt x="15976" y="1039"/>
                    </a:cubicBezTo>
                    <a:cubicBezTo>
                      <a:pt x="14242" y="1622"/>
                      <a:pt x="12532" y="2193"/>
                      <a:pt x="10855" y="2757"/>
                    </a:cubicBezTo>
                    <a:cubicBezTo>
                      <a:pt x="7497" y="3882"/>
                      <a:pt x="4259" y="4965"/>
                      <a:pt x="1173" y="5999"/>
                    </a:cubicBezTo>
                    <a:cubicBezTo>
                      <a:pt x="789" y="6108"/>
                      <a:pt x="453" y="6343"/>
                      <a:pt x="244" y="6675"/>
                    </a:cubicBezTo>
                    <a:cubicBezTo>
                      <a:pt x="82" y="6930"/>
                      <a:pt x="1" y="7225"/>
                      <a:pt x="1" y="7520"/>
                    </a:cubicBezTo>
                    <a:cubicBezTo>
                      <a:pt x="1" y="7609"/>
                      <a:pt x="8" y="7699"/>
                      <a:pt x="23" y="7789"/>
                    </a:cubicBezTo>
                    <a:cubicBezTo>
                      <a:pt x="56" y="7975"/>
                      <a:pt x="132" y="8158"/>
                      <a:pt x="191" y="8349"/>
                    </a:cubicBezTo>
                    <a:cubicBezTo>
                      <a:pt x="254" y="8535"/>
                      <a:pt x="318" y="8718"/>
                      <a:pt x="378" y="8905"/>
                    </a:cubicBezTo>
                    <a:cubicBezTo>
                      <a:pt x="501" y="9275"/>
                      <a:pt x="625" y="9645"/>
                      <a:pt x="748" y="10011"/>
                    </a:cubicBezTo>
                    <a:cubicBezTo>
                      <a:pt x="1237" y="11471"/>
                      <a:pt x="1711" y="12891"/>
                      <a:pt x="2171" y="14262"/>
                    </a:cubicBezTo>
                    <a:cubicBezTo>
                      <a:pt x="3090" y="17007"/>
                      <a:pt x="3941" y="19561"/>
                      <a:pt x="4721" y="21892"/>
                    </a:cubicBezTo>
                    <a:cubicBezTo>
                      <a:pt x="6279" y="26562"/>
                      <a:pt x="7538" y="30337"/>
                      <a:pt x="8408" y="32949"/>
                    </a:cubicBezTo>
                    <a:cubicBezTo>
                      <a:pt x="8841" y="34252"/>
                      <a:pt x="9178" y="35268"/>
                      <a:pt x="9405" y="35955"/>
                    </a:cubicBezTo>
                    <a:cubicBezTo>
                      <a:pt x="9517" y="36299"/>
                      <a:pt x="9603" y="36560"/>
                      <a:pt x="9663" y="36740"/>
                    </a:cubicBezTo>
                    <a:cubicBezTo>
                      <a:pt x="9719" y="36915"/>
                      <a:pt x="9746" y="37005"/>
                      <a:pt x="9746" y="37005"/>
                    </a:cubicBezTo>
                    <a:lnTo>
                      <a:pt x="9746" y="37009"/>
                    </a:lnTo>
                    <a:lnTo>
                      <a:pt x="9749" y="37009"/>
                    </a:lnTo>
                    <a:cubicBezTo>
                      <a:pt x="9753" y="37009"/>
                      <a:pt x="9775" y="37102"/>
                      <a:pt x="9865" y="37262"/>
                    </a:cubicBezTo>
                    <a:cubicBezTo>
                      <a:pt x="9955" y="37419"/>
                      <a:pt x="10115" y="37655"/>
                      <a:pt x="10422" y="37848"/>
                    </a:cubicBezTo>
                    <a:cubicBezTo>
                      <a:pt x="10634" y="37983"/>
                      <a:pt x="10934" y="38091"/>
                      <a:pt x="11273" y="38091"/>
                    </a:cubicBezTo>
                    <a:cubicBezTo>
                      <a:pt x="11408" y="38091"/>
                      <a:pt x="11553" y="38076"/>
                      <a:pt x="11699" y="38031"/>
                    </a:cubicBezTo>
                    <a:cubicBezTo>
                      <a:pt x="12203" y="37871"/>
                      <a:pt x="12778" y="37669"/>
                      <a:pt x="13432" y="37453"/>
                    </a:cubicBezTo>
                    <a:cubicBezTo>
                      <a:pt x="15774" y="36664"/>
                      <a:pt x="19050" y="35559"/>
                      <a:pt x="23065" y="34207"/>
                    </a:cubicBezTo>
                    <a:lnTo>
                      <a:pt x="22896" y="33680"/>
                    </a:lnTo>
                    <a:lnTo>
                      <a:pt x="12797" y="2115"/>
                    </a:lnTo>
                    <a:lnTo>
                      <a:pt x="17937" y="393"/>
                    </a:lnTo>
                    <a:lnTo>
                      <a:pt x="27215" y="28821"/>
                    </a:lnTo>
                    <a:lnTo>
                      <a:pt x="26808" y="18930"/>
                    </a:lnTo>
                    <a:cubicBezTo>
                      <a:pt x="26677" y="18542"/>
                      <a:pt x="26546" y="18153"/>
                      <a:pt x="26415" y="17761"/>
                    </a:cubicBezTo>
                    <a:cubicBezTo>
                      <a:pt x="24828" y="13025"/>
                      <a:pt x="23136" y="7979"/>
                      <a:pt x="21377" y="2734"/>
                    </a:cubicBezTo>
                    <a:cubicBezTo>
                      <a:pt x="21190" y="2179"/>
                      <a:pt x="21003" y="1626"/>
                      <a:pt x="20817" y="1065"/>
                    </a:cubicBezTo>
                    <a:cubicBezTo>
                      <a:pt x="20674" y="632"/>
                      <a:pt x="20331" y="277"/>
                      <a:pt x="19912" y="109"/>
                    </a:cubicBezTo>
                    <a:cubicBezTo>
                      <a:pt x="19729" y="34"/>
                      <a:pt x="19535" y="0"/>
                      <a:pt x="19341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8" name="Google Shape;2611;p46">
                <a:extLst>
                  <a:ext uri="{FF2B5EF4-FFF2-40B4-BE49-F238E27FC236}">
                    <a16:creationId xmlns:a16="http://schemas.microsoft.com/office/drawing/2014/main" id="{6B660207-499A-6199-0B73-53E61300E42A}"/>
                  </a:ext>
                </a:extLst>
              </p:cNvPr>
              <p:cNvSpPr/>
              <p:nvPr/>
            </p:nvSpPr>
            <p:spPr>
              <a:xfrm>
                <a:off x="4751709" y="3671092"/>
                <a:ext cx="232112" cy="643381"/>
              </a:xfrm>
              <a:custGeom>
                <a:avLst/>
                <a:gdLst/>
                <a:ahLst/>
                <a:cxnLst/>
                <a:rect l="l" t="t" r="r" b="b"/>
                <a:pathLst>
                  <a:path w="5663" h="15697" extrusionOk="0">
                    <a:moveTo>
                      <a:pt x="777" y="1"/>
                    </a:moveTo>
                    <a:lnTo>
                      <a:pt x="0" y="244"/>
                    </a:lnTo>
                    <a:lnTo>
                      <a:pt x="4886" y="15696"/>
                    </a:lnTo>
                    <a:lnTo>
                      <a:pt x="5662" y="15454"/>
                    </a:lnTo>
                    <a:lnTo>
                      <a:pt x="777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9" name="Google Shape;2612;p46">
                <a:extLst>
                  <a:ext uri="{FF2B5EF4-FFF2-40B4-BE49-F238E27FC236}">
                    <a16:creationId xmlns:a16="http://schemas.microsoft.com/office/drawing/2014/main" id="{DD47AB94-EB8C-C9F8-4671-446FA9B07D8C}"/>
                  </a:ext>
                </a:extLst>
              </p:cNvPr>
              <p:cNvSpPr/>
              <p:nvPr/>
            </p:nvSpPr>
            <p:spPr>
              <a:xfrm>
                <a:off x="4619569" y="3243237"/>
                <a:ext cx="147924" cy="377413"/>
              </a:xfrm>
              <a:custGeom>
                <a:avLst/>
                <a:gdLst/>
                <a:ahLst/>
                <a:cxnLst/>
                <a:rect l="l" t="t" r="r" b="b"/>
                <a:pathLst>
                  <a:path w="3609" h="9208" extrusionOk="0">
                    <a:moveTo>
                      <a:pt x="777" y="0"/>
                    </a:moveTo>
                    <a:lnTo>
                      <a:pt x="1" y="247"/>
                    </a:lnTo>
                    <a:lnTo>
                      <a:pt x="2832" y="9207"/>
                    </a:lnTo>
                    <a:lnTo>
                      <a:pt x="3609" y="8964"/>
                    </a:lnTo>
                    <a:lnTo>
                      <a:pt x="777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0" name="Google Shape;2613;p46">
                <a:extLst>
                  <a:ext uri="{FF2B5EF4-FFF2-40B4-BE49-F238E27FC236}">
                    <a16:creationId xmlns:a16="http://schemas.microsoft.com/office/drawing/2014/main" id="{B452B30A-98B0-039C-9264-B131BC6DC641}"/>
                  </a:ext>
                </a:extLst>
              </p:cNvPr>
              <p:cNvSpPr/>
              <p:nvPr/>
            </p:nvSpPr>
            <p:spPr>
              <a:xfrm>
                <a:off x="4507020" y="3280863"/>
                <a:ext cx="86730" cy="183460"/>
              </a:xfrm>
              <a:custGeom>
                <a:avLst/>
                <a:gdLst/>
                <a:ahLst/>
                <a:cxnLst/>
                <a:rect l="l" t="t" r="r" b="b"/>
                <a:pathLst>
                  <a:path w="2116" h="4476" extrusionOk="0">
                    <a:moveTo>
                      <a:pt x="778" y="1"/>
                    </a:moveTo>
                    <a:lnTo>
                      <a:pt x="1" y="247"/>
                    </a:lnTo>
                    <a:lnTo>
                      <a:pt x="1338" y="4476"/>
                    </a:lnTo>
                    <a:lnTo>
                      <a:pt x="2116" y="4233"/>
                    </a:lnTo>
                    <a:lnTo>
                      <a:pt x="778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1" name="Google Shape;2614;p46">
                <a:extLst>
                  <a:ext uri="{FF2B5EF4-FFF2-40B4-BE49-F238E27FC236}">
                    <a16:creationId xmlns:a16="http://schemas.microsoft.com/office/drawing/2014/main" id="{708841D8-B6F2-36EC-00AF-81257468B3DA}"/>
                  </a:ext>
                </a:extLst>
              </p:cNvPr>
              <p:cNvSpPr/>
              <p:nvPr/>
            </p:nvSpPr>
            <p:spPr>
              <a:xfrm>
                <a:off x="4402668" y="3320701"/>
                <a:ext cx="125873" cy="307611"/>
              </a:xfrm>
              <a:custGeom>
                <a:avLst/>
                <a:gdLst/>
                <a:ahLst/>
                <a:cxnLst/>
                <a:rect l="l" t="t" r="r" b="b"/>
                <a:pathLst>
                  <a:path w="3071" h="7505" extrusionOk="0">
                    <a:moveTo>
                      <a:pt x="776" y="1"/>
                    </a:moveTo>
                    <a:lnTo>
                      <a:pt x="0" y="247"/>
                    </a:lnTo>
                    <a:lnTo>
                      <a:pt x="2293" y="7505"/>
                    </a:lnTo>
                    <a:lnTo>
                      <a:pt x="3070" y="7258"/>
                    </a:lnTo>
                    <a:lnTo>
                      <a:pt x="776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2" name="Google Shape;2615;p46">
                <a:extLst>
                  <a:ext uri="{FF2B5EF4-FFF2-40B4-BE49-F238E27FC236}">
                    <a16:creationId xmlns:a16="http://schemas.microsoft.com/office/drawing/2014/main" id="{9FE3E0C9-A455-A9BE-E1C7-58A9E03DE132}"/>
                  </a:ext>
                </a:extLst>
              </p:cNvPr>
              <p:cNvSpPr/>
              <p:nvPr/>
            </p:nvSpPr>
            <p:spPr>
              <a:xfrm>
                <a:off x="4820731" y="4246129"/>
                <a:ext cx="64350" cy="112716"/>
              </a:xfrm>
              <a:custGeom>
                <a:avLst/>
                <a:gdLst/>
                <a:ahLst/>
                <a:cxnLst/>
                <a:rect l="l" t="t" r="r" b="b"/>
                <a:pathLst>
                  <a:path w="1570" h="2750" extrusionOk="0">
                    <a:moveTo>
                      <a:pt x="777" y="0"/>
                    </a:moveTo>
                    <a:lnTo>
                      <a:pt x="1" y="247"/>
                    </a:lnTo>
                    <a:lnTo>
                      <a:pt x="792" y="2749"/>
                    </a:lnTo>
                    <a:lnTo>
                      <a:pt x="1569" y="2506"/>
                    </a:lnTo>
                    <a:lnTo>
                      <a:pt x="777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3" name="Google Shape;2616;p46">
                <a:extLst>
                  <a:ext uri="{FF2B5EF4-FFF2-40B4-BE49-F238E27FC236}">
                    <a16:creationId xmlns:a16="http://schemas.microsoft.com/office/drawing/2014/main" id="{83C532EE-F242-75F7-384D-47AA194B62D9}"/>
                  </a:ext>
                </a:extLst>
              </p:cNvPr>
              <p:cNvSpPr/>
              <p:nvPr/>
            </p:nvSpPr>
            <p:spPr>
              <a:xfrm>
                <a:off x="4580673" y="3500877"/>
                <a:ext cx="86730" cy="183460"/>
              </a:xfrm>
              <a:custGeom>
                <a:avLst/>
                <a:gdLst/>
                <a:ahLst/>
                <a:cxnLst/>
                <a:rect l="l" t="t" r="r" b="b"/>
                <a:pathLst>
                  <a:path w="2116" h="4476" extrusionOk="0">
                    <a:moveTo>
                      <a:pt x="778" y="1"/>
                    </a:moveTo>
                    <a:lnTo>
                      <a:pt x="0" y="244"/>
                    </a:lnTo>
                    <a:lnTo>
                      <a:pt x="1338" y="4476"/>
                    </a:lnTo>
                    <a:lnTo>
                      <a:pt x="2115" y="4229"/>
                    </a:lnTo>
                    <a:lnTo>
                      <a:pt x="778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4" name="Google Shape;2617;p46">
                <a:extLst>
                  <a:ext uri="{FF2B5EF4-FFF2-40B4-BE49-F238E27FC236}">
                    <a16:creationId xmlns:a16="http://schemas.microsoft.com/office/drawing/2014/main" id="{1E09C318-4E11-7EF4-A930-A8AE4EE599C2}"/>
                  </a:ext>
                </a:extLst>
              </p:cNvPr>
              <p:cNvSpPr/>
              <p:nvPr/>
            </p:nvSpPr>
            <p:spPr>
              <a:xfrm>
                <a:off x="4654325" y="3720727"/>
                <a:ext cx="183419" cy="490088"/>
              </a:xfrm>
              <a:custGeom>
                <a:avLst/>
                <a:gdLst/>
                <a:ahLst/>
                <a:cxnLst/>
                <a:rect l="l" t="t" r="r" b="b"/>
                <a:pathLst>
                  <a:path w="4475" h="11957" extrusionOk="0">
                    <a:moveTo>
                      <a:pt x="777" y="0"/>
                    </a:moveTo>
                    <a:lnTo>
                      <a:pt x="1" y="243"/>
                    </a:lnTo>
                    <a:lnTo>
                      <a:pt x="3702" y="11957"/>
                    </a:lnTo>
                    <a:lnTo>
                      <a:pt x="4475" y="11710"/>
                    </a:lnTo>
                    <a:lnTo>
                      <a:pt x="777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5" name="Google Shape;2618;p46">
                <a:extLst>
                  <a:ext uri="{FF2B5EF4-FFF2-40B4-BE49-F238E27FC236}">
                    <a16:creationId xmlns:a16="http://schemas.microsoft.com/office/drawing/2014/main" id="{340289FC-29B4-0A72-A7B0-7443DF238B35}"/>
                  </a:ext>
                </a:extLst>
              </p:cNvPr>
              <p:cNvSpPr/>
              <p:nvPr/>
            </p:nvSpPr>
            <p:spPr>
              <a:xfrm>
                <a:off x="4690311" y="3040725"/>
                <a:ext cx="597680" cy="1387345"/>
              </a:xfrm>
              <a:custGeom>
                <a:avLst/>
                <a:gdLst/>
                <a:ahLst/>
                <a:cxnLst/>
                <a:rect l="l" t="t" r="r" b="b"/>
                <a:pathLst>
                  <a:path w="14582" h="33848" extrusionOk="0">
                    <a:moveTo>
                      <a:pt x="5140" y="0"/>
                    </a:moveTo>
                    <a:lnTo>
                      <a:pt x="0" y="1722"/>
                    </a:lnTo>
                    <a:lnTo>
                      <a:pt x="10268" y="33814"/>
                    </a:lnTo>
                    <a:lnTo>
                      <a:pt x="10279" y="33847"/>
                    </a:lnTo>
                    <a:lnTo>
                      <a:pt x="14582" y="32406"/>
                    </a:lnTo>
                    <a:lnTo>
                      <a:pt x="14418" y="28428"/>
                    </a:lnTo>
                    <a:lnTo>
                      <a:pt x="5140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48" name="Google Shape;2620;p46">
              <a:extLst>
                <a:ext uri="{FF2B5EF4-FFF2-40B4-BE49-F238E27FC236}">
                  <a16:creationId xmlns:a16="http://schemas.microsoft.com/office/drawing/2014/main" id="{4A4DE9C0-2D1A-015B-C4EB-6287E172FAC6}"/>
                </a:ext>
              </a:extLst>
            </p:cNvPr>
            <p:cNvGrpSpPr/>
            <p:nvPr/>
          </p:nvGrpSpPr>
          <p:grpSpPr>
            <a:xfrm>
              <a:off x="5819039" y="915875"/>
              <a:ext cx="2360510" cy="3801392"/>
              <a:chOff x="5819039" y="912475"/>
              <a:chExt cx="2360510" cy="3801392"/>
            </a:xfrm>
          </p:grpSpPr>
          <p:sp>
            <p:nvSpPr>
              <p:cNvPr id="554" name="Google Shape;2621;p46">
                <a:extLst>
                  <a:ext uri="{FF2B5EF4-FFF2-40B4-BE49-F238E27FC236}">
                    <a16:creationId xmlns:a16="http://schemas.microsoft.com/office/drawing/2014/main" id="{625627BB-CC51-3633-4B41-895FE8B75F16}"/>
                  </a:ext>
                </a:extLst>
              </p:cNvPr>
              <p:cNvSpPr/>
              <p:nvPr/>
            </p:nvSpPr>
            <p:spPr>
              <a:xfrm>
                <a:off x="7402881" y="2309654"/>
                <a:ext cx="45988" cy="10862"/>
              </a:xfrm>
              <a:custGeom>
                <a:avLst/>
                <a:gdLst/>
                <a:ahLst/>
                <a:cxnLst/>
                <a:rect l="l" t="t" r="r" b="b"/>
                <a:pathLst>
                  <a:path w="1122" h="265" extrusionOk="0">
                    <a:moveTo>
                      <a:pt x="1052" y="1"/>
                    </a:moveTo>
                    <a:cubicBezTo>
                      <a:pt x="958" y="1"/>
                      <a:pt x="765" y="27"/>
                      <a:pt x="546" y="72"/>
                    </a:cubicBezTo>
                    <a:cubicBezTo>
                      <a:pt x="244" y="140"/>
                      <a:pt x="1" y="219"/>
                      <a:pt x="4" y="252"/>
                    </a:cubicBezTo>
                    <a:cubicBezTo>
                      <a:pt x="6" y="260"/>
                      <a:pt x="28" y="264"/>
                      <a:pt x="64" y="264"/>
                    </a:cubicBezTo>
                    <a:cubicBezTo>
                      <a:pt x="158" y="264"/>
                      <a:pt x="352" y="238"/>
                      <a:pt x="572" y="193"/>
                    </a:cubicBezTo>
                    <a:cubicBezTo>
                      <a:pt x="878" y="125"/>
                      <a:pt x="1121" y="46"/>
                      <a:pt x="1114" y="13"/>
                    </a:cubicBezTo>
                    <a:cubicBezTo>
                      <a:pt x="1112" y="5"/>
                      <a:pt x="1090" y="1"/>
                      <a:pt x="1052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5" name="Google Shape;2622;p46">
                <a:extLst>
                  <a:ext uri="{FF2B5EF4-FFF2-40B4-BE49-F238E27FC236}">
                    <a16:creationId xmlns:a16="http://schemas.microsoft.com/office/drawing/2014/main" id="{96ACD32F-B25E-0FF4-CECB-5B2F3209FE5F}"/>
                  </a:ext>
                </a:extLst>
              </p:cNvPr>
              <p:cNvSpPr/>
              <p:nvPr/>
            </p:nvSpPr>
            <p:spPr>
              <a:xfrm>
                <a:off x="7492765" y="2281537"/>
                <a:ext cx="44717" cy="16354"/>
              </a:xfrm>
              <a:custGeom>
                <a:avLst/>
                <a:gdLst/>
                <a:ahLst/>
                <a:cxnLst/>
                <a:rect l="l" t="t" r="r" b="b"/>
                <a:pathLst>
                  <a:path w="1091" h="399" extrusionOk="0">
                    <a:moveTo>
                      <a:pt x="1051" y="0"/>
                    </a:moveTo>
                    <a:cubicBezTo>
                      <a:pt x="976" y="0"/>
                      <a:pt x="766" y="56"/>
                      <a:pt x="523" y="143"/>
                    </a:cubicBezTo>
                    <a:cubicBezTo>
                      <a:pt x="232" y="247"/>
                      <a:pt x="0" y="359"/>
                      <a:pt x="11" y="389"/>
                    </a:cubicBezTo>
                    <a:cubicBezTo>
                      <a:pt x="13" y="395"/>
                      <a:pt x="24" y="398"/>
                      <a:pt x="42" y="398"/>
                    </a:cubicBezTo>
                    <a:cubicBezTo>
                      <a:pt x="117" y="398"/>
                      <a:pt x="325" y="343"/>
                      <a:pt x="564" y="258"/>
                    </a:cubicBezTo>
                    <a:cubicBezTo>
                      <a:pt x="859" y="150"/>
                      <a:pt x="1090" y="41"/>
                      <a:pt x="1080" y="8"/>
                    </a:cubicBezTo>
                    <a:cubicBezTo>
                      <a:pt x="1077" y="3"/>
                      <a:pt x="1067" y="0"/>
                      <a:pt x="105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6" name="Google Shape;2623;p46">
                <a:extLst>
                  <a:ext uri="{FF2B5EF4-FFF2-40B4-BE49-F238E27FC236}">
                    <a16:creationId xmlns:a16="http://schemas.microsoft.com/office/drawing/2014/main" id="{4D57F1DE-827E-6CBD-D753-1164F78E82AF}"/>
                  </a:ext>
                </a:extLst>
              </p:cNvPr>
              <p:cNvSpPr/>
              <p:nvPr/>
            </p:nvSpPr>
            <p:spPr>
              <a:xfrm>
                <a:off x="7578959" y="2241699"/>
                <a:ext cx="42586" cy="21887"/>
              </a:xfrm>
              <a:custGeom>
                <a:avLst/>
                <a:gdLst/>
                <a:ahLst/>
                <a:cxnLst/>
                <a:rect l="l" t="t" r="r" b="b"/>
                <a:pathLst>
                  <a:path w="1039" h="534" extrusionOk="0">
                    <a:moveTo>
                      <a:pt x="1006" y="1"/>
                    </a:moveTo>
                    <a:cubicBezTo>
                      <a:pt x="950" y="1"/>
                      <a:pt x="735" y="88"/>
                      <a:pt x="489" y="215"/>
                    </a:cubicBezTo>
                    <a:cubicBezTo>
                      <a:pt x="213" y="360"/>
                      <a:pt x="0" y="498"/>
                      <a:pt x="15" y="528"/>
                    </a:cubicBezTo>
                    <a:cubicBezTo>
                      <a:pt x="17" y="532"/>
                      <a:pt x="22" y="534"/>
                      <a:pt x="30" y="534"/>
                    </a:cubicBezTo>
                    <a:cubicBezTo>
                      <a:pt x="89" y="534"/>
                      <a:pt x="300" y="447"/>
                      <a:pt x="545" y="322"/>
                    </a:cubicBezTo>
                    <a:cubicBezTo>
                      <a:pt x="825" y="177"/>
                      <a:pt x="1038" y="35"/>
                      <a:pt x="1020" y="5"/>
                    </a:cubicBezTo>
                    <a:cubicBezTo>
                      <a:pt x="1018" y="2"/>
                      <a:pt x="1013" y="1"/>
                      <a:pt x="1006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7" name="Google Shape;2624;p46">
                <a:extLst>
                  <a:ext uri="{FF2B5EF4-FFF2-40B4-BE49-F238E27FC236}">
                    <a16:creationId xmlns:a16="http://schemas.microsoft.com/office/drawing/2014/main" id="{08C2246B-84CC-232C-28A4-57E3FD2B745A}"/>
                  </a:ext>
                </a:extLst>
              </p:cNvPr>
              <p:cNvSpPr/>
              <p:nvPr/>
            </p:nvSpPr>
            <p:spPr>
              <a:xfrm>
                <a:off x="7659621" y="2190302"/>
                <a:ext cx="39225" cy="27462"/>
              </a:xfrm>
              <a:custGeom>
                <a:avLst/>
                <a:gdLst/>
                <a:ahLst/>
                <a:cxnLst/>
                <a:rect l="l" t="t" r="r" b="b"/>
                <a:pathLst>
                  <a:path w="957" h="670" extrusionOk="0">
                    <a:moveTo>
                      <a:pt x="927" y="0"/>
                    </a:moveTo>
                    <a:cubicBezTo>
                      <a:pt x="877" y="0"/>
                      <a:pt x="673" y="121"/>
                      <a:pt x="441" y="284"/>
                    </a:cubicBezTo>
                    <a:cubicBezTo>
                      <a:pt x="191" y="467"/>
                      <a:pt x="0" y="639"/>
                      <a:pt x="19" y="665"/>
                    </a:cubicBezTo>
                    <a:cubicBezTo>
                      <a:pt x="21" y="668"/>
                      <a:pt x="24" y="670"/>
                      <a:pt x="30" y="670"/>
                    </a:cubicBezTo>
                    <a:cubicBezTo>
                      <a:pt x="81" y="670"/>
                      <a:pt x="283" y="550"/>
                      <a:pt x="512" y="381"/>
                    </a:cubicBezTo>
                    <a:cubicBezTo>
                      <a:pt x="766" y="198"/>
                      <a:pt x="957" y="26"/>
                      <a:pt x="938" y="4"/>
                    </a:cubicBezTo>
                    <a:cubicBezTo>
                      <a:pt x="936" y="2"/>
                      <a:pt x="932" y="0"/>
                      <a:pt x="92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8" name="Google Shape;2625;p46">
                <a:extLst>
                  <a:ext uri="{FF2B5EF4-FFF2-40B4-BE49-F238E27FC236}">
                    <a16:creationId xmlns:a16="http://schemas.microsoft.com/office/drawing/2014/main" id="{64BF0B7D-F69D-3125-4570-4A62838E3087}"/>
                  </a:ext>
                </a:extLst>
              </p:cNvPr>
              <p:cNvSpPr/>
              <p:nvPr/>
            </p:nvSpPr>
            <p:spPr>
              <a:xfrm>
                <a:off x="7732495" y="2127347"/>
                <a:ext cx="34798" cy="33077"/>
              </a:xfrm>
              <a:custGeom>
                <a:avLst/>
                <a:gdLst/>
                <a:ahLst/>
                <a:cxnLst/>
                <a:rect l="l" t="t" r="r" b="b"/>
                <a:pathLst>
                  <a:path w="849" h="807" extrusionOk="0">
                    <a:moveTo>
                      <a:pt x="816" y="0"/>
                    </a:moveTo>
                    <a:cubicBezTo>
                      <a:pt x="778" y="0"/>
                      <a:pt x="590" y="152"/>
                      <a:pt x="382" y="360"/>
                    </a:cubicBezTo>
                    <a:cubicBezTo>
                      <a:pt x="161" y="580"/>
                      <a:pt x="1" y="778"/>
                      <a:pt x="23" y="804"/>
                    </a:cubicBezTo>
                    <a:cubicBezTo>
                      <a:pt x="25" y="806"/>
                      <a:pt x="27" y="807"/>
                      <a:pt x="31" y="807"/>
                    </a:cubicBezTo>
                    <a:cubicBezTo>
                      <a:pt x="75" y="807"/>
                      <a:pt x="260" y="653"/>
                      <a:pt x="468" y="445"/>
                    </a:cubicBezTo>
                    <a:cubicBezTo>
                      <a:pt x="687" y="226"/>
                      <a:pt x="849" y="24"/>
                      <a:pt x="822" y="2"/>
                    </a:cubicBezTo>
                    <a:cubicBezTo>
                      <a:pt x="820" y="1"/>
                      <a:pt x="819" y="0"/>
                      <a:pt x="81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9" name="Google Shape;2626;p46">
                <a:extLst>
                  <a:ext uri="{FF2B5EF4-FFF2-40B4-BE49-F238E27FC236}">
                    <a16:creationId xmlns:a16="http://schemas.microsoft.com/office/drawing/2014/main" id="{D3E689F8-F282-62E1-534D-CEE2B34B0F66}"/>
                  </a:ext>
                </a:extLst>
              </p:cNvPr>
              <p:cNvSpPr/>
              <p:nvPr/>
            </p:nvSpPr>
            <p:spPr>
              <a:xfrm>
                <a:off x="7795122" y="2053695"/>
                <a:ext cx="28773" cy="38282"/>
              </a:xfrm>
              <a:custGeom>
                <a:avLst/>
                <a:gdLst/>
                <a:ahLst/>
                <a:cxnLst/>
                <a:rect l="l" t="t" r="r" b="b"/>
                <a:pathLst>
                  <a:path w="702" h="934" extrusionOk="0">
                    <a:moveTo>
                      <a:pt x="669" y="0"/>
                    </a:moveTo>
                    <a:cubicBezTo>
                      <a:pt x="634" y="0"/>
                      <a:pt x="472" y="186"/>
                      <a:pt x="299" y="432"/>
                    </a:cubicBezTo>
                    <a:cubicBezTo>
                      <a:pt x="123" y="689"/>
                      <a:pt x="0" y="913"/>
                      <a:pt x="26" y="932"/>
                    </a:cubicBezTo>
                    <a:cubicBezTo>
                      <a:pt x="27" y="933"/>
                      <a:pt x="29" y="934"/>
                      <a:pt x="31" y="934"/>
                    </a:cubicBezTo>
                    <a:cubicBezTo>
                      <a:pt x="70" y="934"/>
                      <a:pt x="230" y="746"/>
                      <a:pt x="400" y="502"/>
                    </a:cubicBezTo>
                    <a:cubicBezTo>
                      <a:pt x="579" y="244"/>
                      <a:pt x="702" y="20"/>
                      <a:pt x="672" y="1"/>
                    </a:cubicBezTo>
                    <a:cubicBezTo>
                      <a:pt x="671" y="1"/>
                      <a:pt x="670" y="0"/>
                      <a:pt x="66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0" name="Google Shape;2627;p46">
                <a:extLst>
                  <a:ext uri="{FF2B5EF4-FFF2-40B4-BE49-F238E27FC236}">
                    <a16:creationId xmlns:a16="http://schemas.microsoft.com/office/drawing/2014/main" id="{900DF3F6-8C94-DE10-9158-31E9B3FDA069}"/>
                  </a:ext>
                </a:extLst>
              </p:cNvPr>
              <p:cNvSpPr/>
              <p:nvPr/>
            </p:nvSpPr>
            <p:spPr>
              <a:xfrm>
                <a:off x="7844429" y="1970739"/>
                <a:ext cx="21150" cy="42668"/>
              </a:xfrm>
              <a:custGeom>
                <a:avLst/>
                <a:gdLst/>
                <a:ahLst/>
                <a:cxnLst/>
                <a:rect l="l" t="t" r="r" b="b"/>
                <a:pathLst>
                  <a:path w="516" h="1041" extrusionOk="0">
                    <a:moveTo>
                      <a:pt x="483" y="1"/>
                    </a:moveTo>
                    <a:cubicBezTo>
                      <a:pt x="446" y="1"/>
                      <a:pt x="325" y="221"/>
                      <a:pt x="202" y="498"/>
                    </a:cubicBezTo>
                    <a:cubicBezTo>
                      <a:pt x="78" y="782"/>
                      <a:pt x="0" y="1025"/>
                      <a:pt x="30" y="1039"/>
                    </a:cubicBezTo>
                    <a:cubicBezTo>
                      <a:pt x="31" y="1040"/>
                      <a:pt x="32" y="1040"/>
                      <a:pt x="34" y="1040"/>
                    </a:cubicBezTo>
                    <a:cubicBezTo>
                      <a:pt x="69" y="1040"/>
                      <a:pt x="192" y="823"/>
                      <a:pt x="314" y="546"/>
                    </a:cubicBezTo>
                    <a:cubicBezTo>
                      <a:pt x="437" y="259"/>
                      <a:pt x="516" y="16"/>
                      <a:pt x="485" y="1"/>
                    </a:cubicBezTo>
                    <a:cubicBezTo>
                      <a:pt x="484" y="1"/>
                      <a:pt x="483" y="1"/>
                      <a:pt x="48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1" name="Google Shape;2628;p46">
                <a:extLst>
                  <a:ext uri="{FF2B5EF4-FFF2-40B4-BE49-F238E27FC236}">
                    <a16:creationId xmlns:a16="http://schemas.microsoft.com/office/drawing/2014/main" id="{6BAC905C-F853-0235-5A23-2528406ABB94}"/>
                  </a:ext>
                </a:extLst>
              </p:cNvPr>
              <p:cNvSpPr/>
              <p:nvPr/>
            </p:nvSpPr>
            <p:spPr>
              <a:xfrm>
                <a:off x="7877300" y="1881348"/>
                <a:ext cx="12911" cy="45373"/>
              </a:xfrm>
              <a:custGeom>
                <a:avLst/>
                <a:gdLst/>
                <a:ahLst/>
                <a:cxnLst/>
                <a:rect l="l" t="t" r="r" b="b"/>
                <a:pathLst>
                  <a:path w="315" h="1107" extrusionOk="0">
                    <a:moveTo>
                      <a:pt x="279" y="1"/>
                    </a:moveTo>
                    <a:cubicBezTo>
                      <a:pt x="249" y="1"/>
                      <a:pt x="168" y="241"/>
                      <a:pt x="98" y="539"/>
                    </a:cubicBezTo>
                    <a:cubicBezTo>
                      <a:pt x="31" y="845"/>
                      <a:pt x="0" y="1096"/>
                      <a:pt x="31" y="1106"/>
                    </a:cubicBezTo>
                    <a:cubicBezTo>
                      <a:pt x="31" y="1107"/>
                      <a:pt x="32" y="1107"/>
                      <a:pt x="32" y="1107"/>
                    </a:cubicBezTo>
                    <a:cubicBezTo>
                      <a:pt x="66" y="1107"/>
                      <a:pt x="147" y="871"/>
                      <a:pt x="214" y="569"/>
                    </a:cubicBezTo>
                    <a:cubicBezTo>
                      <a:pt x="285" y="258"/>
                      <a:pt x="314" y="8"/>
                      <a:pt x="281" y="1"/>
                    </a:cubicBezTo>
                    <a:cubicBezTo>
                      <a:pt x="280" y="1"/>
                      <a:pt x="280" y="1"/>
                      <a:pt x="279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2" name="Google Shape;2629;p46">
                <a:extLst>
                  <a:ext uri="{FF2B5EF4-FFF2-40B4-BE49-F238E27FC236}">
                    <a16:creationId xmlns:a16="http://schemas.microsoft.com/office/drawing/2014/main" id="{83022F3A-6BB8-07C2-A13C-A1F5419492AD}"/>
                  </a:ext>
                </a:extLst>
              </p:cNvPr>
              <p:cNvSpPr/>
              <p:nvPr/>
            </p:nvSpPr>
            <p:spPr>
              <a:xfrm>
                <a:off x="7893531" y="1789047"/>
                <a:ext cx="6640" cy="46439"/>
              </a:xfrm>
              <a:custGeom>
                <a:avLst/>
                <a:gdLst/>
                <a:ahLst/>
                <a:cxnLst/>
                <a:rect l="l" t="t" r="r" b="b"/>
                <a:pathLst>
                  <a:path w="162" h="1133" extrusionOk="0">
                    <a:moveTo>
                      <a:pt x="116" y="0"/>
                    </a:moveTo>
                    <a:cubicBezTo>
                      <a:pt x="87" y="0"/>
                      <a:pt x="42" y="250"/>
                      <a:pt x="23" y="561"/>
                    </a:cubicBezTo>
                    <a:cubicBezTo>
                      <a:pt x="1" y="871"/>
                      <a:pt x="12" y="1129"/>
                      <a:pt x="45" y="1133"/>
                    </a:cubicBezTo>
                    <a:cubicBezTo>
                      <a:pt x="46" y="1133"/>
                      <a:pt x="46" y="1133"/>
                      <a:pt x="46" y="1133"/>
                    </a:cubicBezTo>
                    <a:cubicBezTo>
                      <a:pt x="80" y="1133"/>
                      <a:pt x="124" y="880"/>
                      <a:pt x="142" y="569"/>
                    </a:cubicBezTo>
                    <a:cubicBezTo>
                      <a:pt x="161" y="255"/>
                      <a:pt x="150" y="0"/>
                      <a:pt x="11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3" name="Google Shape;2630;p46">
                <a:extLst>
                  <a:ext uri="{FF2B5EF4-FFF2-40B4-BE49-F238E27FC236}">
                    <a16:creationId xmlns:a16="http://schemas.microsoft.com/office/drawing/2014/main" id="{3E529021-5AD8-45F9-86C4-B8DF2A95EA95}"/>
                  </a:ext>
                </a:extLst>
              </p:cNvPr>
              <p:cNvSpPr/>
              <p:nvPr/>
            </p:nvSpPr>
            <p:spPr>
              <a:xfrm>
                <a:off x="7892178" y="1696254"/>
                <a:ext cx="7214" cy="46480"/>
              </a:xfrm>
              <a:custGeom>
                <a:avLst/>
                <a:gdLst/>
                <a:ahLst/>
                <a:cxnLst/>
                <a:rect l="l" t="t" r="r" b="b"/>
                <a:pathLst>
                  <a:path w="176" h="1134" extrusionOk="0">
                    <a:moveTo>
                      <a:pt x="38" y="1"/>
                    </a:moveTo>
                    <a:cubicBezTo>
                      <a:pt x="38" y="1"/>
                      <a:pt x="37" y="1"/>
                      <a:pt x="37" y="1"/>
                    </a:cubicBezTo>
                    <a:cubicBezTo>
                      <a:pt x="4" y="9"/>
                      <a:pt x="0" y="263"/>
                      <a:pt x="26" y="573"/>
                    </a:cubicBezTo>
                    <a:cubicBezTo>
                      <a:pt x="56" y="883"/>
                      <a:pt x="104" y="1133"/>
                      <a:pt x="138" y="1133"/>
                    </a:cubicBezTo>
                    <a:cubicBezTo>
                      <a:pt x="172" y="1130"/>
                      <a:pt x="175" y="875"/>
                      <a:pt x="146" y="561"/>
                    </a:cubicBezTo>
                    <a:cubicBezTo>
                      <a:pt x="120" y="250"/>
                      <a:pt x="72" y="1"/>
                      <a:pt x="38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4" name="Google Shape;2631;p46">
                <a:extLst>
                  <a:ext uri="{FF2B5EF4-FFF2-40B4-BE49-F238E27FC236}">
                    <a16:creationId xmlns:a16="http://schemas.microsoft.com/office/drawing/2014/main" id="{6EA432C7-3248-00E6-122C-99DC4230AC46}"/>
                  </a:ext>
                </a:extLst>
              </p:cNvPr>
              <p:cNvSpPr/>
              <p:nvPr/>
            </p:nvSpPr>
            <p:spPr>
              <a:xfrm>
                <a:off x="7873612" y="1605347"/>
                <a:ext cx="13813" cy="45209"/>
              </a:xfrm>
              <a:custGeom>
                <a:avLst/>
                <a:gdLst/>
                <a:ahLst/>
                <a:cxnLst/>
                <a:rect l="l" t="t" r="r" b="b"/>
                <a:pathLst>
                  <a:path w="337" h="1103" extrusionOk="0">
                    <a:moveTo>
                      <a:pt x="33" y="0"/>
                    </a:moveTo>
                    <a:cubicBezTo>
                      <a:pt x="32" y="0"/>
                      <a:pt x="32" y="0"/>
                      <a:pt x="31" y="0"/>
                    </a:cubicBezTo>
                    <a:cubicBezTo>
                      <a:pt x="1" y="12"/>
                      <a:pt x="35" y="266"/>
                      <a:pt x="109" y="569"/>
                    </a:cubicBezTo>
                    <a:cubicBezTo>
                      <a:pt x="183" y="866"/>
                      <a:pt x="271" y="1102"/>
                      <a:pt x="306" y="1102"/>
                    </a:cubicBezTo>
                    <a:cubicBezTo>
                      <a:pt x="306" y="1102"/>
                      <a:pt x="307" y="1102"/>
                      <a:pt x="307" y="1102"/>
                    </a:cubicBezTo>
                    <a:cubicBezTo>
                      <a:pt x="337" y="1095"/>
                      <a:pt x="304" y="845"/>
                      <a:pt x="225" y="538"/>
                    </a:cubicBezTo>
                    <a:cubicBezTo>
                      <a:pt x="152" y="237"/>
                      <a:pt x="67" y="0"/>
                      <a:pt x="33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5" name="Google Shape;2632;p46">
                <a:extLst>
                  <a:ext uri="{FF2B5EF4-FFF2-40B4-BE49-F238E27FC236}">
                    <a16:creationId xmlns:a16="http://schemas.microsoft.com/office/drawing/2014/main" id="{A32F6C68-681B-0C71-A03E-72DCB4C1CF49}"/>
                  </a:ext>
                </a:extLst>
              </p:cNvPr>
              <p:cNvSpPr/>
              <p:nvPr/>
            </p:nvSpPr>
            <p:spPr>
              <a:xfrm>
                <a:off x="7839962" y="1518948"/>
                <a:ext cx="21313" cy="42504"/>
              </a:xfrm>
              <a:custGeom>
                <a:avLst/>
                <a:gdLst/>
                <a:ahLst/>
                <a:cxnLst/>
                <a:rect l="l" t="t" r="r" b="b"/>
                <a:pathLst>
                  <a:path w="520" h="1037" extrusionOk="0">
                    <a:moveTo>
                      <a:pt x="33" y="1"/>
                    </a:moveTo>
                    <a:cubicBezTo>
                      <a:pt x="32" y="1"/>
                      <a:pt x="31" y="1"/>
                      <a:pt x="30" y="2"/>
                    </a:cubicBezTo>
                    <a:cubicBezTo>
                      <a:pt x="1" y="17"/>
                      <a:pt x="79" y="260"/>
                      <a:pt x="206" y="543"/>
                    </a:cubicBezTo>
                    <a:cubicBezTo>
                      <a:pt x="326" y="820"/>
                      <a:pt x="450" y="1037"/>
                      <a:pt x="487" y="1037"/>
                    </a:cubicBezTo>
                    <a:cubicBezTo>
                      <a:pt x="488" y="1037"/>
                      <a:pt x="489" y="1036"/>
                      <a:pt x="490" y="1036"/>
                    </a:cubicBezTo>
                    <a:cubicBezTo>
                      <a:pt x="520" y="1025"/>
                      <a:pt x="441" y="782"/>
                      <a:pt x="314" y="495"/>
                    </a:cubicBezTo>
                    <a:cubicBezTo>
                      <a:pt x="191" y="216"/>
                      <a:pt x="68" y="1"/>
                      <a:pt x="3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6" name="Google Shape;2633;p46">
                <a:extLst>
                  <a:ext uri="{FF2B5EF4-FFF2-40B4-BE49-F238E27FC236}">
                    <a16:creationId xmlns:a16="http://schemas.microsoft.com/office/drawing/2014/main" id="{C46ED8C9-DA30-F137-F79B-42C589149D26}"/>
                  </a:ext>
                </a:extLst>
              </p:cNvPr>
              <p:cNvSpPr/>
              <p:nvPr/>
            </p:nvSpPr>
            <p:spPr>
              <a:xfrm>
                <a:off x="7790819" y="1440295"/>
                <a:ext cx="28978" cy="38200"/>
              </a:xfrm>
              <a:custGeom>
                <a:avLst/>
                <a:gdLst/>
                <a:ahLst/>
                <a:cxnLst/>
                <a:rect l="l" t="t" r="r" b="b"/>
                <a:pathLst>
                  <a:path w="707" h="932" extrusionOk="0">
                    <a:moveTo>
                      <a:pt x="31" y="0"/>
                    </a:moveTo>
                    <a:cubicBezTo>
                      <a:pt x="29" y="0"/>
                      <a:pt x="27" y="1"/>
                      <a:pt x="26" y="1"/>
                    </a:cubicBezTo>
                    <a:cubicBezTo>
                      <a:pt x="0" y="24"/>
                      <a:pt x="124" y="243"/>
                      <a:pt x="303" y="502"/>
                    </a:cubicBezTo>
                    <a:cubicBezTo>
                      <a:pt x="476" y="746"/>
                      <a:pt x="634" y="932"/>
                      <a:pt x="672" y="932"/>
                    </a:cubicBezTo>
                    <a:cubicBezTo>
                      <a:pt x="674" y="932"/>
                      <a:pt x="675" y="932"/>
                      <a:pt x="676" y="931"/>
                    </a:cubicBezTo>
                    <a:cubicBezTo>
                      <a:pt x="707" y="912"/>
                      <a:pt x="583" y="688"/>
                      <a:pt x="400" y="431"/>
                    </a:cubicBezTo>
                    <a:cubicBezTo>
                      <a:pt x="229" y="184"/>
                      <a:pt x="68" y="0"/>
                      <a:pt x="3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7" name="Google Shape;2634;p46">
                <a:extLst>
                  <a:ext uri="{FF2B5EF4-FFF2-40B4-BE49-F238E27FC236}">
                    <a16:creationId xmlns:a16="http://schemas.microsoft.com/office/drawing/2014/main" id="{5142B02D-73A6-4D2A-2956-0AD330A0780C}"/>
                  </a:ext>
                </a:extLst>
              </p:cNvPr>
              <p:cNvSpPr/>
              <p:nvPr/>
            </p:nvSpPr>
            <p:spPr>
              <a:xfrm>
                <a:off x="7726347" y="1373611"/>
                <a:ext cx="36192" cy="31765"/>
              </a:xfrm>
              <a:custGeom>
                <a:avLst/>
                <a:gdLst/>
                <a:ahLst/>
                <a:cxnLst/>
                <a:rect l="l" t="t" r="r" b="b"/>
                <a:pathLst>
                  <a:path w="883" h="775" extrusionOk="0">
                    <a:moveTo>
                      <a:pt x="31" y="1"/>
                    </a:moveTo>
                    <a:cubicBezTo>
                      <a:pt x="27" y="1"/>
                      <a:pt x="25" y="2"/>
                      <a:pt x="23" y="3"/>
                    </a:cubicBezTo>
                    <a:cubicBezTo>
                      <a:pt x="1" y="29"/>
                      <a:pt x="180" y="208"/>
                      <a:pt x="411" y="422"/>
                    </a:cubicBezTo>
                    <a:cubicBezTo>
                      <a:pt x="626" y="618"/>
                      <a:pt x="810" y="774"/>
                      <a:pt x="850" y="774"/>
                    </a:cubicBezTo>
                    <a:cubicBezTo>
                      <a:pt x="853" y="774"/>
                      <a:pt x="855" y="774"/>
                      <a:pt x="856" y="772"/>
                    </a:cubicBezTo>
                    <a:cubicBezTo>
                      <a:pt x="882" y="750"/>
                      <a:pt x="725" y="548"/>
                      <a:pt x="490" y="332"/>
                    </a:cubicBezTo>
                    <a:cubicBezTo>
                      <a:pt x="275" y="134"/>
                      <a:pt x="76" y="1"/>
                      <a:pt x="3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8" name="Google Shape;2635;p46">
                <a:extLst>
                  <a:ext uri="{FF2B5EF4-FFF2-40B4-BE49-F238E27FC236}">
                    <a16:creationId xmlns:a16="http://schemas.microsoft.com/office/drawing/2014/main" id="{5876D07A-1678-2871-F3BA-9DAA17C39183}"/>
                  </a:ext>
                </a:extLst>
              </p:cNvPr>
              <p:cNvSpPr/>
              <p:nvPr/>
            </p:nvSpPr>
            <p:spPr>
              <a:xfrm>
                <a:off x="7668802" y="1333526"/>
                <a:ext cx="21641" cy="13116"/>
              </a:xfrm>
              <a:custGeom>
                <a:avLst/>
                <a:gdLst/>
                <a:ahLst/>
                <a:cxnLst/>
                <a:rect l="l" t="t" r="r" b="b"/>
                <a:pathLst>
                  <a:path w="528" h="320" extrusionOk="0">
                    <a:moveTo>
                      <a:pt x="42" y="1"/>
                    </a:moveTo>
                    <a:cubicBezTo>
                      <a:pt x="30" y="1"/>
                      <a:pt x="22" y="4"/>
                      <a:pt x="19" y="10"/>
                    </a:cubicBezTo>
                    <a:cubicBezTo>
                      <a:pt x="0" y="40"/>
                      <a:pt x="98" y="130"/>
                      <a:pt x="232" y="212"/>
                    </a:cubicBezTo>
                    <a:cubicBezTo>
                      <a:pt x="341" y="278"/>
                      <a:pt x="444" y="320"/>
                      <a:pt x="488" y="320"/>
                    </a:cubicBezTo>
                    <a:cubicBezTo>
                      <a:pt x="498" y="320"/>
                      <a:pt x="505" y="317"/>
                      <a:pt x="508" y="312"/>
                    </a:cubicBezTo>
                    <a:cubicBezTo>
                      <a:pt x="527" y="283"/>
                      <a:pt x="434" y="193"/>
                      <a:pt x="296" y="111"/>
                    </a:cubicBezTo>
                    <a:cubicBezTo>
                      <a:pt x="187" y="43"/>
                      <a:pt x="87" y="1"/>
                      <a:pt x="42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9" name="Google Shape;2636;p46">
                <a:extLst>
                  <a:ext uri="{FF2B5EF4-FFF2-40B4-BE49-F238E27FC236}">
                    <a16:creationId xmlns:a16="http://schemas.microsoft.com/office/drawing/2014/main" id="{EB137342-5064-E93B-21B5-55F62DFB79EE}"/>
                  </a:ext>
                </a:extLst>
              </p:cNvPr>
              <p:cNvSpPr/>
              <p:nvPr/>
            </p:nvSpPr>
            <p:spPr>
              <a:xfrm>
                <a:off x="7085687" y="912475"/>
                <a:ext cx="654980" cy="654980"/>
              </a:xfrm>
              <a:custGeom>
                <a:avLst/>
                <a:gdLst/>
                <a:ahLst/>
                <a:cxnLst/>
                <a:rect l="l" t="t" r="r" b="b"/>
                <a:pathLst>
                  <a:path w="15980" h="15980" extrusionOk="0">
                    <a:moveTo>
                      <a:pt x="7990" y="0"/>
                    </a:moveTo>
                    <a:cubicBezTo>
                      <a:pt x="3578" y="0"/>
                      <a:pt x="1" y="3579"/>
                      <a:pt x="1" y="7989"/>
                    </a:cubicBezTo>
                    <a:cubicBezTo>
                      <a:pt x="1" y="12404"/>
                      <a:pt x="3578" y="15979"/>
                      <a:pt x="7990" y="15979"/>
                    </a:cubicBezTo>
                    <a:cubicBezTo>
                      <a:pt x="12405" y="15979"/>
                      <a:pt x="15980" y="12404"/>
                      <a:pt x="15980" y="7989"/>
                    </a:cubicBezTo>
                    <a:cubicBezTo>
                      <a:pt x="15980" y="3579"/>
                      <a:pt x="12405" y="0"/>
                      <a:pt x="799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0" name="Google Shape;2637;p46">
                <a:extLst>
                  <a:ext uri="{FF2B5EF4-FFF2-40B4-BE49-F238E27FC236}">
                    <a16:creationId xmlns:a16="http://schemas.microsoft.com/office/drawing/2014/main" id="{EC28B2E8-09A5-91B8-E068-11CE6D5C1953}"/>
                  </a:ext>
                </a:extLst>
              </p:cNvPr>
              <p:cNvSpPr/>
              <p:nvPr/>
            </p:nvSpPr>
            <p:spPr>
              <a:xfrm>
                <a:off x="7219467" y="1115480"/>
                <a:ext cx="387373" cy="282322"/>
              </a:xfrm>
              <a:custGeom>
                <a:avLst/>
                <a:gdLst/>
                <a:ahLst/>
                <a:cxnLst/>
                <a:rect l="l" t="t" r="r" b="b"/>
                <a:pathLst>
                  <a:path w="9451" h="6888" extrusionOk="0">
                    <a:moveTo>
                      <a:pt x="8304" y="0"/>
                    </a:moveTo>
                    <a:lnTo>
                      <a:pt x="3621" y="4505"/>
                    </a:lnTo>
                    <a:lnTo>
                      <a:pt x="1237" y="2383"/>
                    </a:lnTo>
                    <a:lnTo>
                      <a:pt x="1" y="3619"/>
                    </a:lnTo>
                    <a:lnTo>
                      <a:pt x="3445" y="6887"/>
                    </a:lnTo>
                    <a:lnTo>
                      <a:pt x="9451" y="1236"/>
                    </a:lnTo>
                    <a:lnTo>
                      <a:pt x="8304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1" name="Google Shape;2638;p46">
                <a:extLst>
                  <a:ext uri="{FF2B5EF4-FFF2-40B4-BE49-F238E27FC236}">
                    <a16:creationId xmlns:a16="http://schemas.microsoft.com/office/drawing/2014/main" id="{48135F2C-7D88-3A1A-7013-19E7165A8107}"/>
                  </a:ext>
                </a:extLst>
              </p:cNvPr>
              <p:cNvSpPr/>
              <p:nvPr/>
            </p:nvSpPr>
            <p:spPr>
              <a:xfrm>
                <a:off x="7667285" y="1995126"/>
                <a:ext cx="504310" cy="591327"/>
              </a:xfrm>
              <a:custGeom>
                <a:avLst/>
                <a:gdLst/>
                <a:ahLst/>
                <a:cxnLst/>
                <a:rect l="l" t="t" r="r" b="b"/>
                <a:pathLst>
                  <a:path w="12304" h="14427" extrusionOk="0">
                    <a:moveTo>
                      <a:pt x="3605" y="0"/>
                    </a:moveTo>
                    <a:lnTo>
                      <a:pt x="609" y="1954"/>
                    </a:lnTo>
                    <a:cubicBezTo>
                      <a:pt x="131" y="2749"/>
                      <a:pt x="180" y="3750"/>
                      <a:pt x="314" y="4669"/>
                    </a:cubicBezTo>
                    <a:cubicBezTo>
                      <a:pt x="449" y="5588"/>
                      <a:pt x="654" y="6529"/>
                      <a:pt x="449" y="7433"/>
                    </a:cubicBezTo>
                    <a:cubicBezTo>
                      <a:pt x="314" y="8031"/>
                      <a:pt x="0" y="8629"/>
                      <a:pt x="146" y="9222"/>
                    </a:cubicBezTo>
                    <a:cubicBezTo>
                      <a:pt x="251" y="9644"/>
                      <a:pt x="568" y="9977"/>
                      <a:pt x="725" y="10380"/>
                    </a:cubicBezTo>
                    <a:cubicBezTo>
                      <a:pt x="945" y="10955"/>
                      <a:pt x="822" y="11598"/>
                      <a:pt x="747" y="12210"/>
                    </a:cubicBezTo>
                    <a:cubicBezTo>
                      <a:pt x="673" y="12823"/>
                      <a:pt x="673" y="13510"/>
                      <a:pt x="1080" y="13973"/>
                    </a:cubicBezTo>
                    <a:cubicBezTo>
                      <a:pt x="1359" y="14292"/>
                      <a:pt x="1770" y="14427"/>
                      <a:pt x="2198" y="14427"/>
                    </a:cubicBezTo>
                    <a:cubicBezTo>
                      <a:pt x="2542" y="14427"/>
                      <a:pt x="2897" y="14340"/>
                      <a:pt x="3205" y="14194"/>
                    </a:cubicBezTo>
                    <a:cubicBezTo>
                      <a:pt x="3900" y="13865"/>
                      <a:pt x="4448" y="13304"/>
                      <a:pt x="5088" y="12887"/>
                    </a:cubicBezTo>
                    <a:cubicBezTo>
                      <a:pt x="5529" y="12598"/>
                      <a:pt x="6062" y="12380"/>
                      <a:pt x="6576" y="12380"/>
                    </a:cubicBezTo>
                    <a:cubicBezTo>
                      <a:pt x="6809" y="12380"/>
                      <a:pt x="7038" y="12424"/>
                      <a:pt x="7253" y="12528"/>
                    </a:cubicBezTo>
                    <a:cubicBezTo>
                      <a:pt x="7572" y="12677"/>
                      <a:pt x="7848" y="12949"/>
                      <a:pt x="8199" y="12980"/>
                    </a:cubicBezTo>
                    <a:cubicBezTo>
                      <a:pt x="8218" y="12981"/>
                      <a:pt x="8237" y="12982"/>
                      <a:pt x="8256" y="12982"/>
                    </a:cubicBezTo>
                    <a:cubicBezTo>
                      <a:pt x="8718" y="12982"/>
                      <a:pt x="9095" y="12560"/>
                      <a:pt x="9551" y="12434"/>
                    </a:cubicBezTo>
                    <a:cubicBezTo>
                      <a:pt x="9675" y="12400"/>
                      <a:pt x="9801" y="12389"/>
                      <a:pt x="9929" y="12389"/>
                    </a:cubicBezTo>
                    <a:cubicBezTo>
                      <a:pt x="10154" y="12389"/>
                      <a:pt x="10384" y="12423"/>
                      <a:pt x="10610" y="12423"/>
                    </a:cubicBezTo>
                    <a:cubicBezTo>
                      <a:pt x="10678" y="12423"/>
                      <a:pt x="10746" y="12419"/>
                      <a:pt x="10813" y="12412"/>
                    </a:cubicBezTo>
                    <a:cubicBezTo>
                      <a:pt x="11673" y="12318"/>
                      <a:pt x="12304" y="11396"/>
                      <a:pt x="12184" y="10541"/>
                    </a:cubicBezTo>
                    <a:cubicBezTo>
                      <a:pt x="12065" y="9689"/>
                      <a:pt x="11299" y="9001"/>
                      <a:pt x="10451" y="8860"/>
                    </a:cubicBezTo>
                    <a:cubicBezTo>
                      <a:pt x="10085" y="8800"/>
                      <a:pt x="9651" y="8793"/>
                      <a:pt x="9450" y="8482"/>
                    </a:cubicBezTo>
                    <a:cubicBezTo>
                      <a:pt x="9158" y="8031"/>
                      <a:pt x="9674" y="7444"/>
                      <a:pt x="9584" y="6910"/>
                    </a:cubicBezTo>
                    <a:cubicBezTo>
                      <a:pt x="9517" y="6526"/>
                      <a:pt x="9155" y="6271"/>
                      <a:pt x="8796" y="6114"/>
                    </a:cubicBezTo>
                    <a:cubicBezTo>
                      <a:pt x="8441" y="5962"/>
                      <a:pt x="8046" y="5853"/>
                      <a:pt x="7769" y="5581"/>
                    </a:cubicBezTo>
                    <a:cubicBezTo>
                      <a:pt x="7272" y="5095"/>
                      <a:pt x="7329" y="4303"/>
                      <a:pt x="7175" y="3627"/>
                    </a:cubicBezTo>
                    <a:cubicBezTo>
                      <a:pt x="6925" y="2510"/>
                      <a:pt x="5879" y="225"/>
                      <a:pt x="360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2" name="Google Shape;2639;p46">
                <a:extLst>
                  <a:ext uri="{FF2B5EF4-FFF2-40B4-BE49-F238E27FC236}">
                    <a16:creationId xmlns:a16="http://schemas.microsoft.com/office/drawing/2014/main" id="{91214B4F-23CB-BA45-F250-28E9AC8D9D1F}"/>
                  </a:ext>
                </a:extLst>
              </p:cNvPr>
              <p:cNvSpPr/>
              <p:nvPr/>
            </p:nvSpPr>
            <p:spPr>
              <a:xfrm>
                <a:off x="7542358" y="4611849"/>
                <a:ext cx="233506" cy="102018"/>
              </a:xfrm>
              <a:custGeom>
                <a:avLst/>
                <a:gdLst/>
                <a:ahLst/>
                <a:cxnLst/>
                <a:rect l="l" t="t" r="r" b="b"/>
                <a:pathLst>
                  <a:path w="5697" h="2489" extrusionOk="0">
                    <a:moveTo>
                      <a:pt x="2649" y="0"/>
                    </a:moveTo>
                    <a:lnTo>
                      <a:pt x="2604" y="1629"/>
                    </a:lnTo>
                    <a:cubicBezTo>
                      <a:pt x="2604" y="1629"/>
                      <a:pt x="1" y="2160"/>
                      <a:pt x="624" y="2365"/>
                    </a:cubicBezTo>
                    <a:cubicBezTo>
                      <a:pt x="925" y="2461"/>
                      <a:pt x="2058" y="2488"/>
                      <a:pt x="3173" y="2488"/>
                    </a:cubicBezTo>
                    <a:cubicBezTo>
                      <a:pt x="4133" y="2488"/>
                      <a:pt x="5080" y="2468"/>
                      <a:pt x="5469" y="2455"/>
                    </a:cubicBezTo>
                    <a:lnTo>
                      <a:pt x="5659" y="2447"/>
                    </a:lnTo>
                    <a:lnTo>
                      <a:pt x="5696" y="64"/>
                    </a:lnTo>
                    <a:lnTo>
                      <a:pt x="2649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3" name="Google Shape;2640;p46">
                <a:extLst>
                  <a:ext uri="{FF2B5EF4-FFF2-40B4-BE49-F238E27FC236}">
                    <a16:creationId xmlns:a16="http://schemas.microsoft.com/office/drawing/2014/main" id="{6247DE85-D8C8-DEAF-4F84-8DAEFB1C363E}"/>
                  </a:ext>
                </a:extLst>
              </p:cNvPr>
              <p:cNvSpPr/>
              <p:nvPr/>
            </p:nvSpPr>
            <p:spPr>
              <a:xfrm>
                <a:off x="7728970" y="4675172"/>
                <a:ext cx="45988" cy="35167"/>
              </a:xfrm>
              <a:custGeom>
                <a:avLst/>
                <a:gdLst/>
                <a:ahLst/>
                <a:cxnLst/>
                <a:rect l="l" t="t" r="r" b="b"/>
                <a:pathLst>
                  <a:path w="1122" h="858" extrusionOk="0">
                    <a:moveTo>
                      <a:pt x="1021" y="1"/>
                    </a:moveTo>
                    <a:cubicBezTo>
                      <a:pt x="798" y="1"/>
                      <a:pt x="583" y="78"/>
                      <a:pt x="404" y="211"/>
                    </a:cubicBezTo>
                    <a:cubicBezTo>
                      <a:pt x="195" y="368"/>
                      <a:pt x="49" y="599"/>
                      <a:pt x="1" y="853"/>
                    </a:cubicBezTo>
                    <a:lnTo>
                      <a:pt x="1102" y="858"/>
                    </a:lnTo>
                    <a:lnTo>
                      <a:pt x="1121" y="6"/>
                    </a:lnTo>
                    <a:cubicBezTo>
                      <a:pt x="1088" y="2"/>
                      <a:pt x="1054" y="1"/>
                      <a:pt x="1021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4" name="Google Shape;2641;p46">
                <a:extLst>
                  <a:ext uri="{FF2B5EF4-FFF2-40B4-BE49-F238E27FC236}">
                    <a16:creationId xmlns:a16="http://schemas.microsoft.com/office/drawing/2014/main" id="{D4A7CE74-9CE5-B9A9-9B5E-12C5D6ACC837}"/>
                  </a:ext>
                </a:extLst>
              </p:cNvPr>
              <p:cNvSpPr/>
              <p:nvPr/>
            </p:nvSpPr>
            <p:spPr>
              <a:xfrm>
                <a:off x="7610428" y="4293623"/>
                <a:ext cx="197166" cy="21142"/>
              </a:xfrm>
              <a:custGeom>
                <a:avLst/>
                <a:gdLst/>
                <a:ahLst/>
                <a:cxnLst/>
                <a:rect l="l" t="t" r="r" b="b"/>
                <a:pathLst>
                  <a:path w="5241" h="562" extrusionOk="0">
                    <a:moveTo>
                      <a:pt x="912" y="0"/>
                    </a:moveTo>
                    <a:cubicBezTo>
                      <a:pt x="912" y="0"/>
                      <a:pt x="0" y="243"/>
                      <a:pt x="109" y="396"/>
                    </a:cubicBezTo>
                    <a:cubicBezTo>
                      <a:pt x="184" y="497"/>
                      <a:pt x="1787" y="562"/>
                      <a:pt x="3296" y="562"/>
                    </a:cubicBezTo>
                    <a:cubicBezTo>
                      <a:pt x="4028" y="562"/>
                      <a:pt x="4738" y="546"/>
                      <a:pt x="5241" y="512"/>
                    </a:cubicBezTo>
                    <a:lnTo>
                      <a:pt x="5237" y="441"/>
                    </a:lnTo>
                    <a:lnTo>
                      <a:pt x="1174" y="396"/>
                    </a:lnTo>
                    <a:cubicBezTo>
                      <a:pt x="1174" y="396"/>
                      <a:pt x="1091" y="11"/>
                      <a:pt x="912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5" name="Google Shape;2642;p46">
                <a:extLst>
                  <a:ext uri="{FF2B5EF4-FFF2-40B4-BE49-F238E27FC236}">
                    <a16:creationId xmlns:a16="http://schemas.microsoft.com/office/drawing/2014/main" id="{F547EE4D-F462-3CA7-7A73-B95C18594285}"/>
                  </a:ext>
                </a:extLst>
              </p:cNvPr>
              <p:cNvSpPr/>
              <p:nvPr/>
            </p:nvSpPr>
            <p:spPr>
              <a:xfrm>
                <a:off x="7614491" y="4306488"/>
                <a:ext cx="194796" cy="4815"/>
              </a:xfrm>
              <a:custGeom>
                <a:avLst/>
                <a:gdLst/>
                <a:ahLst/>
                <a:cxnLst/>
                <a:rect l="l" t="t" r="r" b="b"/>
                <a:pathLst>
                  <a:path w="5178" h="128" extrusionOk="0">
                    <a:moveTo>
                      <a:pt x="25" y="0"/>
                    </a:moveTo>
                    <a:cubicBezTo>
                      <a:pt x="9" y="0"/>
                      <a:pt x="1" y="2"/>
                      <a:pt x="1" y="2"/>
                    </a:cubicBezTo>
                    <a:cubicBezTo>
                      <a:pt x="1" y="2"/>
                      <a:pt x="20" y="5"/>
                      <a:pt x="54" y="9"/>
                    </a:cubicBezTo>
                    <a:cubicBezTo>
                      <a:pt x="98" y="13"/>
                      <a:pt x="147" y="17"/>
                      <a:pt x="202" y="21"/>
                    </a:cubicBezTo>
                    <a:cubicBezTo>
                      <a:pt x="356" y="28"/>
                      <a:pt x="539" y="39"/>
                      <a:pt x="759" y="54"/>
                    </a:cubicBezTo>
                    <a:cubicBezTo>
                      <a:pt x="1226" y="81"/>
                      <a:pt x="1872" y="107"/>
                      <a:pt x="2590" y="117"/>
                    </a:cubicBezTo>
                    <a:cubicBezTo>
                      <a:pt x="2946" y="125"/>
                      <a:pt x="3286" y="128"/>
                      <a:pt x="3596" y="128"/>
                    </a:cubicBezTo>
                    <a:cubicBezTo>
                      <a:pt x="3905" y="128"/>
                      <a:pt x="4184" y="125"/>
                      <a:pt x="4419" y="121"/>
                    </a:cubicBezTo>
                    <a:cubicBezTo>
                      <a:pt x="4636" y="117"/>
                      <a:pt x="4823" y="114"/>
                      <a:pt x="4972" y="110"/>
                    </a:cubicBezTo>
                    <a:cubicBezTo>
                      <a:pt x="5029" y="107"/>
                      <a:pt x="5081" y="107"/>
                      <a:pt x="5126" y="103"/>
                    </a:cubicBezTo>
                    <a:cubicBezTo>
                      <a:pt x="5159" y="103"/>
                      <a:pt x="5178" y="99"/>
                      <a:pt x="5178" y="99"/>
                    </a:cubicBezTo>
                    <a:cubicBezTo>
                      <a:pt x="5178" y="99"/>
                      <a:pt x="5159" y="95"/>
                      <a:pt x="5126" y="95"/>
                    </a:cubicBezTo>
                    <a:lnTo>
                      <a:pt x="4419" y="95"/>
                    </a:lnTo>
                    <a:cubicBezTo>
                      <a:pt x="4302" y="96"/>
                      <a:pt x="4173" y="96"/>
                      <a:pt x="4035" y="96"/>
                    </a:cubicBezTo>
                    <a:cubicBezTo>
                      <a:pt x="3622" y="96"/>
                      <a:pt x="3125" y="92"/>
                      <a:pt x="2590" y="84"/>
                    </a:cubicBezTo>
                    <a:cubicBezTo>
                      <a:pt x="1872" y="69"/>
                      <a:pt x="1226" y="47"/>
                      <a:pt x="759" y="28"/>
                    </a:cubicBezTo>
                    <a:cubicBezTo>
                      <a:pt x="539" y="21"/>
                      <a:pt x="356" y="13"/>
                      <a:pt x="206" y="5"/>
                    </a:cubicBezTo>
                    <a:cubicBezTo>
                      <a:pt x="150" y="2"/>
                      <a:pt x="98" y="2"/>
                      <a:pt x="54" y="2"/>
                    </a:cubicBezTo>
                    <a:cubicBezTo>
                      <a:pt x="42" y="1"/>
                      <a:pt x="33" y="0"/>
                      <a:pt x="2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0" name="Google Shape;2643;p46">
                <a:extLst>
                  <a:ext uri="{FF2B5EF4-FFF2-40B4-BE49-F238E27FC236}">
                    <a16:creationId xmlns:a16="http://schemas.microsoft.com/office/drawing/2014/main" id="{6FC1D684-B46D-717B-2ABE-465CD9A0D7EC}"/>
                  </a:ext>
                </a:extLst>
              </p:cNvPr>
              <p:cNvSpPr/>
              <p:nvPr/>
            </p:nvSpPr>
            <p:spPr>
              <a:xfrm>
                <a:off x="7643721" y="4292155"/>
                <a:ext cx="11700" cy="18246"/>
              </a:xfrm>
              <a:custGeom>
                <a:avLst/>
                <a:gdLst/>
                <a:ahLst/>
                <a:cxnLst/>
                <a:rect l="l" t="t" r="r" b="b"/>
                <a:pathLst>
                  <a:path w="311" h="485" extrusionOk="0">
                    <a:moveTo>
                      <a:pt x="7" y="1"/>
                    </a:moveTo>
                    <a:cubicBezTo>
                      <a:pt x="6" y="1"/>
                      <a:pt x="5" y="1"/>
                      <a:pt x="5" y="2"/>
                    </a:cubicBezTo>
                    <a:cubicBezTo>
                      <a:pt x="1" y="9"/>
                      <a:pt x="113" y="81"/>
                      <a:pt x="191" y="219"/>
                    </a:cubicBezTo>
                    <a:cubicBezTo>
                      <a:pt x="273" y="353"/>
                      <a:pt x="277" y="484"/>
                      <a:pt x="289" y="484"/>
                    </a:cubicBezTo>
                    <a:cubicBezTo>
                      <a:pt x="289" y="484"/>
                      <a:pt x="289" y="484"/>
                      <a:pt x="289" y="484"/>
                    </a:cubicBezTo>
                    <a:cubicBezTo>
                      <a:pt x="300" y="484"/>
                      <a:pt x="310" y="340"/>
                      <a:pt x="221" y="200"/>
                    </a:cubicBezTo>
                    <a:cubicBezTo>
                      <a:pt x="145" y="62"/>
                      <a:pt x="28" y="1"/>
                      <a:pt x="7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1" name="Google Shape;2644;p46">
                <a:extLst>
                  <a:ext uri="{FF2B5EF4-FFF2-40B4-BE49-F238E27FC236}">
                    <a16:creationId xmlns:a16="http://schemas.microsoft.com/office/drawing/2014/main" id="{97350CBE-D789-E6E2-5488-494E8FA05B27}"/>
                  </a:ext>
                </a:extLst>
              </p:cNvPr>
              <p:cNvSpPr/>
              <p:nvPr/>
            </p:nvSpPr>
            <p:spPr>
              <a:xfrm>
                <a:off x="7638021" y="4680869"/>
                <a:ext cx="7255" cy="10493"/>
              </a:xfrm>
              <a:custGeom>
                <a:avLst/>
                <a:gdLst/>
                <a:ahLst/>
                <a:cxnLst/>
                <a:rect l="l" t="t" r="r" b="b"/>
                <a:pathLst>
                  <a:path w="177" h="256" extrusionOk="0">
                    <a:moveTo>
                      <a:pt x="14" y="1"/>
                    </a:moveTo>
                    <a:cubicBezTo>
                      <a:pt x="13" y="1"/>
                      <a:pt x="12" y="1"/>
                      <a:pt x="12" y="1"/>
                    </a:cubicBezTo>
                    <a:cubicBezTo>
                      <a:pt x="1" y="5"/>
                      <a:pt x="30" y="69"/>
                      <a:pt x="72" y="139"/>
                    </a:cubicBezTo>
                    <a:cubicBezTo>
                      <a:pt x="114" y="206"/>
                      <a:pt x="153" y="256"/>
                      <a:pt x="166" y="256"/>
                    </a:cubicBezTo>
                    <a:cubicBezTo>
                      <a:pt x="167" y="256"/>
                      <a:pt x="168" y="256"/>
                      <a:pt x="168" y="255"/>
                    </a:cubicBezTo>
                    <a:cubicBezTo>
                      <a:pt x="177" y="251"/>
                      <a:pt x="151" y="188"/>
                      <a:pt x="106" y="117"/>
                    </a:cubicBezTo>
                    <a:cubicBezTo>
                      <a:pt x="64" y="51"/>
                      <a:pt x="25" y="1"/>
                      <a:pt x="1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2" name="Google Shape;2645;p46">
                <a:extLst>
                  <a:ext uri="{FF2B5EF4-FFF2-40B4-BE49-F238E27FC236}">
                    <a16:creationId xmlns:a16="http://schemas.microsoft.com/office/drawing/2014/main" id="{A2333103-1342-1A28-4311-6C43B8321BDE}"/>
                  </a:ext>
                </a:extLst>
              </p:cNvPr>
              <p:cNvSpPr/>
              <p:nvPr/>
            </p:nvSpPr>
            <p:spPr>
              <a:xfrm>
                <a:off x="7647202" y="4679025"/>
                <a:ext cx="8198" cy="7296"/>
              </a:xfrm>
              <a:custGeom>
                <a:avLst/>
                <a:gdLst/>
                <a:ahLst/>
                <a:cxnLst/>
                <a:rect l="l" t="t" r="r" b="b"/>
                <a:pathLst>
                  <a:path w="200" h="178" extrusionOk="0">
                    <a:moveTo>
                      <a:pt x="8" y="0"/>
                    </a:moveTo>
                    <a:cubicBezTo>
                      <a:pt x="6" y="0"/>
                      <a:pt x="5" y="1"/>
                      <a:pt x="5" y="2"/>
                    </a:cubicBezTo>
                    <a:cubicBezTo>
                      <a:pt x="1" y="9"/>
                      <a:pt x="34" y="54"/>
                      <a:pt x="87" y="102"/>
                    </a:cubicBezTo>
                    <a:cubicBezTo>
                      <a:pt x="134" y="146"/>
                      <a:pt x="178" y="178"/>
                      <a:pt x="189" y="178"/>
                    </a:cubicBezTo>
                    <a:cubicBezTo>
                      <a:pt x="190" y="178"/>
                      <a:pt x="191" y="177"/>
                      <a:pt x="191" y="176"/>
                    </a:cubicBezTo>
                    <a:cubicBezTo>
                      <a:pt x="199" y="169"/>
                      <a:pt x="165" y="124"/>
                      <a:pt x="113" y="76"/>
                    </a:cubicBezTo>
                    <a:cubicBezTo>
                      <a:pt x="66" y="32"/>
                      <a:pt x="21" y="0"/>
                      <a:pt x="8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3" name="Google Shape;2646;p46">
                <a:extLst>
                  <a:ext uri="{FF2B5EF4-FFF2-40B4-BE49-F238E27FC236}">
                    <a16:creationId xmlns:a16="http://schemas.microsoft.com/office/drawing/2014/main" id="{7EE78F76-6AC6-52E5-BF98-225317BB284E}"/>
                  </a:ext>
                </a:extLst>
              </p:cNvPr>
              <p:cNvSpPr/>
              <p:nvPr/>
            </p:nvSpPr>
            <p:spPr>
              <a:xfrm>
                <a:off x="7648596" y="4673697"/>
                <a:ext cx="13198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322" h="38" extrusionOk="0">
                    <a:moveTo>
                      <a:pt x="161" y="1"/>
                    </a:moveTo>
                    <a:cubicBezTo>
                      <a:pt x="75" y="1"/>
                      <a:pt x="0" y="8"/>
                      <a:pt x="0" y="19"/>
                    </a:cubicBezTo>
                    <a:cubicBezTo>
                      <a:pt x="0" y="27"/>
                      <a:pt x="72" y="37"/>
                      <a:pt x="161" y="37"/>
                    </a:cubicBezTo>
                    <a:cubicBezTo>
                      <a:pt x="251" y="37"/>
                      <a:pt x="322" y="30"/>
                      <a:pt x="322" y="19"/>
                    </a:cubicBezTo>
                    <a:cubicBezTo>
                      <a:pt x="322" y="11"/>
                      <a:pt x="251" y="1"/>
                      <a:pt x="16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4" name="Google Shape;2647;p46">
                <a:extLst>
                  <a:ext uri="{FF2B5EF4-FFF2-40B4-BE49-F238E27FC236}">
                    <a16:creationId xmlns:a16="http://schemas.microsoft.com/office/drawing/2014/main" id="{086DA5AA-C568-F5AD-D7EF-89A324B40566}"/>
                  </a:ext>
                </a:extLst>
              </p:cNvPr>
              <p:cNvSpPr/>
              <p:nvPr/>
            </p:nvSpPr>
            <p:spPr>
              <a:xfrm>
                <a:off x="7649210" y="4666114"/>
                <a:ext cx="15042" cy="2172"/>
              </a:xfrm>
              <a:custGeom>
                <a:avLst/>
                <a:gdLst/>
                <a:ahLst/>
                <a:cxnLst/>
                <a:rect l="l" t="t" r="r" b="b"/>
                <a:pathLst>
                  <a:path w="367" h="53" extrusionOk="0">
                    <a:moveTo>
                      <a:pt x="351" y="0"/>
                    </a:moveTo>
                    <a:cubicBezTo>
                      <a:pt x="326" y="0"/>
                      <a:pt x="261" y="11"/>
                      <a:pt x="183" y="14"/>
                    </a:cubicBezTo>
                    <a:cubicBezTo>
                      <a:pt x="83" y="21"/>
                      <a:pt x="4" y="14"/>
                      <a:pt x="0" y="25"/>
                    </a:cubicBezTo>
                    <a:cubicBezTo>
                      <a:pt x="0" y="32"/>
                      <a:pt x="64" y="52"/>
                      <a:pt x="148" y="52"/>
                    </a:cubicBezTo>
                    <a:cubicBezTo>
                      <a:pt x="160" y="52"/>
                      <a:pt x="171" y="52"/>
                      <a:pt x="183" y="51"/>
                    </a:cubicBezTo>
                    <a:cubicBezTo>
                      <a:pt x="288" y="48"/>
                      <a:pt x="366" y="14"/>
                      <a:pt x="363" y="3"/>
                    </a:cubicBezTo>
                    <a:cubicBezTo>
                      <a:pt x="362" y="1"/>
                      <a:pt x="358" y="0"/>
                      <a:pt x="35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5" name="Google Shape;2648;p46">
                <a:extLst>
                  <a:ext uri="{FF2B5EF4-FFF2-40B4-BE49-F238E27FC236}">
                    <a16:creationId xmlns:a16="http://schemas.microsoft.com/office/drawing/2014/main" id="{C16D61B9-88AF-7159-295E-C706C0850A8B}"/>
                  </a:ext>
                </a:extLst>
              </p:cNvPr>
              <p:cNvSpPr/>
              <p:nvPr/>
            </p:nvSpPr>
            <p:spPr>
              <a:xfrm>
                <a:off x="7617200" y="4668860"/>
                <a:ext cx="23650" cy="13731"/>
              </a:xfrm>
              <a:custGeom>
                <a:avLst/>
                <a:gdLst/>
                <a:ahLst/>
                <a:cxnLst/>
                <a:rect l="l" t="t" r="r" b="b"/>
                <a:pathLst>
                  <a:path w="577" h="335" extrusionOk="0">
                    <a:moveTo>
                      <a:pt x="181" y="36"/>
                    </a:moveTo>
                    <a:cubicBezTo>
                      <a:pt x="221" y="36"/>
                      <a:pt x="261" y="42"/>
                      <a:pt x="295" y="51"/>
                    </a:cubicBezTo>
                    <a:cubicBezTo>
                      <a:pt x="367" y="77"/>
                      <a:pt x="423" y="119"/>
                      <a:pt x="460" y="163"/>
                    </a:cubicBezTo>
                    <a:cubicBezTo>
                      <a:pt x="493" y="205"/>
                      <a:pt x="513" y="243"/>
                      <a:pt x="524" y="273"/>
                    </a:cubicBezTo>
                    <a:lnTo>
                      <a:pt x="524" y="273"/>
                    </a:lnTo>
                    <a:cubicBezTo>
                      <a:pt x="491" y="269"/>
                      <a:pt x="443" y="263"/>
                      <a:pt x="385" y="250"/>
                    </a:cubicBezTo>
                    <a:cubicBezTo>
                      <a:pt x="326" y="238"/>
                      <a:pt x="259" y="219"/>
                      <a:pt x="183" y="193"/>
                    </a:cubicBezTo>
                    <a:cubicBezTo>
                      <a:pt x="150" y="178"/>
                      <a:pt x="109" y="167"/>
                      <a:pt x="76" y="145"/>
                    </a:cubicBezTo>
                    <a:cubicBezTo>
                      <a:pt x="42" y="122"/>
                      <a:pt x="31" y="85"/>
                      <a:pt x="61" y="62"/>
                    </a:cubicBezTo>
                    <a:cubicBezTo>
                      <a:pt x="95" y="43"/>
                      <a:pt x="138" y="36"/>
                      <a:pt x="181" y="36"/>
                    </a:cubicBezTo>
                    <a:close/>
                    <a:moveTo>
                      <a:pt x="189" y="1"/>
                    </a:moveTo>
                    <a:cubicBezTo>
                      <a:pt x="140" y="1"/>
                      <a:pt x="89" y="11"/>
                      <a:pt x="38" y="36"/>
                    </a:cubicBezTo>
                    <a:cubicBezTo>
                      <a:pt x="16" y="51"/>
                      <a:pt x="1" y="85"/>
                      <a:pt x="9" y="111"/>
                    </a:cubicBezTo>
                    <a:cubicBezTo>
                      <a:pt x="16" y="141"/>
                      <a:pt x="35" y="160"/>
                      <a:pt x="57" y="174"/>
                    </a:cubicBezTo>
                    <a:cubicBezTo>
                      <a:pt x="94" y="200"/>
                      <a:pt x="135" y="212"/>
                      <a:pt x="173" y="227"/>
                    </a:cubicBezTo>
                    <a:cubicBezTo>
                      <a:pt x="251" y="253"/>
                      <a:pt x="322" y="267"/>
                      <a:pt x="382" y="276"/>
                    </a:cubicBezTo>
                    <a:cubicBezTo>
                      <a:pt x="440" y="285"/>
                      <a:pt x="488" y="288"/>
                      <a:pt x="522" y="288"/>
                    </a:cubicBezTo>
                    <a:cubicBezTo>
                      <a:pt x="525" y="288"/>
                      <a:pt x="527" y="288"/>
                      <a:pt x="530" y="287"/>
                    </a:cubicBezTo>
                    <a:lnTo>
                      <a:pt x="530" y="287"/>
                    </a:lnTo>
                    <a:cubicBezTo>
                      <a:pt x="540" y="317"/>
                      <a:pt x="543" y="335"/>
                      <a:pt x="546" y="335"/>
                    </a:cubicBezTo>
                    <a:cubicBezTo>
                      <a:pt x="550" y="335"/>
                      <a:pt x="550" y="319"/>
                      <a:pt x="544" y="287"/>
                    </a:cubicBezTo>
                    <a:lnTo>
                      <a:pt x="544" y="287"/>
                    </a:lnTo>
                    <a:cubicBezTo>
                      <a:pt x="565" y="286"/>
                      <a:pt x="576" y="284"/>
                      <a:pt x="576" y="283"/>
                    </a:cubicBezTo>
                    <a:cubicBezTo>
                      <a:pt x="576" y="280"/>
                      <a:pt x="564" y="278"/>
                      <a:pt x="541" y="275"/>
                    </a:cubicBezTo>
                    <a:lnTo>
                      <a:pt x="541" y="275"/>
                    </a:lnTo>
                    <a:cubicBezTo>
                      <a:pt x="534" y="245"/>
                      <a:pt x="518" y="198"/>
                      <a:pt x="483" y="148"/>
                    </a:cubicBezTo>
                    <a:cubicBezTo>
                      <a:pt x="434" y="78"/>
                      <a:pt x="321" y="1"/>
                      <a:pt x="189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6" name="Google Shape;2649;p46">
                <a:extLst>
                  <a:ext uri="{FF2B5EF4-FFF2-40B4-BE49-F238E27FC236}">
                    <a16:creationId xmlns:a16="http://schemas.microsoft.com/office/drawing/2014/main" id="{25A979F6-3FD8-6093-3DC0-793A4F3BF5A0}"/>
                  </a:ext>
                </a:extLst>
              </p:cNvPr>
              <p:cNvSpPr/>
              <p:nvPr/>
            </p:nvSpPr>
            <p:spPr>
              <a:xfrm>
                <a:off x="7637447" y="4665295"/>
                <a:ext cx="12255" cy="15493"/>
              </a:xfrm>
              <a:custGeom>
                <a:avLst/>
                <a:gdLst/>
                <a:ahLst/>
                <a:cxnLst/>
                <a:rect l="l" t="t" r="r" b="b"/>
                <a:pathLst>
                  <a:path w="299" h="378" extrusionOk="0">
                    <a:moveTo>
                      <a:pt x="226" y="0"/>
                    </a:moveTo>
                    <a:cubicBezTo>
                      <a:pt x="146" y="0"/>
                      <a:pt x="103" y="57"/>
                      <a:pt x="67" y="97"/>
                    </a:cubicBezTo>
                    <a:cubicBezTo>
                      <a:pt x="34" y="146"/>
                      <a:pt x="18" y="198"/>
                      <a:pt x="11" y="239"/>
                    </a:cubicBezTo>
                    <a:cubicBezTo>
                      <a:pt x="0" y="325"/>
                      <a:pt x="28" y="377"/>
                      <a:pt x="33" y="377"/>
                    </a:cubicBezTo>
                    <a:cubicBezTo>
                      <a:pt x="33" y="377"/>
                      <a:pt x="34" y="377"/>
                      <a:pt x="34" y="377"/>
                    </a:cubicBezTo>
                    <a:cubicBezTo>
                      <a:pt x="37" y="377"/>
                      <a:pt x="22" y="325"/>
                      <a:pt x="37" y="247"/>
                    </a:cubicBezTo>
                    <a:cubicBezTo>
                      <a:pt x="44" y="206"/>
                      <a:pt x="63" y="161"/>
                      <a:pt x="97" y="120"/>
                    </a:cubicBezTo>
                    <a:cubicBezTo>
                      <a:pt x="126" y="80"/>
                      <a:pt x="175" y="37"/>
                      <a:pt x="222" y="37"/>
                    </a:cubicBezTo>
                    <a:cubicBezTo>
                      <a:pt x="224" y="37"/>
                      <a:pt x="225" y="37"/>
                      <a:pt x="227" y="37"/>
                    </a:cubicBezTo>
                    <a:cubicBezTo>
                      <a:pt x="277" y="49"/>
                      <a:pt x="258" y="123"/>
                      <a:pt x="227" y="164"/>
                    </a:cubicBezTo>
                    <a:cubicBezTo>
                      <a:pt x="201" y="209"/>
                      <a:pt x="172" y="247"/>
                      <a:pt x="146" y="280"/>
                    </a:cubicBezTo>
                    <a:cubicBezTo>
                      <a:pt x="89" y="340"/>
                      <a:pt x="44" y="370"/>
                      <a:pt x="48" y="373"/>
                    </a:cubicBezTo>
                    <a:cubicBezTo>
                      <a:pt x="48" y="374"/>
                      <a:pt x="49" y="374"/>
                      <a:pt x="50" y="374"/>
                    </a:cubicBezTo>
                    <a:cubicBezTo>
                      <a:pt x="59" y="374"/>
                      <a:pt x="105" y="351"/>
                      <a:pt x="165" y="299"/>
                    </a:cubicBezTo>
                    <a:cubicBezTo>
                      <a:pt x="194" y="269"/>
                      <a:pt x="227" y="228"/>
                      <a:pt x="258" y="180"/>
                    </a:cubicBezTo>
                    <a:cubicBezTo>
                      <a:pt x="272" y="157"/>
                      <a:pt x="287" y="127"/>
                      <a:pt x="291" y="94"/>
                    </a:cubicBezTo>
                    <a:cubicBezTo>
                      <a:pt x="299" y="60"/>
                      <a:pt x="280" y="8"/>
                      <a:pt x="235" y="0"/>
                    </a:cubicBezTo>
                    <a:cubicBezTo>
                      <a:pt x="232" y="0"/>
                      <a:pt x="229" y="0"/>
                      <a:pt x="22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7" name="Google Shape;2650;p46">
                <a:extLst>
                  <a:ext uri="{FF2B5EF4-FFF2-40B4-BE49-F238E27FC236}">
                    <a16:creationId xmlns:a16="http://schemas.microsoft.com/office/drawing/2014/main" id="{8A4B2BC2-A135-160B-7BB2-AA69DCED118B}"/>
                  </a:ext>
                </a:extLst>
              </p:cNvPr>
              <p:cNvSpPr/>
              <p:nvPr/>
            </p:nvSpPr>
            <p:spPr>
              <a:xfrm>
                <a:off x="7729134" y="4673943"/>
                <a:ext cx="45168" cy="35618"/>
              </a:xfrm>
              <a:custGeom>
                <a:avLst/>
                <a:gdLst/>
                <a:ahLst/>
                <a:cxnLst/>
                <a:rect l="l" t="t" r="r" b="b"/>
                <a:pathLst>
                  <a:path w="1102" h="869" extrusionOk="0">
                    <a:moveTo>
                      <a:pt x="913" y="1"/>
                    </a:moveTo>
                    <a:cubicBezTo>
                      <a:pt x="901" y="1"/>
                      <a:pt x="888" y="1"/>
                      <a:pt x="874" y="2"/>
                    </a:cubicBezTo>
                    <a:cubicBezTo>
                      <a:pt x="732" y="9"/>
                      <a:pt x="531" y="58"/>
                      <a:pt x="359" y="193"/>
                    </a:cubicBezTo>
                    <a:cubicBezTo>
                      <a:pt x="183" y="327"/>
                      <a:pt x="83" y="507"/>
                      <a:pt x="38" y="641"/>
                    </a:cubicBezTo>
                    <a:cubicBezTo>
                      <a:pt x="19" y="708"/>
                      <a:pt x="7" y="767"/>
                      <a:pt x="4" y="805"/>
                    </a:cubicBezTo>
                    <a:cubicBezTo>
                      <a:pt x="0" y="846"/>
                      <a:pt x="0" y="865"/>
                      <a:pt x="0" y="869"/>
                    </a:cubicBezTo>
                    <a:cubicBezTo>
                      <a:pt x="7" y="869"/>
                      <a:pt x="15" y="779"/>
                      <a:pt x="64" y="652"/>
                    </a:cubicBezTo>
                    <a:cubicBezTo>
                      <a:pt x="112" y="521"/>
                      <a:pt x="213" y="350"/>
                      <a:pt x="381" y="222"/>
                    </a:cubicBezTo>
                    <a:cubicBezTo>
                      <a:pt x="550" y="95"/>
                      <a:pt x="740" y="43"/>
                      <a:pt x="874" y="28"/>
                    </a:cubicBezTo>
                    <a:cubicBezTo>
                      <a:pt x="915" y="25"/>
                      <a:pt x="951" y="24"/>
                      <a:pt x="982" y="24"/>
                    </a:cubicBezTo>
                    <a:cubicBezTo>
                      <a:pt x="1033" y="24"/>
                      <a:pt x="1069" y="26"/>
                      <a:pt x="1088" y="26"/>
                    </a:cubicBezTo>
                    <a:cubicBezTo>
                      <a:pt x="1096" y="26"/>
                      <a:pt x="1101" y="26"/>
                      <a:pt x="1102" y="24"/>
                    </a:cubicBezTo>
                    <a:cubicBezTo>
                      <a:pt x="1102" y="24"/>
                      <a:pt x="1079" y="17"/>
                      <a:pt x="1043" y="9"/>
                    </a:cubicBezTo>
                    <a:cubicBezTo>
                      <a:pt x="1009" y="6"/>
                      <a:pt x="966" y="1"/>
                      <a:pt x="91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8" name="Google Shape;2651;p46">
                <a:extLst>
                  <a:ext uri="{FF2B5EF4-FFF2-40B4-BE49-F238E27FC236}">
                    <a16:creationId xmlns:a16="http://schemas.microsoft.com/office/drawing/2014/main" id="{8AA19DAF-E84A-B6D4-D305-FD5EC96328F4}"/>
                  </a:ext>
                </a:extLst>
              </p:cNvPr>
              <p:cNvSpPr/>
              <p:nvPr/>
            </p:nvSpPr>
            <p:spPr>
              <a:xfrm>
                <a:off x="7761267" y="4622710"/>
                <a:ext cx="1721" cy="51316"/>
              </a:xfrm>
              <a:custGeom>
                <a:avLst/>
                <a:gdLst/>
                <a:ahLst/>
                <a:cxnLst/>
                <a:rect l="l" t="t" r="r" b="b"/>
                <a:pathLst>
                  <a:path w="42" h="1252" extrusionOk="0">
                    <a:moveTo>
                      <a:pt x="26" y="0"/>
                    </a:moveTo>
                    <a:cubicBezTo>
                      <a:pt x="16" y="0"/>
                      <a:pt x="4" y="281"/>
                      <a:pt x="4" y="628"/>
                    </a:cubicBezTo>
                    <a:cubicBezTo>
                      <a:pt x="0" y="972"/>
                      <a:pt x="8" y="1252"/>
                      <a:pt x="16" y="1252"/>
                    </a:cubicBezTo>
                    <a:cubicBezTo>
                      <a:pt x="16" y="1252"/>
                      <a:pt x="16" y="1252"/>
                      <a:pt x="16" y="1252"/>
                    </a:cubicBezTo>
                    <a:cubicBezTo>
                      <a:pt x="27" y="1252"/>
                      <a:pt x="38" y="970"/>
                      <a:pt x="38" y="628"/>
                    </a:cubicBezTo>
                    <a:cubicBezTo>
                      <a:pt x="42" y="281"/>
                      <a:pt x="35" y="0"/>
                      <a:pt x="2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9" name="Google Shape;2652;p46">
                <a:extLst>
                  <a:ext uri="{FF2B5EF4-FFF2-40B4-BE49-F238E27FC236}">
                    <a16:creationId xmlns:a16="http://schemas.microsoft.com/office/drawing/2014/main" id="{123EB2CA-CA66-2ED3-287A-E45D4AA2C869}"/>
                  </a:ext>
                </a:extLst>
              </p:cNvPr>
              <p:cNvSpPr/>
              <p:nvPr/>
            </p:nvSpPr>
            <p:spPr>
              <a:xfrm>
                <a:off x="7718206" y="4299077"/>
                <a:ext cx="33632" cy="1881"/>
              </a:xfrm>
              <a:custGeom>
                <a:avLst/>
                <a:gdLst/>
                <a:ahLst/>
                <a:cxnLst/>
                <a:rect l="l" t="t" r="r" b="b"/>
                <a:pathLst>
                  <a:path w="894" h="50" extrusionOk="0">
                    <a:moveTo>
                      <a:pt x="28" y="1"/>
                    </a:moveTo>
                    <a:cubicBezTo>
                      <a:pt x="10" y="1"/>
                      <a:pt x="0" y="2"/>
                      <a:pt x="0" y="4"/>
                    </a:cubicBezTo>
                    <a:cubicBezTo>
                      <a:pt x="0" y="16"/>
                      <a:pt x="198" y="46"/>
                      <a:pt x="445" y="49"/>
                    </a:cubicBezTo>
                    <a:cubicBezTo>
                      <a:pt x="462" y="49"/>
                      <a:pt x="479" y="50"/>
                      <a:pt x="495" y="50"/>
                    </a:cubicBezTo>
                    <a:cubicBezTo>
                      <a:pt x="721" y="50"/>
                      <a:pt x="893" y="23"/>
                      <a:pt x="893" y="16"/>
                    </a:cubicBezTo>
                    <a:cubicBezTo>
                      <a:pt x="893" y="12"/>
                      <a:pt x="868" y="11"/>
                      <a:pt x="825" y="11"/>
                    </a:cubicBezTo>
                    <a:cubicBezTo>
                      <a:pt x="763" y="11"/>
                      <a:pt x="665" y="13"/>
                      <a:pt x="550" y="13"/>
                    </a:cubicBezTo>
                    <a:cubicBezTo>
                      <a:pt x="517" y="13"/>
                      <a:pt x="483" y="13"/>
                      <a:pt x="448" y="12"/>
                    </a:cubicBezTo>
                    <a:cubicBezTo>
                      <a:pt x="257" y="12"/>
                      <a:pt x="92" y="1"/>
                      <a:pt x="28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0" name="Google Shape;2653;p46">
                <a:extLst>
                  <a:ext uri="{FF2B5EF4-FFF2-40B4-BE49-F238E27FC236}">
                    <a16:creationId xmlns:a16="http://schemas.microsoft.com/office/drawing/2014/main" id="{F39A8339-5829-E3F6-FB4F-8FCC7C3E3061}"/>
                  </a:ext>
                </a:extLst>
              </p:cNvPr>
              <p:cNvSpPr/>
              <p:nvPr/>
            </p:nvSpPr>
            <p:spPr>
              <a:xfrm>
                <a:off x="7770609" y="4299905"/>
                <a:ext cx="3988" cy="6546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74" extrusionOk="0">
                    <a:moveTo>
                      <a:pt x="95" y="0"/>
                    </a:moveTo>
                    <a:cubicBezTo>
                      <a:pt x="82" y="0"/>
                      <a:pt x="47" y="29"/>
                      <a:pt x="27" y="76"/>
                    </a:cubicBezTo>
                    <a:cubicBezTo>
                      <a:pt x="0" y="125"/>
                      <a:pt x="5" y="173"/>
                      <a:pt x="16" y="173"/>
                    </a:cubicBezTo>
                    <a:cubicBezTo>
                      <a:pt x="16" y="173"/>
                      <a:pt x="17" y="173"/>
                      <a:pt x="17" y="173"/>
                    </a:cubicBezTo>
                    <a:cubicBezTo>
                      <a:pt x="28" y="173"/>
                      <a:pt x="39" y="134"/>
                      <a:pt x="60" y="91"/>
                    </a:cubicBezTo>
                    <a:cubicBezTo>
                      <a:pt x="79" y="46"/>
                      <a:pt x="105" y="9"/>
                      <a:pt x="98" y="1"/>
                    </a:cubicBezTo>
                    <a:cubicBezTo>
                      <a:pt x="97" y="0"/>
                      <a:pt x="96" y="0"/>
                      <a:pt x="9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1" name="Google Shape;2654;p46">
                <a:extLst>
                  <a:ext uri="{FF2B5EF4-FFF2-40B4-BE49-F238E27FC236}">
                    <a16:creationId xmlns:a16="http://schemas.microsoft.com/office/drawing/2014/main" id="{2127C96D-DDF8-7A48-C0B5-A10D2A01E40D}"/>
                  </a:ext>
                </a:extLst>
              </p:cNvPr>
              <p:cNvSpPr/>
              <p:nvPr/>
            </p:nvSpPr>
            <p:spPr>
              <a:xfrm>
                <a:off x="7742455" y="4686812"/>
                <a:ext cx="5369" cy="4755"/>
              </a:xfrm>
              <a:custGeom>
                <a:avLst/>
                <a:gdLst/>
                <a:ahLst/>
                <a:cxnLst/>
                <a:rect l="l" t="t" r="r" b="b"/>
                <a:pathLst>
                  <a:path w="131" h="116" extrusionOk="0">
                    <a:moveTo>
                      <a:pt x="119" y="0"/>
                    </a:moveTo>
                    <a:cubicBezTo>
                      <a:pt x="106" y="0"/>
                      <a:pt x="78" y="18"/>
                      <a:pt x="52" y="43"/>
                    </a:cubicBezTo>
                    <a:cubicBezTo>
                      <a:pt x="18" y="76"/>
                      <a:pt x="0" y="106"/>
                      <a:pt x="8" y="114"/>
                    </a:cubicBezTo>
                    <a:cubicBezTo>
                      <a:pt x="8" y="115"/>
                      <a:pt x="9" y="115"/>
                      <a:pt x="11" y="115"/>
                    </a:cubicBezTo>
                    <a:cubicBezTo>
                      <a:pt x="21" y="115"/>
                      <a:pt x="50" y="98"/>
                      <a:pt x="78" y="69"/>
                    </a:cubicBezTo>
                    <a:cubicBezTo>
                      <a:pt x="108" y="39"/>
                      <a:pt x="130" y="9"/>
                      <a:pt x="123" y="2"/>
                    </a:cubicBezTo>
                    <a:cubicBezTo>
                      <a:pt x="122" y="1"/>
                      <a:pt x="121" y="0"/>
                      <a:pt x="11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2" name="Google Shape;2655;p46">
                <a:extLst>
                  <a:ext uri="{FF2B5EF4-FFF2-40B4-BE49-F238E27FC236}">
                    <a16:creationId xmlns:a16="http://schemas.microsoft.com/office/drawing/2014/main" id="{A7360980-74F4-25A7-E47F-E4DE2FAB6BB5}"/>
                  </a:ext>
                </a:extLst>
              </p:cNvPr>
              <p:cNvSpPr/>
              <p:nvPr/>
            </p:nvSpPr>
            <p:spPr>
              <a:xfrm>
                <a:off x="7753275" y="4681033"/>
                <a:ext cx="7706" cy="3156"/>
              </a:xfrm>
              <a:custGeom>
                <a:avLst/>
                <a:gdLst/>
                <a:ahLst/>
                <a:cxnLst/>
                <a:rect l="l" t="t" r="r" b="b"/>
                <a:pathLst>
                  <a:path w="188" h="77" extrusionOk="0">
                    <a:moveTo>
                      <a:pt x="132" y="0"/>
                    </a:moveTo>
                    <a:cubicBezTo>
                      <a:pt x="117" y="0"/>
                      <a:pt x="101" y="2"/>
                      <a:pt x="83" y="8"/>
                    </a:cubicBezTo>
                    <a:cubicBezTo>
                      <a:pt x="28" y="27"/>
                      <a:pt x="1" y="68"/>
                      <a:pt x="9" y="75"/>
                    </a:cubicBezTo>
                    <a:cubicBezTo>
                      <a:pt x="10" y="76"/>
                      <a:pt x="11" y="77"/>
                      <a:pt x="13" y="77"/>
                    </a:cubicBezTo>
                    <a:cubicBezTo>
                      <a:pt x="24" y="77"/>
                      <a:pt x="56" y="55"/>
                      <a:pt x="95" y="42"/>
                    </a:cubicBezTo>
                    <a:cubicBezTo>
                      <a:pt x="140" y="27"/>
                      <a:pt x="180" y="31"/>
                      <a:pt x="185" y="20"/>
                    </a:cubicBezTo>
                    <a:cubicBezTo>
                      <a:pt x="187" y="12"/>
                      <a:pt x="165" y="0"/>
                      <a:pt x="13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3" name="Google Shape;2656;p46">
                <a:extLst>
                  <a:ext uri="{FF2B5EF4-FFF2-40B4-BE49-F238E27FC236}">
                    <a16:creationId xmlns:a16="http://schemas.microsoft.com/office/drawing/2014/main" id="{59D00165-37DE-DEDB-AAD7-E7A960323A97}"/>
                  </a:ext>
                </a:extLst>
              </p:cNvPr>
              <p:cNvSpPr/>
              <p:nvPr/>
            </p:nvSpPr>
            <p:spPr>
              <a:xfrm>
                <a:off x="7766350" y="4679189"/>
                <a:ext cx="3976" cy="2090"/>
              </a:xfrm>
              <a:custGeom>
                <a:avLst/>
                <a:gdLst/>
                <a:ahLst/>
                <a:cxnLst/>
                <a:rect l="l" t="t" r="r" b="b"/>
                <a:pathLst>
                  <a:path w="97" h="51" extrusionOk="0">
                    <a:moveTo>
                      <a:pt x="77" y="0"/>
                    </a:moveTo>
                    <a:cubicBezTo>
                      <a:pt x="67" y="0"/>
                      <a:pt x="54" y="3"/>
                      <a:pt x="41" y="8"/>
                    </a:cubicBezTo>
                    <a:cubicBezTo>
                      <a:pt x="18" y="15"/>
                      <a:pt x="0" y="31"/>
                      <a:pt x="4" y="42"/>
                    </a:cubicBezTo>
                    <a:cubicBezTo>
                      <a:pt x="6" y="48"/>
                      <a:pt x="12" y="50"/>
                      <a:pt x="21" y="50"/>
                    </a:cubicBezTo>
                    <a:cubicBezTo>
                      <a:pt x="31" y="50"/>
                      <a:pt x="43" y="48"/>
                      <a:pt x="56" y="42"/>
                    </a:cubicBezTo>
                    <a:cubicBezTo>
                      <a:pt x="82" y="34"/>
                      <a:pt x="97" y="20"/>
                      <a:pt x="93" y="8"/>
                    </a:cubicBezTo>
                    <a:cubicBezTo>
                      <a:pt x="93" y="3"/>
                      <a:pt x="87" y="0"/>
                      <a:pt x="7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4" name="Google Shape;2657;p46">
                <a:extLst>
                  <a:ext uri="{FF2B5EF4-FFF2-40B4-BE49-F238E27FC236}">
                    <a16:creationId xmlns:a16="http://schemas.microsoft.com/office/drawing/2014/main" id="{A6113940-560A-27D5-C074-927E0D545999}"/>
                  </a:ext>
                </a:extLst>
              </p:cNvPr>
              <p:cNvSpPr/>
              <p:nvPr/>
            </p:nvSpPr>
            <p:spPr>
              <a:xfrm>
                <a:off x="7897056" y="4611849"/>
                <a:ext cx="233506" cy="102018"/>
              </a:xfrm>
              <a:custGeom>
                <a:avLst/>
                <a:gdLst/>
                <a:ahLst/>
                <a:cxnLst/>
                <a:rect l="l" t="t" r="r" b="b"/>
                <a:pathLst>
                  <a:path w="5697" h="2489" extrusionOk="0">
                    <a:moveTo>
                      <a:pt x="2649" y="0"/>
                    </a:moveTo>
                    <a:lnTo>
                      <a:pt x="2604" y="1629"/>
                    </a:lnTo>
                    <a:cubicBezTo>
                      <a:pt x="2604" y="1629"/>
                      <a:pt x="1" y="2160"/>
                      <a:pt x="625" y="2365"/>
                    </a:cubicBezTo>
                    <a:cubicBezTo>
                      <a:pt x="926" y="2461"/>
                      <a:pt x="2058" y="2488"/>
                      <a:pt x="3174" y="2488"/>
                    </a:cubicBezTo>
                    <a:cubicBezTo>
                      <a:pt x="4134" y="2488"/>
                      <a:pt x="5082" y="2468"/>
                      <a:pt x="5472" y="2455"/>
                    </a:cubicBezTo>
                    <a:lnTo>
                      <a:pt x="5659" y="2447"/>
                    </a:lnTo>
                    <a:lnTo>
                      <a:pt x="5697" y="64"/>
                    </a:lnTo>
                    <a:lnTo>
                      <a:pt x="2649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" name="Google Shape;2658;p46">
                <a:extLst>
                  <a:ext uri="{FF2B5EF4-FFF2-40B4-BE49-F238E27FC236}">
                    <a16:creationId xmlns:a16="http://schemas.microsoft.com/office/drawing/2014/main" id="{5C2EA6EA-32F2-F752-D029-F09B5073B7B0}"/>
                  </a:ext>
                </a:extLst>
              </p:cNvPr>
              <p:cNvSpPr/>
              <p:nvPr/>
            </p:nvSpPr>
            <p:spPr>
              <a:xfrm>
                <a:off x="8083667" y="4675172"/>
                <a:ext cx="45988" cy="35167"/>
              </a:xfrm>
              <a:custGeom>
                <a:avLst/>
                <a:gdLst/>
                <a:ahLst/>
                <a:cxnLst/>
                <a:rect l="l" t="t" r="r" b="b"/>
                <a:pathLst>
                  <a:path w="1122" h="858" extrusionOk="0">
                    <a:moveTo>
                      <a:pt x="1022" y="1"/>
                    </a:moveTo>
                    <a:cubicBezTo>
                      <a:pt x="800" y="1"/>
                      <a:pt x="586" y="78"/>
                      <a:pt x="404" y="211"/>
                    </a:cubicBezTo>
                    <a:cubicBezTo>
                      <a:pt x="199" y="368"/>
                      <a:pt x="49" y="599"/>
                      <a:pt x="1" y="853"/>
                    </a:cubicBezTo>
                    <a:lnTo>
                      <a:pt x="1106" y="858"/>
                    </a:lnTo>
                    <a:lnTo>
                      <a:pt x="1121" y="6"/>
                    </a:lnTo>
                    <a:cubicBezTo>
                      <a:pt x="1088" y="2"/>
                      <a:pt x="1055" y="1"/>
                      <a:pt x="1022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6" name="Google Shape;2659;p46">
                <a:extLst>
                  <a:ext uri="{FF2B5EF4-FFF2-40B4-BE49-F238E27FC236}">
                    <a16:creationId xmlns:a16="http://schemas.microsoft.com/office/drawing/2014/main" id="{EC6B52B0-09F9-7CBF-6028-F796C2F3D0AB}"/>
                  </a:ext>
                </a:extLst>
              </p:cNvPr>
              <p:cNvSpPr/>
              <p:nvPr/>
            </p:nvSpPr>
            <p:spPr>
              <a:xfrm>
                <a:off x="7936020" y="4293623"/>
                <a:ext cx="197129" cy="21142"/>
              </a:xfrm>
              <a:custGeom>
                <a:avLst/>
                <a:gdLst/>
                <a:ahLst/>
                <a:cxnLst/>
                <a:rect l="l" t="t" r="r" b="b"/>
                <a:pathLst>
                  <a:path w="5240" h="562" extrusionOk="0">
                    <a:moveTo>
                      <a:pt x="911" y="0"/>
                    </a:moveTo>
                    <a:cubicBezTo>
                      <a:pt x="911" y="0"/>
                      <a:pt x="0" y="243"/>
                      <a:pt x="108" y="396"/>
                    </a:cubicBezTo>
                    <a:cubicBezTo>
                      <a:pt x="183" y="497"/>
                      <a:pt x="1786" y="562"/>
                      <a:pt x="3295" y="562"/>
                    </a:cubicBezTo>
                    <a:cubicBezTo>
                      <a:pt x="4027" y="562"/>
                      <a:pt x="4737" y="546"/>
                      <a:pt x="5240" y="512"/>
                    </a:cubicBezTo>
                    <a:lnTo>
                      <a:pt x="5236" y="441"/>
                    </a:lnTo>
                    <a:lnTo>
                      <a:pt x="1176" y="396"/>
                    </a:lnTo>
                    <a:cubicBezTo>
                      <a:pt x="1176" y="396"/>
                      <a:pt x="1090" y="11"/>
                      <a:pt x="911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7" name="Google Shape;2660;p46">
                <a:extLst>
                  <a:ext uri="{FF2B5EF4-FFF2-40B4-BE49-F238E27FC236}">
                    <a16:creationId xmlns:a16="http://schemas.microsoft.com/office/drawing/2014/main" id="{F83AFB27-BFDB-7C7F-2622-F1C092A53282}"/>
                  </a:ext>
                </a:extLst>
              </p:cNvPr>
              <p:cNvSpPr/>
              <p:nvPr/>
            </p:nvSpPr>
            <p:spPr>
              <a:xfrm>
                <a:off x="7940045" y="4306488"/>
                <a:ext cx="194796" cy="4815"/>
              </a:xfrm>
              <a:custGeom>
                <a:avLst/>
                <a:gdLst/>
                <a:ahLst/>
                <a:cxnLst/>
                <a:rect l="l" t="t" r="r" b="b"/>
                <a:pathLst>
                  <a:path w="5178" h="128" extrusionOk="0">
                    <a:moveTo>
                      <a:pt x="25" y="0"/>
                    </a:moveTo>
                    <a:cubicBezTo>
                      <a:pt x="9" y="0"/>
                      <a:pt x="1" y="2"/>
                      <a:pt x="1" y="2"/>
                    </a:cubicBezTo>
                    <a:cubicBezTo>
                      <a:pt x="1" y="2"/>
                      <a:pt x="20" y="5"/>
                      <a:pt x="54" y="9"/>
                    </a:cubicBezTo>
                    <a:cubicBezTo>
                      <a:pt x="99" y="13"/>
                      <a:pt x="151" y="17"/>
                      <a:pt x="207" y="21"/>
                    </a:cubicBezTo>
                    <a:cubicBezTo>
                      <a:pt x="356" y="28"/>
                      <a:pt x="539" y="39"/>
                      <a:pt x="759" y="54"/>
                    </a:cubicBezTo>
                    <a:cubicBezTo>
                      <a:pt x="1226" y="81"/>
                      <a:pt x="1873" y="107"/>
                      <a:pt x="2590" y="117"/>
                    </a:cubicBezTo>
                    <a:cubicBezTo>
                      <a:pt x="2947" y="125"/>
                      <a:pt x="3287" y="128"/>
                      <a:pt x="3597" y="128"/>
                    </a:cubicBezTo>
                    <a:cubicBezTo>
                      <a:pt x="3908" y="128"/>
                      <a:pt x="4187" y="125"/>
                      <a:pt x="4420" y="121"/>
                    </a:cubicBezTo>
                    <a:cubicBezTo>
                      <a:pt x="4640" y="117"/>
                      <a:pt x="4824" y="114"/>
                      <a:pt x="4976" y="110"/>
                    </a:cubicBezTo>
                    <a:cubicBezTo>
                      <a:pt x="5033" y="107"/>
                      <a:pt x="5081" y="107"/>
                      <a:pt x="5126" y="103"/>
                    </a:cubicBezTo>
                    <a:cubicBezTo>
                      <a:pt x="5160" y="103"/>
                      <a:pt x="5178" y="99"/>
                      <a:pt x="5178" y="99"/>
                    </a:cubicBezTo>
                    <a:cubicBezTo>
                      <a:pt x="5178" y="99"/>
                      <a:pt x="5160" y="95"/>
                      <a:pt x="5126" y="95"/>
                    </a:cubicBezTo>
                    <a:lnTo>
                      <a:pt x="4420" y="95"/>
                    </a:lnTo>
                    <a:cubicBezTo>
                      <a:pt x="4303" y="96"/>
                      <a:pt x="4175" y="96"/>
                      <a:pt x="4038" y="96"/>
                    </a:cubicBezTo>
                    <a:cubicBezTo>
                      <a:pt x="3624" y="96"/>
                      <a:pt x="3125" y="92"/>
                      <a:pt x="2590" y="84"/>
                    </a:cubicBezTo>
                    <a:cubicBezTo>
                      <a:pt x="1876" y="69"/>
                      <a:pt x="1230" y="47"/>
                      <a:pt x="759" y="28"/>
                    </a:cubicBezTo>
                    <a:cubicBezTo>
                      <a:pt x="543" y="21"/>
                      <a:pt x="356" y="13"/>
                      <a:pt x="207" y="5"/>
                    </a:cubicBezTo>
                    <a:cubicBezTo>
                      <a:pt x="151" y="2"/>
                      <a:pt x="102" y="2"/>
                      <a:pt x="54" y="2"/>
                    </a:cubicBezTo>
                    <a:cubicBezTo>
                      <a:pt x="42" y="1"/>
                      <a:pt x="33" y="0"/>
                      <a:pt x="2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8" name="Google Shape;2661;p46">
                <a:extLst>
                  <a:ext uri="{FF2B5EF4-FFF2-40B4-BE49-F238E27FC236}">
                    <a16:creationId xmlns:a16="http://schemas.microsoft.com/office/drawing/2014/main" id="{2E2E96B4-A0F2-4F32-586F-0BA1483FDD73}"/>
                  </a:ext>
                </a:extLst>
              </p:cNvPr>
              <p:cNvSpPr/>
              <p:nvPr/>
            </p:nvSpPr>
            <p:spPr>
              <a:xfrm>
                <a:off x="7969313" y="4292155"/>
                <a:ext cx="11662" cy="18246"/>
              </a:xfrm>
              <a:custGeom>
                <a:avLst/>
                <a:gdLst/>
                <a:ahLst/>
                <a:cxnLst/>
                <a:rect l="l" t="t" r="r" b="b"/>
                <a:pathLst>
                  <a:path w="310" h="485" extrusionOk="0">
                    <a:moveTo>
                      <a:pt x="9" y="1"/>
                    </a:moveTo>
                    <a:cubicBezTo>
                      <a:pt x="8" y="1"/>
                      <a:pt x="7" y="1"/>
                      <a:pt x="7" y="2"/>
                    </a:cubicBezTo>
                    <a:cubicBezTo>
                      <a:pt x="0" y="9"/>
                      <a:pt x="112" y="81"/>
                      <a:pt x="191" y="219"/>
                    </a:cubicBezTo>
                    <a:cubicBezTo>
                      <a:pt x="273" y="353"/>
                      <a:pt x="276" y="484"/>
                      <a:pt x="288" y="484"/>
                    </a:cubicBezTo>
                    <a:cubicBezTo>
                      <a:pt x="288" y="484"/>
                      <a:pt x="288" y="484"/>
                      <a:pt x="288" y="484"/>
                    </a:cubicBezTo>
                    <a:cubicBezTo>
                      <a:pt x="299" y="484"/>
                      <a:pt x="309" y="340"/>
                      <a:pt x="224" y="200"/>
                    </a:cubicBezTo>
                    <a:cubicBezTo>
                      <a:pt x="145" y="62"/>
                      <a:pt x="27" y="1"/>
                      <a:pt x="9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9" name="Google Shape;2662;p46">
                <a:extLst>
                  <a:ext uri="{FF2B5EF4-FFF2-40B4-BE49-F238E27FC236}">
                    <a16:creationId xmlns:a16="http://schemas.microsoft.com/office/drawing/2014/main" id="{E04A254A-CDDC-F849-AF68-442B71D1917A}"/>
                  </a:ext>
                </a:extLst>
              </p:cNvPr>
              <p:cNvSpPr/>
              <p:nvPr/>
            </p:nvSpPr>
            <p:spPr>
              <a:xfrm>
                <a:off x="7992882" y="4680869"/>
                <a:ext cx="7091" cy="10493"/>
              </a:xfrm>
              <a:custGeom>
                <a:avLst/>
                <a:gdLst/>
                <a:ahLst/>
                <a:cxnLst/>
                <a:rect l="l" t="t" r="r" b="b"/>
                <a:pathLst>
                  <a:path w="173" h="256" extrusionOk="0">
                    <a:moveTo>
                      <a:pt x="11" y="1"/>
                    </a:moveTo>
                    <a:cubicBezTo>
                      <a:pt x="10" y="1"/>
                      <a:pt x="9" y="1"/>
                      <a:pt x="9" y="1"/>
                    </a:cubicBezTo>
                    <a:cubicBezTo>
                      <a:pt x="1" y="5"/>
                      <a:pt x="27" y="69"/>
                      <a:pt x="71" y="139"/>
                    </a:cubicBezTo>
                    <a:cubicBezTo>
                      <a:pt x="110" y="206"/>
                      <a:pt x="152" y="256"/>
                      <a:pt x="164" y="256"/>
                    </a:cubicBezTo>
                    <a:cubicBezTo>
                      <a:pt x="164" y="256"/>
                      <a:pt x="165" y="256"/>
                      <a:pt x="165" y="255"/>
                    </a:cubicBezTo>
                    <a:cubicBezTo>
                      <a:pt x="173" y="251"/>
                      <a:pt x="147" y="188"/>
                      <a:pt x="102" y="117"/>
                    </a:cubicBezTo>
                    <a:cubicBezTo>
                      <a:pt x="63" y="51"/>
                      <a:pt x="22" y="1"/>
                      <a:pt x="1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0" name="Google Shape;2663;p46">
                <a:extLst>
                  <a:ext uri="{FF2B5EF4-FFF2-40B4-BE49-F238E27FC236}">
                    <a16:creationId xmlns:a16="http://schemas.microsoft.com/office/drawing/2014/main" id="{63F46BCA-C368-967A-55AD-3B8B6C5BF3E3}"/>
                  </a:ext>
                </a:extLst>
              </p:cNvPr>
              <p:cNvSpPr/>
              <p:nvPr/>
            </p:nvSpPr>
            <p:spPr>
              <a:xfrm>
                <a:off x="8001940" y="4679025"/>
                <a:ext cx="8279" cy="7296"/>
              </a:xfrm>
              <a:custGeom>
                <a:avLst/>
                <a:gdLst/>
                <a:ahLst/>
                <a:cxnLst/>
                <a:rect l="l" t="t" r="r" b="b"/>
                <a:pathLst>
                  <a:path w="202" h="178" extrusionOk="0">
                    <a:moveTo>
                      <a:pt x="10" y="0"/>
                    </a:moveTo>
                    <a:cubicBezTo>
                      <a:pt x="9" y="0"/>
                      <a:pt x="8" y="1"/>
                      <a:pt x="7" y="2"/>
                    </a:cubicBezTo>
                    <a:cubicBezTo>
                      <a:pt x="0" y="9"/>
                      <a:pt x="34" y="54"/>
                      <a:pt x="86" y="102"/>
                    </a:cubicBezTo>
                    <a:cubicBezTo>
                      <a:pt x="133" y="146"/>
                      <a:pt x="177" y="178"/>
                      <a:pt x="191" y="178"/>
                    </a:cubicBezTo>
                    <a:cubicBezTo>
                      <a:pt x="193" y="178"/>
                      <a:pt x="194" y="177"/>
                      <a:pt x="195" y="176"/>
                    </a:cubicBezTo>
                    <a:cubicBezTo>
                      <a:pt x="202" y="169"/>
                      <a:pt x="164" y="124"/>
                      <a:pt x="112" y="76"/>
                    </a:cubicBezTo>
                    <a:cubicBezTo>
                      <a:pt x="65" y="32"/>
                      <a:pt x="21" y="0"/>
                      <a:pt x="1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1" name="Google Shape;2664;p46">
                <a:extLst>
                  <a:ext uri="{FF2B5EF4-FFF2-40B4-BE49-F238E27FC236}">
                    <a16:creationId xmlns:a16="http://schemas.microsoft.com/office/drawing/2014/main" id="{00F5E1E2-D07B-6925-0252-E285F2DD74EB}"/>
                  </a:ext>
                </a:extLst>
              </p:cNvPr>
              <p:cNvSpPr/>
              <p:nvPr/>
            </p:nvSpPr>
            <p:spPr>
              <a:xfrm>
                <a:off x="8003457" y="4673697"/>
                <a:ext cx="13075" cy="1558"/>
              </a:xfrm>
              <a:custGeom>
                <a:avLst/>
                <a:gdLst/>
                <a:ahLst/>
                <a:cxnLst/>
                <a:rect l="l" t="t" r="r" b="b"/>
                <a:pathLst>
                  <a:path w="319" h="38" extrusionOk="0">
                    <a:moveTo>
                      <a:pt x="158" y="1"/>
                    </a:moveTo>
                    <a:cubicBezTo>
                      <a:pt x="72" y="1"/>
                      <a:pt x="1" y="8"/>
                      <a:pt x="1" y="19"/>
                    </a:cubicBezTo>
                    <a:cubicBezTo>
                      <a:pt x="1" y="27"/>
                      <a:pt x="72" y="37"/>
                      <a:pt x="158" y="37"/>
                    </a:cubicBezTo>
                    <a:cubicBezTo>
                      <a:pt x="247" y="37"/>
                      <a:pt x="318" y="30"/>
                      <a:pt x="318" y="19"/>
                    </a:cubicBezTo>
                    <a:cubicBezTo>
                      <a:pt x="318" y="11"/>
                      <a:pt x="247" y="1"/>
                      <a:pt x="158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2" name="Google Shape;2665;p46">
                <a:extLst>
                  <a:ext uri="{FF2B5EF4-FFF2-40B4-BE49-F238E27FC236}">
                    <a16:creationId xmlns:a16="http://schemas.microsoft.com/office/drawing/2014/main" id="{C0EA2088-F008-257C-F2CA-B225FC9A425D}"/>
                  </a:ext>
                </a:extLst>
              </p:cNvPr>
              <p:cNvSpPr/>
              <p:nvPr/>
            </p:nvSpPr>
            <p:spPr>
              <a:xfrm>
                <a:off x="8003908" y="4666114"/>
                <a:ext cx="15083" cy="2172"/>
              </a:xfrm>
              <a:custGeom>
                <a:avLst/>
                <a:gdLst/>
                <a:ahLst/>
                <a:cxnLst/>
                <a:rect l="l" t="t" r="r" b="b"/>
                <a:pathLst>
                  <a:path w="368" h="53" extrusionOk="0">
                    <a:moveTo>
                      <a:pt x="353" y="0"/>
                    </a:moveTo>
                    <a:cubicBezTo>
                      <a:pt x="329" y="0"/>
                      <a:pt x="261" y="11"/>
                      <a:pt x="183" y="14"/>
                    </a:cubicBezTo>
                    <a:cubicBezTo>
                      <a:pt x="87" y="21"/>
                      <a:pt x="4" y="14"/>
                      <a:pt x="4" y="25"/>
                    </a:cubicBezTo>
                    <a:cubicBezTo>
                      <a:pt x="1" y="32"/>
                      <a:pt x="65" y="52"/>
                      <a:pt x="151" y="52"/>
                    </a:cubicBezTo>
                    <a:cubicBezTo>
                      <a:pt x="163" y="52"/>
                      <a:pt x="175" y="52"/>
                      <a:pt x="188" y="51"/>
                    </a:cubicBezTo>
                    <a:cubicBezTo>
                      <a:pt x="288" y="48"/>
                      <a:pt x="367" y="14"/>
                      <a:pt x="363" y="3"/>
                    </a:cubicBezTo>
                    <a:cubicBezTo>
                      <a:pt x="363" y="1"/>
                      <a:pt x="359" y="0"/>
                      <a:pt x="353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3" name="Google Shape;2666;p46">
                <a:extLst>
                  <a:ext uri="{FF2B5EF4-FFF2-40B4-BE49-F238E27FC236}">
                    <a16:creationId xmlns:a16="http://schemas.microsoft.com/office/drawing/2014/main" id="{C158B92C-B706-7739-2B5C-6D4CAF09FD22}"/>
                  </a:ext>
                </a:extLst>
              </p:cNvPr>
              <p:cNvSpPr/>
              <p:nvPr/>
            </p:nvSpPr>
            <p:spPr>
              <a:xfrm>
                <a:off x="7971897" y="4668860"/>
                <a:ext cx="23773" cy="13731"/>
              </a:xfrm>
              <a:custGeom>
                <a:avLst/>
                <a:gdLst/>
                <a:ahLst/>
                <a:cxnLst/>
                <a:rect l="l" t="t" r="r" b="b"/>
                <a:pathLst>
                  <a:path w="580" h="335" extrusionOk="0">
                    <a:moveTo>
                      <a:pt x="183" y="36"/>
                    </a:moveTo>
                    <a:cubicBezTo>
                      <a:pt x="223" y="36"/>
                      <a:pt x="264" y="42"/>
                      <a:pt x="297" y="51"/>
                    </a:cubicBezTo>
                    <a:cubicBezTo>
                      <a:pt x="371" y="77"/>
                      <a:pt x="426" y="119"/>
                      <a:pt x="461" y="163"/>
                    </a:cubicBezTo>
                    <a:cubicBezTo>
                      <a:pt x="494" y="205"/>
                      <a:pt x="513" y="243"/>
                      <a:pt x="526" y="273"/>
                    </a:cubicBezTo>
                    <a:lnTo>
                      <a:pt x="526" y="273"/>
                    </a:lnTo>
                    <a:cubicBezTo>
                      <a:pt x="492" y="269"/>
                      <a:pt x="445" y="262"/>
                      <a:pt x="386" y="250"/>
                    </a:cubicBezTo>
                    <a:cubicBezTo>
                      <a:pt x="330" y="238"/>
                      <a:pt x="259" y="219"/>
                      <a:pt x="184" y="193"/>
                    </a:cubicBezTo>
                    <a:cubicBezTo>
                      <a:pt x="150" y="178"/>
                      <a:pt x="109" y="167"/>
                      <a:pt x="76" y="145"/>
                    </a:cubicBezTo>
                    <a:cubicBezTo>
                      <a:pt x="42" y="122"/>
                      <a:pt x="31" y="85"/>
                      <a:pt x="61" y="62"/>
                    </a:cubicBezTo>
                    <a:cubicBezTo>
                      <a:pt x="95" y="43"/>
                      <a:pt x="139" y="36"/>
                      <a:pt x="183" y="36"/>
                    </a:cubicBezTo>
                    <a:close/>
                    <a:moveTo>
                      <a:pt x="190" y="1"/>
                    </a:moveTo>
                    <a:cubicBezTo>
                      <a:pt x="141" y="1"/>
                      <a:pt x="90" y="11"/>
                      <a:pt x="38" y="36"/>
                    </a:cubicBezTo>
                    <a:cubicBezTo>
                      <a:pt x="16" y="51"/>
                      <a:pt x="1" y="85"/>
                      <a:pt x="9" y="111"/>
                    </a:cubicBezTo>
                    <a:cubicBezTo>
                      <a:pt x="16" y="141"/>
                      <a:pt x="38" y="160"/>
                      <a:pt x="57" y="174"/>
                    </a:cubicBezTo>
                    <a:cubicBezTo>
                      <a:pt x="98" y="200"/>
                      <a:pt x="135" y="212"/>
                      <a:pt x="173" y="227"/>
                    </a:cubicBezTo>
                    <a:cubicBezTo>
                      <a:pt x="252" y="253"/>
                      <a:pt x="323" y="267"/>
                      <a:pt x="382" y="276"/>
                    </a:cubicBezTo>
                    <a:cubicBezTo>
                      <a:pt x="441" y="285"/>
                      <a:pt x="489" y="288"/>
                      <a:pt x="524" y="288"/>
                    </a:cubicBezTo>
                    <a:cubicBezTo>
                      <a:pt x="526" y="288"/>
                      <a:pt x="529" y="288"/>
                      <a:pt x="531" y="287"/>
                    </a:cubicBezTo>
                    <a:lnTo>
                      <a:pt x="531" y="287"/>
                    </a:lnTo>
                    <a:cubicBezTo>
                      <a:pt x="542" y="317"/>
                      <a:pt x="545" y="335"/>
                      <a:pt x="547" y="335"/>
                    </a:cubicBezTo>
                    <a:cubicBezTo>
                      <a:pt x="550" y="335"/>
                      <a:pt x="550" y="319"/>
                      <a:pt x="545" y="287"/>
                    </a:cubicBezTo>
                    <a:lnTo>
                      <a:pt x="545" y="287"/>
                    </a:lnTo>
                    <a:cubicBezTo>
                      <a:pt x="567" y="286"/>
                      <a:pt x="580" y="284"/>
                      <a:pt x="580" y="283"/>
                    </a:cubicBezTo>
                    <a:cubicBezTo>
                      <a:pt x="580" y="280"/>
                      <a:pt x="566" y="278"/>
                      <a:pt x="542" y="275"/>
                    </a:cubicBezTo>
                    <a:lnTo>
                      <a:pt x="542" y="275"/>
                    </a:lnTo>
                    <a:cubicBezTo>
                      <a:pt x="534" y="245"/>
                      <a:pt x="519" y="198"/>
                      <a:pt x="483" y="148"/>
                    </a:cubicBezTo>
                    <a:cubicBezTo>
                      <a:pt x="434" y="78"/>
                      <a:pt x="321" y="1"/>
                      <a:pt x="19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4" name="Google Shape;2667;p46">
                <a:extLst>
                  <a:ext uri="{FF2B5EF4-FFF2-40B4-BE49-F238E27FC236}">
                    <a16:creationId xmlns:a16="http://schemas.microsoft.com/office/drawing/2014/main" id="{668F0505-B7BB-E37D-7928-AFE7037360C4}"/>
                  </a:ext>
                </a:extLst>
              </p:cNvPr>
              <p:cNvSpPr/>
              <p:nvPr/>
            </p:nvSpPr>
            <p:spPr>
              <a:xfrm>
                <a:off x="7992309" y="4665295"/>
                <a:ext cx="12255" cy="15493"/>
              </a:xfrm>
              <a:custGeom>
                <a:avLst/>
                <a:gdLst/>
                <a:ahLst/>
                <a:cxnLst/>
                <a:rect l="l" t="t" r="r" b="b"/>
                <a:pathLst>
                  <a:path w="299" h="378" extrusionOk="0">
                    <a:moveTo>
                      <a:pt x="222" y="0"/>
                    </a:moveTo>
                    <a:cubicBezTo>
                      <a:pt x="142" y="0"/>
                      <a:pt x="99" y="57"/>
                      <a:pt x="67" y="97"/>
                    </a:cubicBezTo>
                    <a:cubicBezTo>
                      <a:pt x="33" y="146"/>
                      <a:pt x="15" y="198"/>
                      <a:pt x="11" y="239"/>
                    </a:cubicBezTo>
                    <a:cubicBezTo>
                      <a:pt x="1" y="325"/>
                      <a:pt x="24" y="377"/>
                      <a:pt x="29" y="377"/>
                    </a:cubicBezTo>
                    <a:cubicBezTo>
                      <a:pt x="29" y="377"/>
                      <a:pt x="30" y="377"/>
                      <a:pt x="30" y="377"/>
                    </a:cubicBezTo>
                    <a:cubicBezTo>
                      <a:pt x="37" y="377"/>
                      <a:pt x="18" y="325"/>
                      <a:pt x="33" y="247"/>
                    </a:cubicBezTo>
                    <a:cubicBezTo>
                      <a:pt x="45" y="206"/>
                      <a:pt x="63" y="161"/>
                      <a:pt x="93" y="120"/>
                    </a:cubicBezTo>
                    <a:cubicBezTo>
                      <a:pt x="122" y="80"/>
                      <a:pt x="171" y="37"/>
                      <a:pt x="219" y="37"/>
                    </a:cubicBezTo>
                    <a:cubicBezTo>
                      <a:pt x="221" y="37"/>
                      <a:pt x="222" y="37"/>
                      <a:pt x="224" y="37"/>
                    </a:cubicBezTo>
                    <a:cubicBezTo>
                      <a:pt x="273" y="49"/>
                      <a:pt x="254" y="123"/>
                      <a:pt x="224" y="164"/>
                    </a:cubicBezTo>
                    <a:cubicBezTo>
                      <a:pt x="197" y="209"/>
                      <a:pt x="168" y="247"/>
                      <a:pt x="142" y="280"/>
                    </a:cubicBezTo>
                    <a:cubicBezTo>
                      <a:pt x="85" y="340"/>
                      <a:pt x="41" y="370"/>
                      <a:pt x="45" y="373"/>
                    </a:cubicBezTo>
                    <a:cubicBezTo>
                      <a:pt x="45" y="374"/>
                      <a:pt x="46" y="374"/>
                      <a:pt x="46" y="374"/>
                    </a:cubicBezTo>
                    <a:cubicBezTo>
                      <a:pt x="55" y="374"/>
                      <a:pt x="101" y="351"/>
                      <a:pt x="161" y="299"/>
                    </a:cubicBezTo>
                    <a:cubicBezTo>
                      <a:pt x="190" y="269"/>
                      <a:pt x="224" y="228"/>
                      <a:pt x="254" y="180"/>
                    </a:cubicBezTo>
                    <a:cubicBezTo>
                      <a:pt x="269" y="157"/>
                      <a:pt x="283" y="127"/>
                      <a:pt x="292" y="94"/>
                    </a:cubicBezTo>
                    <a:cubicBezTo>
                      <a:pt x="299" y="60"/>
                      <a:pt x="276" y="8"/>
                      <a:pt x="231" y="0"/>
                    </a:cubicBezTo>
                    <a:cubicBezTo>
                      <a:pt x="228" y="0"/>
                      <a:pt x="225" y="0"/>
                      <a:pt x="22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7" name="Google Shape;2668;p46">
                <a:extLst>
                  <a:ext uri="{FF2B5EF4-FFF2-40B4-BE49-F238E27FC236}">
                    <a16:creationId xmlns:a16="http://schemas.microsoft.com/office/drawing/2014/main" id="{384083C9-EA33-F30F-5F69-668402C156FA}"/>
                  </a:ext>
                </a:extLst>
              </p:cNvPr>
              <p:cNvSpPr/>
              <p:nvPr/>
            </p:nvSpPr>
            <p:spPr>
              <a:xfrm>
                <a:off x="8083831" y="4673943"/>
                <a:ext cx="45168" cy="35618"/>
              </a:xfrm>
              <a:custGeom>
                <a:avLst/>
                <a:gdLst/>
                <a:ahLst/>
                <a:cxnLst/>
                <a:rect l="l" t="t" r="r" b="b"/>
                <a:pathLst>
                  <a:path w="1102" h="869" extrusionOk="0">
                    <a:moveTo>
                      <a:pt x="913" y="1"/>
                    </a:moveTo>
                    <a:cubicBezTo>
                      <a:pt x="901" y="1"/>
                      <a:pt x="888" y="1"/>
                      <a:pt x="874" y="2"/>
                    </a:cubicBezTo>
                    <a:cubicBezTo>
                      <a:pt x="733" y="9"/>
                      <a:pt x="534" y="58"/>
                      <a:pt x="359" y="193"/>
                    </a:cubicBezTo>
                    <a:cubicBezTo>
                      <a:pt x="183" y="327"/>
                      <a:pt x="83" y="507"/>
                      <a:pt x="41" y="641"/>
                    </a:cubicBezTo>
                    <a:cubicBezTo>
                      <a:pt x="19" y="708"/>
                      <a:pt x="8" y="767"/>
                      <a:pt x="4" y="805"/>
                    </a:cubicBezTo>
                    <a:cubicBezTo>
                      <a:pt x="0" y="846"/>
                      <a:pt x="0" y="865"/>
                      <a:pt x="4" y="869"/>
                    </a:cubicBezTo>
                    <a:cubicBezTo>
                      <a:pt x="8" y="869"/>
                      <a:pt x="15" y="779"/>
                      <a:pt x="64" y="652"/>
                    </a:cubicBezTo>
                    <a:cubicBezTo>
                      <a:pt x="112" y="521"/>
                      <a:pt x="214" y="350"/>
                      <a:pt x="381" y="222"/>
                    </a:cubicBezTo>
                    <a:cubicBezTo>
                      <a:pt x="550" y="95"/>
                      <a:pt x="740" y="43"/>
                      <a:pt x="878" y="28"/>
                    </a:cubicBezTo>
                    <a:cubicBezTo>
                      <a:pt x="919" y="25"/>
                      <a:pt x="955" y="24"/>
                      <a:pt x="986" y="24"/>
                    </a:cubicBezTo>
                    <a:cubicBezTo>
                      <a:pt x="1037" y="24"/>
                      <a:pt x="1073" y="26"/>
                      <a:pt x="1090" y="26"/>
                    </a:cubicBezTo>
                    <a:cubicBezTo>
                      <a:pt x="1098" y="26"/>
                      <a:pt x="1102" y="26"/>
                      <a:pt x="1102" y="24"/>
                    </a:cubicBezTo>
                    <a:cubicBezTo>
                      <a:pt x="1102" y="24"/>
                      <a:pt x="1080" y="17"/>
                      <a:pt x="1043" y="9"/>
                    </a:cubicBezTo>
                    <a:cubicBezTo>
                      <a:pt x="1009" y="6"/>
                      <a:pt x="966" y="1"/>
                      <a:pt x="91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8" name="Google Shape;2669;p46">
                <a:extLst>
                  <a:ext uri="{FF2B5EF4-FFF2-40B4-BE49-F238E27FC236}">
                    <a16:creationId xmlns:a16="http://schemas.microsoft.com/office/drawing/2014/main" id="{F5618F46-8E7A-D811-B992-1F60D61DA051}"/>
                  </a:ext>
                </a:extLst>
              </p:cNvPr>
              <p:cNvSpPr/>
              <p:nvPr/>
            </p:nvSpPr>
            <p:spPr>
              <a:xfrm>
                <a:off x="8115965" y="4622710"/>
                <a:ext cx="1721" cy="51316"/>
              </a:xfrm>
              <a:custGeom>
                <a:avLst/>
                <a:gdLst/>
                <a:ahLst/>
                <a:cxnLst/>
                <a:rect l="l" t="t" r="r" b="b"/>
                <a:pathLst>
                  <a:path w="42" h="1252" extrusionOk="0">
                    <a:moveTo>
                      <a:pt x="27" y="0"/>
                    </a:moveTo>
                    <a:cubicBezTo>
                      <a:pt x="16" y="0"/>
                      <a:pt x="4" y="281"/>
                      <a:pt x="4" y="628"/>
                    </a:cubicBezTo>
                    <a:cubicBezTo>
                      <a:pt x="1" y="972"/>
                      <a:pt x="9" y="1252"/>
                      <a:pt x="19" y="1252"/>
                    </a:cubicBezTo>
                    <a:cubicBezTo>
                      <a:pt x="19" y="1252"/>
                      <a:pt x="19" y="1252"/>
                      <a:pt x="20" y="1252"/>
                    </a:cubicBezTo>
                    <a:cubicBezTo>
                      <a:pt x="27" y="1252"/>
                      <a:pt x="38" y="970"/>
                      <a:pt x="42" y="628"/>
                    </a:cubicBezTo>
                    <a:cubicBezTo>
                      <a:pt x="42" y="281"/>
                      <a:pt x="38" y="0"/>
                      <a:pt x="2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9" name="Google Shape;2670;p46">
                <a:extLst>
                  <a:ext uri="{FF2B5EF4-FFF2-40B4-BE49-F238E27FC236}">
                    <a16:creationId xmlns:a16="http://schemas.microsoft.com/office/drawing/2014/main" id="{01EAF86C-7A9E-E612-0352-398D09E24E94}"/>
                  </a:ext>
                </a:extLst>
              </p:cNvPr>
              <p:cNvSpPr/>
              <p:nvPr/>
            </p:nvSpPr>
            <p:spPr>
              <a:xfrm>
                <a:off x="8043761" y="4299077"/>
                <a:ext cx="33632" cy="1881"/>
              </a:xfrm>
              <a:custGeom>
                <a:avLst/>
                <a:gdLst/>
                <a:ahLst/>
                <a:cxnLst/>
                <a:rect l="l" t="t" r="r" b="b"/>
                <a:pathLst>
                  <a:path w="894" h="50" extrusionOk="0">
                    <a:moveTo>
                      <a:pt x="30" y="1"/>
                    </a:moveTo>
                    <a:cubicBezTo>
                      <a:pt x="12" y="1"/>
                      <a:pt x="1" y="2"/>
                      <a:pt x="0" y="4"/>
                    </a:cubicBezTo>
                    <a:cubicBezTo>
                      <a:pt x="0" y="16"/>
                      <a:pt x="198" y="46"/>
                      <a:pt x="449" y="49"/>
                    </a:cubicBezTo>
                    <a:cubicBezTo>
                      <a:pt x="465" y="49"/>
                      <a:pt x="482" y="50"/>
                      <a:pt x="498" y="50"/>
                    </a:cubicBezTo>
                    <a:cubicBezTo>
                      <a:pt x="721" y="50"/>
                      <a:pt x="893" y="23"/>
                      <a:pt x="893" y="16"/>
                    </a:cubicBezTo>
                    <a:cubicBezTo>
                      <a:pt x="893" y="12"/>
                      <a:pt x="868" y="11"/>
                      <a:pt x="825" y="11"/>
                    </a:cubicBezTo>
                    <a:cubicBezTo>
                      <a:pt x="763" y="11"/>
                      <a:pt x="665" y="13"/>
                      <a:pt x="550" y="13"/>
                    </a:cubicBezTo>
                    <a:cubicBezTo>
                      <a:pt x="518" y="13"/>
                      <a:pt x="484" y="13"/>
                      <a:pt x="449" y="12"/>
                    </a:cubicBezTo>
                    <a:cubicBezTo>
                      <a:pt x="257" y="12"/>
                      <a:pt x="95" y="1"/>
                      <a:pt x="3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0" name="Google Shape;2671;p46">
                <a:extLst>
                  <a:ext uri="{FF2B5EF4-FFF2-40B4-BE49-F238E27FC236}">
                    <a16:creationId xmlns:a16="http://schemas.microsoft.com/office/drawing/2014/main" id="{FC046B0F-A91E-CD40-6AE6-3F76793BD45F}"/>
                  </a:ext>
                </a:extLst>
              </p:cNvPr>
              <p:cNvSpPr/>
              <p:nvPr/>
            </p:nvSpPr>
            <p:spPr>
              <a:xfrm>
                <a:off x="8096201" y="4299905"/>
                <a:ext cx="3950" cy="6546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74" extrusionOk="0">
                    <a:moveTo>
                      <a:pt x="94" y="0"/>
                    </a:moveTo>
                    <a:cubicBezTo>
                      <a:pt x="83" y="0"/>
                      <a:pt x="50" y="29"/>
                      <a:pt x="26" y="76"/>
                    </a:cubicBezTo>
                    <a:cubicBezTo>
                      <a:pt x="0" y="125"/>
                      <a:pt x="8" y="173"/>
                      <a:pt x="15" y="173"/>
                    </a:cubicBezTo>
                    <a:cubicBezTo>
                      <a:pt x="15" y="173"/>
                      <a:pt x="16" y="173"/>
                      <a:pt x="16" y="173"/>
                    </a:cubicBezTo>
                    <a:cubicBezTo>
                      <a:pt x="27" y="173"/>
                      <a:pt x="38" y="134"/>
                      <a:pt x="59" y="91"/>
                    </a:cubicBezTo>
                    <a:cubicBezTo>
                      <a:pt x="82" y="46"/>
                      <a:pt x="104" y="9"/>
                      <a:pt x="97" y="1"/>
                    </a:cubicBezTo>
                    <a:cubicBezTo>
                      <a:pt x="96" y="0"/>
                      <a:pt x="95" y="0"/>
                      <a:pt x="9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1" name="Google Shape;2672;p46">
                <a:extLst>
                  <a:ext uri="{FF2B5EF4-FFF2-40B4-BE49-F238E27FC236}">
                    <a16:creationId xmlns:a16="http://schemas.microsoft.com/office/drawing/2014/main" id="{A2A949AC-73CC-F188-1D2D-FC6F2F7DF378}"/>
                  </a:ext>
                </a:extLst>
              </p:cNvPr>
              <p:cNvSpPr/>
              <p:nvPr/>
            </p:nvSpPr>
            <p:spPr>
              <a:xfrm>
                <a:off x="8097152" y="4686812"/>
                <a:ext cx="5410" cy="4755"/>
              </a:xfrm>
              <a:custGeom>
                <a:avLst/>
                <a:gdLst/>
                <a:ahLst/>
                <a:cxnLst/>
                <a:rect l="l" t="t" r="r" b="b"/>
                <a:pathLst>
                  <a:path w="132" h="116" extrusionOk="0">
                    <a:moveTo>
                      <a:pt x="119" y="0"/>
                    </a:moveTo>
                    <a:cubicBezTo>
                      <a:pt x="107" y="0"/>
                      <a:pt x="78" y="18"/>
                      <a:pt x="53" y="43"/>
                    </a:cubicBezTo>
                    <a:cubicBezTo>
                      <a:pt x="19" y="76"/>
                      <a:pt x="1" y="106"/>
                      <a:pt x="8" y="114"/>
                    </a:cubicBezTo>
                    <a:cubicBezTo>
                      <a:pt x="9" y="115"/>
                      <a:pt x="10" y="115"/>
                      <a:pt x="12" y="115"/>
                    </a:cubicBezTo>
                    <a:cubicBezTo>
                      <a:pt x="24" y="115"/>
                      <a:pt x="50" y="98"/>
                      <a:pt x="79" y="69"/>
                    </a:cubicBezTo>
                    <a:cubicBezTo>
                      <a:pt x="109" y="39"/>
                      <a:pt x="131" y="9"/>
                      <a:pt x="123" y="2"/>
                    </a:cubicBezTo>
                    <a:cubicBezTo>
                      <a:pt x="122" y="1"/>
                      <a:pt x="121" y="0"/>
                      <a:pt x="11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2" name="Google Shape;2673;p46">
                <a:extLst>
                  <a:ext uri="{FF2B5EF4-FFF2-40B4-BE49-F238E27FC236}">
                    <a16:creationId xmlns:a16="http://schemas.microsoft.com/office/drawing/2014/main" id="{6E8DF864-BB4B-B514-6A46-D5513A0D108F}"/>
                  </a:ext>
                </a:extLst>
              </p:cNvPr>
              <p:cNvSpPr/>
              <p:nvPr/>
            </p:nvSpPr>
            <p:spPr>
              <a:xfrm>
                <a:off x="8108013" y="4681033"/>
                <a:ext cx="7665" cy="3156"/>
              </a:xfrm>
              <a:custGeom>
                <a:avLst/>
                <a:gdLst/>
                <a:ahLst/>
                <a:cxnLst/>
                <a:rect l="l" t="t" r="r" b="b"/>
                <a:pathLst>
                  <a:path w="187" h="77" extrusionOk="0">
                    <a:moveTo>
                      <a:pt x="131" y="0"/>
                    </a:moveTo>
                    <a:cubicBezTo>
                      <a:pt x="116" y="0"/>
                      <a:pt x="100" y="2"/>
                      <a:pt x="83" y="8"/>
                    </a:cubicBezTo>
                    <a:cubicBezTo>
                      <a:pt x="27" y="27"/>
                      <a:pt x="1" y="68"/>
                      <a:pt x="8" y="75"/>
                    </a:cubicBezTo>
                    <a:cubicBezTo>
                      <a:pt x="9" y="76"/>
                      <a:pt x="11" y="77"/>
                      <a:pt x="13" y="77"/>
                    </a:cubicBezTo>
                    <a:cubicBezTo>
                      <a:pt x="26" y="77"/>
                      <a:pt x="55" y="55"/>
                      <a:pt x="94" y="42"/>
                    </a:cubicBezTo>
                    <a:cubicBezTo>
                      <a:pt x="139" y="27"/>
                      <a:pt x="180" y="31"/>
                      <a:pt x="184" y="20"/>
                    </a:cubicBezTo>
                    <a:cubicBezTo>
                      <a:pt x="186" y="12"/>
                      <a:pt x="164" y="0"/>
                      <a:pt x="13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3" name="Google Shape;2674;p46">
                <a:extLst>
                  <a:ext uri="{FF2B5EF4-FFF2-40B4-BE49-F238E27FC236}">
                    <a16:creationId xmlns:a16="http://schemas.microsoft.com/office/drawing/2014/main" id="{2A5CBD2E-36BE-C74E-2A9E-EF25E011A6CB}"/>
                  </a:ext>
                </a:extLst>
              </p:cNvPr>
              <p:cNvSpPr/>
              <p:nvPr/>
            </p:nvSpPr>
            <p:spPr>
              <a:xfrm>
                <a:off x="8121047" y="4679189"/>
                <a:ext cx="4140" cy="2090"/>
              </a:xfrm>
              <a:custGeom>
                <a:avLst/>
                <a:gdLst/>
                <a:ahLst/>
                <a:cxnLst/>
                <a:rect l="l" t="t" r="r" b="b"/>
                <a:pathLst>
                  <a:path w="101" h="51" extrusionOk="0">
                    <a:moveTo>
                      <a:pt x="78" y="0"/>
                    </a:moveTo>
                    <a:cubicBezTo>
                      <a:pt x="68" y="0"/>
                      <a:pt x="56" y="3"/>
                      <a:pt x="45" y="8"/>
                    </a:cubicBezTo>
                    <a:cubicBezTo>
                      <a:pt x="19" y="15"/>
                      <a:pt x="0" y="31"/>
                      <a:pt x="4" y="42"/>
                    </a:cubicBezTo>
                    <a:cubicBezTo>
                      <a:pt x="6" y="48"/>
                      <a:pt x="12" y="50"/>
                      <a:pt x="21" y="50"/>
                    </a:cubicBezTo>
                    <a:cubicBezTo>
                      <a:pt x="31" y="50"/>
                      <a:pt x="43" y="48"/>
                      <a:pt x="56" y="42"/>
                    </a:cubicBezTo>
                    <a:cubicBezTo>
                      <a:pt x="82" y="34"/>
                      <a:pt x="101" y="20"/>
                      <a:pt x="97" y="8"/>
                    </a:cubicBezTo>
                    <a:cubicBezTo>
                      <a:pt x="95" y="3"/>
                      <a:pt x="88" y="0"/>
                      <a:pt x="78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4" name="Google Shape;2675;p46">
                <a:extLst>
                  <a:ext uri="{FF2B5EF4-FFF2-40B4-BE49-F238E27FC236}">
                    <a16:creationId xmlns:a16="http://schemas.microsoft.com/office/drawing/2014/main" id="{2ED8E401-3AEF-8D72-B72B-0AD1472BB604}"/>
                  </a:ext>
                </a:extLst>
              </p:cNvPr>
              <p:cNvSpPr/>
              <p:nvPr/>
            </p:nvSpPr>
            <p:spPr>
              <a:xfrm>
                <a:off x="7563917" y="2963384"/>
                <a:ext cx="615632" cy="1699260"/>
              </a:xfrm>
              <a:custGeom>
                <a:avLst/>
                <a:gdLst/>
                <a:ahLst/>
                <a:cxnLst/>
                <a:rect l="l" t="t" r="r" b="b"/>
                <a:pathLst>
                  <a:path w="15020" h="41458" extrusionOk="0">
                    <a:moveTo>
                      <a:pt x="1461" y="1"/>
                    </a:moveTo>
                    <a:lnTo>
                      <a:pt x="1" y="21798"/>
                    </a:lnTo>
                    <a:lnTo>
                      <a:pt x="1" y="41457"/>
                    </a:lnTo>
                    <a:lnTo>
                      <a:pt x="5843" y="41457"/>
                    </a:lnTo>
                    <a:cubicBezTo>
                      <a:pt x="5843" y="41457"/>
                      <a:pt x="6089" y="24503"/>
                      <a:pt x="5936" y="23394"/>
                    </a:cubicBezTo>
                    <a:cubicBezTo>
                      <a:pt x="5936" y="23394"/>
                      <a:pt x="6879" y="6654"/>
                      <a:pt x="6994" y="6654"/>
                    </a:cubicBezTo>
                    <a:cubicBezTo>
                      <a:pt x="6995" y="6654"/>
                      <a:pt x="6996" y="6655"/>
                      <a:pt x="6996" y="6657"/>
                    </a:cubicBezTo>
                    <a:cubicBezTo>
                      <a:pt x="7221" y="7154"/>
                      <a:pt x="7217" y="21586"/>
                      <a:pt x="7542" y="23375"/>
                    </a:cubicBezTo>
                    <a:cubicBezTo>
                      <a:pt x="7870" y="25165"/>
                      <a:pt x="9380" y="41457"/>
                      <a:pt x="9380" y="41457"/>
                    </a:cubicBezTo>
                    <a:lnTo>
                      <a:pt x="15020" y="41457"/>
                    </a:lnTo>
                    <a:lnTo>
                      <a:pt x="13126" y="22777"/>
                    </a:lnTo>
                    <a:cubicBezTo>
                      <a:pt x="13089" y="20529"/>
                      <a:pt x="12510" y="759"/>
                      <a:pt x="12510" y="759"/>
                    </a:cubicBezTo>
                    <a:lnTo>
                      <a:pt x="1461" y="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5" name="Google Shape;2676;p46">
                <a:extLst>
                  <a:ext uri="{FF2B5EF4-FFF2-40B4-BE49-F238E27FC236}">
                    <a16:creationId xmlns:a16="http://schemas.microsoft.com/office/drawing/2014/main" id="{8C23C388-D667-83AD-EADD-D2D7D8EF5F60}"/>
                  </a:ext>
                </a:extLst>
              </p:cNvPr>
              <p:cNvSpPr/>
              <p:nvPr/>
            </p:nvSpPr>
            <p:spPr>
              <a:xfrm>
                <a:off x="7952183" y="4598364"/>
                <a:ext cx="222029" cy="38938"/>
              </a:xfrm>
              <a:custGeom>
                <a:avLst/>
                <a:gdLst/>
                <a:ahLst/>
                <a:cxnLst/>
                <a:rect l="l" t="t" r="r" b="b"/>
                <a:pathLst>
                  <a:path w="5417" h="950" extrusionOk="0">
                    <a:moveTo>
                      <a:pt x="3602" y="0"/>
                    </a:moveTo>
                    <a:cubicBezTo>
                      <a:pt x="3464" y="0"/>
                      <a:pt x="3322" y="29"/>
                      <a:pt x="3190" y="79"/>
                    </a:cubicBezTo>
                    <a:cubicBezTo>
                      <a:pt x="3003" y="146"/>
                      <a:pt x="2835" y="255"/>
                      <a:pt x="2667" y="363"/>
                    </a:cubicBezTo>
                    <a:cubicBezTo>
                      <a:pt x="2335" y="584"/>
                      <a:pt x="2021" y="789"/>
                      <a:pt x="1685" y="827"/>
                    </a:cubicBezTo>
                    <a:cubicBezTo>
                      <a:pt x="1604" y="838"/>
                      <a:pt x="1525" y="844"/>
                      <a:pt x="1448" y="844"/>
                    </a:cubicBezTo>
                    <a:cubicBezTo>
                      <a:pt x="1209" y="844"/>
                      <a:pt x="990" y="795"/>
                      <a:pt x="804" y="744"/>
                    </a:cubicBezTo>
                    <a:cubicBezTo>
                      <a:pt x="337" y="607"/>
                      <a:pt x="48" y="474"/>
                      <a:pt x="8" y="474"/>
                    </a:cubicBezTo>
                    <a:cubicBezTo>
                      <a:pt x="6" y="474"/>
                      <a:pt x="4" y="474"/>
                      <a:pt x="4" y="475"/>
                    </a:cubicBezTo>
                    <a:cubicBezTo>
                      <a:pt x="0" y="482"/>
                      <a:pt x="71" y="524"/>
                      <a:pt x="202" y="591"/>
                    </a:cubicBezTo>
                    <a:cubicBezTo>
                      <a:pt x="333" y="651"/>
                      <a:pt x="527" y="744"/>
                      <a:pt x="778" y="827"/>
                    </a:cubicBezTo>
                    <a:cubicBezTo>
                      <a:pt x="979" y="889"/>
                      <a:pt x="1224" y="950"/>
                      <a:pt x="1498" y="950"/>
                    </a:cubicBezTo>
                    <a:cubicBezTo>
                      <a:pt x="1564" y="950"/>
                      <a:pt x="1631" y="946"/>
                      <a:pt x="1700" y="939"/>
                    </a:cubicBezTo>
                    <a:cubicBezTo>
                      <a:pt x="2066" y="901"/>
                      <a:pt x="2405" y="680"/>
                      <a:pt x="2734" y="464"/>
                    </a:cubicBezTo>
                    <a:cubicBezTo>
                      <a:pt x="3022" y="269"/>
                      <a:pt x="3324" y="112"/>
                      <a:pt x="3618" y="112"/>
                    </a:cubicBezTo>
                    <a:cubicBezTo>
                      <a:pt x="3656" y="112"/>
                      <a:pt x="3694" y="115"/>
                      <a:pt x="3731" y="120"/>
                    </a:cubicBezTo>
                    <a:cubicBezTo>
                      <a:pt x="4060" y="165"/>
                      <a:pt x="4333" y="334"/>
                      <a:pt x="4579" y="423"/>
                    </a:cubicBezTo>
                    <a:cubicBezTo>
                      <a:pt x="4771" y="499"/>
                      <a:pt x="4950" y="531"/>
                      <a:pt x="5089" y="531"/>
                    </a:cubicBezTo>
                    <a:cubicBezTo>
                      <a:pt x="5128" y="531"/>
                      <a:pt x="5164" y="529"/>
                      <a:pt x="5196" y="524"/>
                    </a:cubicBezTo>
                    <a:cubicBezTo>
                      <a:pt x="5349" y="501"/>
                      <a:pt x="5417" y="453"/>
                      <a:pt x="5417" y="449"/>
                    </a:cubicBezTo>
                    <a:cubicBezTo>
                      <a:pt x="5416" y="448"/>
                      <a:pt x="5414" y="447"/>
                      <a:pt x="5410" y="447"/>
                    </a:cubicBezTo>
                    <a:cubicBezTo>
                      <a:pt x="5388" y="447"/>
                      <a:pt x="5314" y="473"/>
                      <a:pt x="5192" y="479"/>
                    </a:cubicBezTo>
                    <a:cubicBezTo>
                      <a:pt x="5181" y="479"/>
                      <a:pt x="5169" y="480"/>
                      <a:pt x="5157" y="480"/>
                    </a:cubicBezTo>
                    <a:cubicBezTo>
                      <a:pt x="5017" y="480"/>
                      <a:pt x="4826" y="441"/>
                      <a:pt x="4610" y="344"/>
                    </a:cubicBezTo>
                    <a:cubicBezTo>
                      <a:pt x="4374" y="248"/>
                      <a:pt x="4109" y="68"/>
                      <a:pt x="3746" y="12"/>
                    </a:cubicBezTo>
                    <a:cubicBezTo>
                      <a:pt x="3699" y="4"/>
                      <a:pt x="3651" y="0"/>
                      <a:pt x="360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6" name="Google Shape;2677;p46">
                <a:extLst>
                  <a:ext uri="{FF2B5EF4-FFF2-40B4-BE49-F238E27FC236}">
                    <a16:creationId xmlns:a16="http://schemas.microsoft.com/office/drawing/2014/main" id="{3B585450-1CAA-3AA6-EF44-97AC779F9D56}"/>
                  </a:ext>
                </a:extLst>
              </p:cNvPr>
              <p:cNvSpPr/>
              <p:nvPr/>
            </p:nvSpPr>
            <p:spPr>
              <a:xfrm>
                <a:off x="7569164" y="4597340"/>
                <a:ext cx="236539" cy="36889"/>
              </a:xfrm>
              <a:custGeom>
                <a:avLst/>
                <a:gdLst/>
                <a:ahLst/>
                <a:cxnLst/>
                <a:rect l="l" t="t" r="r" b="b"/>
                <a:pathLst>
                  <a:path w="5771" h="900" extrusionOk="0">
                    <a:moveTo>
                      <a:pt x="5115" y="0"/>
                    </a:moveTo>
                    <a:cubicBezTo>
                      <a:pt x="5062" y="0"/>
                      <a:pt x="5007" y="5"/>
                      <a:pt x="4949" y="14"/>
                    </a:cubicBezTo>
                    <a:cubicBezTo>
                      <a:pt x="4658" y="56"/>
                      <a:pt x="4355" y="235"/>
                      <a:pt x="4045" y="433"/>
                    </a:cubicBezTo>
                    <a:cubicBezTo>
                      <a:pt x="3781" y="597"/>
                      <a:pt x="3473" y="781"/>
                      <a:pt x="3129" y="781"/>
                    </a:cubicBezTo>
                    <a:cubicBezTo>
                      <a:pt x="3074" y="781"/>
                      <a:pt x="3019" y="776"/>
                      <a:pt x="2962" y="766"/>
                    </a:cubicBezTo>
                    <a:cubicBezTo>
                      <a:pt x="2555" y="698"/>
                      <a:pt x="2200" y="471"/>
                      <a:pt x="1826" y="392"/>
                    </a:cubicBezTo>
                    <a:cubicBezTo>
                      <a:pt x="1701" y="364"/>
                      <a:pt x="1580" y="352"/>
                      <a:pt x="1464" y="352"/>
                    </a:cubicBezTo>
                    <a:cubicBezTo>
                      <a:pt x="1226" y="352"/>
                      <a:pt x="1010" y="401"/>
                      <a:pt x="829" y="459"/>
                    </a:cubicBezTo>
                    <a:cubicBezTo>
                      <a:pt x="560" y="545"/>
                      <a:pt x="355" y="645"/>
                      <a:pt x="212" y="717"/>
                    </a:cubicBezTo>
                    <a:cubicBezTo>
                      <a:pt x="74" y="788"/>
                      <a:pt x="0" y="833"/>
                      <a:pt x="4" y="840"/>
                    </a:cubicBezTo>
                    <a:cubicBezTo>
                      <a:pt x="4" y="841"/>
                      <a:pt x="6" y="842"/>
                      <a:pt x="8" y="842"/>
                    </a:cubicBezTo>
                    <a:cubicBezTo>
                      <a:pt x="51" y="842"/>
                      <a:pt x="357" y="689"/>
                      <a:pt x="852" y="541"/>
                    </a:cubicBezTo>
                    <a:cubicBezTo>
                      <a:pt x="1019" y="494"/>
                      <a:pt x="1214" y="456"/>
                      <a:pt x="1423" y="456"/>
                    </a:cubicBezTo>
                    <a:cubicBezTo>
                      <a:pt x="1545" y="456"/>
                      <a:pt x="1671" y="469"/>
                      <a:pt x="1800" y="500"/>
                    </a:cubicBezTo>
                    <a:cubicBezTo>
                      <a:pt x="2151" y="578"/>
                      <a:pt x="2498" y="810"/>
                      <a:pt x="2943" y="885"/>
                    </a:cubicBezTo>
                    <a:cubicBezTo>
                      <a:pt x="3002" y="895"/>
                      <a:pt x="3061" y="899"/>
                      <a:pt x="3120" y="899"/>
                    </a:cubicBezTo>
                    <a:cubicBezTo>
                      <a:pt x="3283" y="899"/>
                      <a:pt x="3443" y="864"/>
                      <a:pt x="3586" y="807"/>
                    </a:cubicBezTo>
                    <a:cubicBezTo>
                      <a:pt x="3780" y="731"/>
                      <a:pt x="3948" y="627"/>
                      <a:pt x="4105" y="526"/>
                    </a:cubicBezTo>
                    <a:cubicBezTo>
                      <a:pt x="4415" y="321"/>
                      <a:pt x="4695" y="145"/>
                      <a:pt x="4964" y="97"/>
                    </a:cubicBezTo>
                    <a:cubicBezTo>
                      <a:pt x="5029" y="84"/>
                      <a:pt x="5092" y="78"/>
                      <a:pt x="5152" y="78"/>
                    </a:cubicBezTo>
                    <a:cubicBezTo>
                      <a:pt x="5334" y="78"/>
                      <a:pt x="5484" y="130"/>
                      <a:pt x="5580" y="186"/>
                    </a:cubicBezTo>
                    <a:cubicBezTo>
                      <a:pt x="5706" y="265"/>
                      <a:pt x="5752" y="340"/>
                      <a:pt x="5762" y="340"/>
                    </a:cubicBezTo>
                    <a:cubicBezTo>
                      <a:pt x="5762" y="340"/>
                      <a:pt x="5763" y="340"/>
                      <a:pt x="5763" y="340"/>
                    </a:cubicBezTo>
                    <a:cubicBezTo>
                      <a:pt x="5770" y="336"/>
                      <a:pt x="5737" y="247"/>
                      <a:pt x="5606" y="149"/>
                    </a:cubicBezTo>
                    <a:cubicBezTo>
                      <a:pt x="5501" y="71"/>
                      <a:pt x="5330" y="0"/>
                      <a:pt x="5115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7" name="Google Shape;2678;p46">
                <a:extLst>
                  <a:ext uri="{FF2B5EF4-FFF2-40B4-BE49-F238E27FC236}">
                    <a16:creationId xmlns:a16="http://schemas.microsoft.com/office/drawing/2014/main" id="{CC43732B-0D9D-DAD9-20FD-F2DCB02D87E8}"/>
                  </a:ext>
                </a:extLst>
              </p:cNvPr>
              <p:cNvSpPr/>
              <p:nvPr/>
            </p:nvSpPr>
            <p:spPr>
              <a:xfrm>
                <a:off x="7968987" y="3123476"/>
                <a:ext cx="91484" cy="30946"/>
              </a:xfrm>
              <a:custGeom>
                <a:avLst/>
                <a:gdLst/>
                <a:ahLst/>
                <a:cxnLst/>
                <a:rect l="l" t="t" r="r" b="b"/>
                <a:pathLst>
                  <a:path w="2232" h="755" extrusionOk="0">
                    <a:moveTo>
                      <a:pt x="16" y="0"/>
                    </a:moveTo>
                    <a:cubicBezTo>
                      <a:pt x="14" y="0"/>
                      <a:pt x="13" y="1"/>
                      <a:pt x="13" y="2"/>
                    </a:cubicBezTo>
                    <a:cubicBezTo>
                      <a:pt x="1" y="13"/>
                      <a:pt x="76" y="129"/>
                      <a:pt x="244" y="274"/>
                    </a:cubicBezTo>
                    <a:cubicBezTo>
                      <a:pt x="416" y="424"/>
                      <a:pt x="685" y="588"/>
                      <a:pt x="1017" y="677"/>
                    </a:cubicBezTo>
                    <a:cubicBezTo>
                      <a:pt x="1216" y="733"/>
                      <a:pt x="1410" y="754"/>
                      <a:pt x="1580" y="754"/>
                    </a:cubicBezTo>
                    <a:cubicBezTo>
                      <a:pt x="1694" y="754"/>
                      <a:pt x="1797" y="745"/>
                      <a:pt x="1883" y="730"/>
                    </a:cubicBezTo>
                    <a:cubicBezTo>
                      <a:pt x="2107" y="689"/>
                      <a:pt x="2231" y="629"/>
                      <a:pt x="2228" y="614"/>
                    </a:cubicBezTo>
                    <a:cubicBezTo>
                      <a:pt x="2227" y="610"/>
                      <a:pt x="2220" y="608"/>
                      <a:pt x="2208" y="608"/>
                    </a:cubicBezTo>
                    <a:cubicBezTo>
                      <a:pt x="2148" y="608"/>
                      <a:pt x="1954" y="649"/>
                      <a:pt x="1689" y="649"/>
                    </a:cubicBezTo>
                    <a:cubicBezTo>
                      <a:pt x="1503" y="649"/>
                      <a:pt x="1282" y="629"/>
                      <a:pt x="1047" y="562"/>
                    </a:cubicBezTo>
                    <a:cubicBezTo>
                      <a:pt x="429" y="400"/>
                      <a:pt x="60" y="0"/>
                      <a:pt x="16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8" name="Google Shape;2679;p46">
                <a:extLst>
                  <a:ext uri="{FF2B5EF4-FFF2-40B4-BE49-F238E27FC236}">
                    <a16:creationId xmlns:a16="http://schemas.microsoft.com/office/drawing/2014/main" id="{91FA0EA5-053A-CFFB-5799-559039712A23}"/>
                  </a:ext>
                </a:extLst>
              </p:cNvPr>
              <p:cNvSpPr/>
              <p:nvPr/>
            </p:nvSpPr>
            <p:spPr>
              <a:xfrm>
                <a:off x="7606666" y="3113721"/>
                <a:ext cx="56522" cy="50169"/>
              </a:xfrm>
              <a:custGeom>
                <a:avLst/>
                <a:gdLst/>
                <a:ahLst/>
                <a:cxnLst/>
                <a:rect l="l" t="t" r="r" b="b"/>
                <a:pathLst>
                  <a:path w="1379" h="1224" extrusionOk="0">
                    <a:moveTo>
                      <a:pt x="1363" y="0"/>
                    </a:moveTo>
                    <a:cubicBezTo>
                      <a:pt x="1328" y="0"/>
                      <a:pt x="1235" y="438"/>
                      <a:pt x="844" y="781"/>
                    </a:cubicBezTo>
                    <a:cubicBezTo>
                      <a:pt x="452" y="1136"/>
                      <a:pt x="0" y="1174"/>
                      <a:pt x="7" y="1210"/>
                    </a:cubicBezTo>
                    <a:cubicBezTo>
                      <a:pt x="9" y="1216"/>
                      <a:pt x="41" y="1224"/>
                      <a:pt x="95" y="1224"/>
                    </a:cubicBezTo>
                    <a:cubicBezTo>
                      <a:pt x="145" y="1224"/>
                      <a:pt x="215" y="1218"/>
                      <a:pt x="299" y="1200"/>
                    </a:cubicBezTo>
                    <a:cubicBezTo>
                      <a:pt x="478" y="1158"/>
                      <a:pt x="714" y="1058"/>
                      <a:pt x="923" y="871"/>
                    </a:cubicBezTo>
                    <a:cubicBezTo>
                      <a:pt x="1132" y="684"/>
                      <a:pt x="1262" y="460"/>
                      <a:pt x="1319" y="288"/>
                    </a:cubicBezTo>
                    <a:cubicBezTo>
                      <a:pt x="1378" y="117"/>
                      <a:pt x="1378" y="5"/>
                      <a:pt x="1364" y="0"/>
                    </a:cubicBezTo>
                    <a:cubicBezTo>
                      <a:pt x="1363" y="0"/>
                      <a:pt x="1363" y="0"/>
                      <a:pt x="136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9" name="Google Shape;2680;p46">
                <a:extLst>
                  <a:ext uri="{FF2B5EF4-FFF2-40B4-BE49-F238E27FC236}">
                    <a16:creationId xmlns:a16="http://schemas.microsoft.com/office/drawing/2014/main" id="{E86F87F4-965B-E6E2-EDC1-2F3F78FA817A}"/>
                  </a:ext>
                </a:extLst>
              </p:cNvPr>
              <p:cNvSpPr/>
              <p:nvPr/>
            </p:nvSpPr>
            <p:spPr>
              <a:xfrm>
                <a:off x="6998877" y="2050375"/>
                <a:ext cx="605385" cy="670310"/>
              </a:xfrm>
              <a:custGeom>
                <a:avLst/>
                <a:gdLst/>
                <a:ahLst/>
                <a:cxnLst/>
                <a:rect l="l" t="t" r="r" b="b"/>
                <a:pathLst>
                  <a:path w="14770" h="16354" extrusionOk="0">
                    <a:moveTo>
                      <a:pt x="1870" y="0"/>
                    </a:moveTo>
                    <a:cubicBezTo>
                      <a:pt x="1867" y="0"/>
                      <a:pt x="1864" y="1"/>
                      <a:pt x="1861" y="1"/>
                    </a:cubicBezTo>
                    <a:cubicBezTo>
                      <a:pt x="1357" y="23"/>
                      <a:pt x="1809" y="2462"/>
                      <a:pt x="1857" y="2694"/>
                    </a:cubicBezTo>
                    <a:cubicBezTo>
                      <a:pt x="1875" y="2779"/>
                      <a:pt x="1809" y="2827"/>
                      <a:pt x="1740" y="2827"/>
                    </a:cubicBezTo>
                    <a:cubicBezTo>
                      <a:pt x="1679" y="2827"/>
                      <a:pt x="1616" y="2790"/>
                      <a:pt x="1603" y="2709"/>
                    </a:cubicBezTo>
                    <a:cubicBezTo>
                      <a:pt x="1577" y="2530"/>
                      <a:pt x="1403" y="411"/>
                      <a:pt x="895" y="411"/>
                    </a:cubicBezTo>
                    <a:cubicBezTo>
                      <a:pt x="893" y="411"/>
                      <a:pt x="892" y="411"/>
                      <a:pt x="890" y="411"/>
                    </a:cubicBezTo>
                    <a:cubicBezTo>
                      <a:pt x="494" y="426"/>
                      <a:pt x="1245" y="2425"/>
                      <a:pt x="1031" y="2884"/>
                    </a:cubicBezTo>
                    <a:cubicBezTo>
                      <a:pt x="1010" y="2931"/>
                      <a:pt x="989" y="2952"/>
                      <a:pt x="967" y="2952"/>
                    </a:cubicBezTo>
                    <a:cubicBezTo>
                      <a:pt x="781" y="2952"/>
                      <a:pt x="586" y="1341"/>
                      <a:pt x="252" y="1341"/>
                    </a:cubicBezTo>
                    <a:cubicBezTo>
                      <a:pt x="249" y="1341"/>
                      <a:pt x="246" y="1342"/>
                      <a:pt x="244" y="1342"/>
                    </a:cubicBezTo>
                    <a:cubicBezTo>
                      <a:pt x="105" y="1352"/>
                      <a:pt x="1" y="1378"/>
                      <a:pt x="288" y="2530"/>
                    </a:cubicBezTo>
                    <a:cubicBezTo>
                      <a:pt x="426" y="3090"/>
                      <a:pt x="792" y="4071"/>
                      <a:pt x="1140" y="4953"/>
                    </a:cubicBezTo>
                    <a:lnTo>
                      <a:pt x="1128" y="4957"/>
                    </a:lnTo>
                    <a:cubicBezTo>
                      <a:pt x="1128" y="4957"/>
                      <a:pt x="3073" y="16354"/>
                      <a:pt x="8089" y="16354"/>
                    </a:cubicBezTo>
                    <a:cubicBezTo>
                      <a:pt x="8229" y="16354"/>
                      <a:pt x="8372" y="16345"/>
                      <a:pt x="8517" y="16326"/>
                    </a:cubicBezTo>
                    <a:cubicBezTo>
                      <a:pt x="14176" y="15613"/>
                      <a:pt x="14769" y="15064"/>
                      <a:pt x="14769" y="15064"/>
                    </a:cubicBezTo>
                    <a:lnTo>
                      <a:pt x="13593" y="10750"/>
                    </a:lnTo>
                    <a:cubicBezTo>
                      <a:pt x="13593" y="10750"/>
                      <a:pt x="9452" y="11830"/>
                      <a:pt x="8103" y="11830"/>
                    </a:cubicBezTo>
                    <a:cubicBezTo>
                      <a:pt x="7894" y="11830"/>
                      <a:pt x="7751" y="11804"/>
                      <a:pt x="7703" y="11744"/>
                    </a:cubicBezTo>
                    <a:cubicBezTo>
                      <a:pt x="5696" y="9263"/>
                      <a:pt x="4681" y="5850"/>
                      <a:pt x="4363" y="4624"/>
                    </a:cubicBezTo>
                    <a:cubicBezTo>
                      <a:pt x="4412" y="4449"/>
                      <a:pt x="4467" y="4243"/>
                      <a:pt x="4550" y="4004"/>
                    </a:cubicBezTo>
                    <a:cubicBezTo>
                      <a:pt x="4617" y="3799"/>
                      <a:pt x="4726" y="3609"/>
                      <a:pt x="4860" y="3437"/>
                    </a:cubicBezTo>
                    <a:cubicBezTo>
                      <a:pt x="5021" y="3231"/>
                      <a:pt x="5248" y="2966"/>
                      <a:pt x="5417" y="2858"/>
                    </a:cubicBezTo>
                    <a:cubicBezTo>
                      <a:pt x="5626" y="2727"/>
                      <a:pt x="5566" y="2409"/>
                      <a:pt x="5341" y="2395"/>
                    </a:cubicBezTo>
                    <a:cubicBezTo>
                      <a:pt x="5336" y="2395"/>
                      <a:pt x="5330" y="2394"/>
                      <a:pt x="5324" y="2394"/>
                    </a:cubicBezTo>
                    <a:cubicBezTo>
                      <a:pt x="5088" y="2394"/>
                      <a:pt x="4520" y="2744"/>
                      <a:pt x="4098" y="3395"/>
                    </a:cubicBezTo>
                    <a:cubicBezTo>
                      <a:pt x="4009" y="3532"/>
                      <a:pt x="3933" y="3588"/>
                      <a:pt x="3867" y="3588"/>
                    </a:cubicBezTo>
                    <a:cubicBezTo>
                      <a:pt x="3611" y="3588"/>
                      <a:pt x="3518" y="2724"/>
                      <a:pt x="3471" y="2361"/>
                    </a:cubicBezTo>
                    <a:cubicBezTo>
                      <a:pt x="3414" y="1909"/>
                      <a:pt x="3176" y="513"/>
                      <a:pt x="3022" y="418"/>
                    </a:cubicBezTo>
                    <a:cubicBezTo>
                      <a:pt x="2977" y="391"/>
                      <a:pt x="2934" y="377"/>
                      <a:pt x="2893" y="377"/>
                    </a:cubicBezTo>
                    <a:cubicBezTo>
                      <a:pt x="2732" y="377"/>
                      <a:pt x="2621" y="588"/>
                      <a:pt x="2675" y="949"/>
                    </a:cubicBezTo>
                    <a:cubicBezTo>
                      <a:pt x="2742" y="1409"/>
                      <a:pt x="2847" y="2772"/>
                      <a:pt x="2607" y="2790"/>
                    </a:cubicBezTo>
                    <a:cubicBezTo>
                      <a:pt x="2606" y="2790"/>
                      <a:pt x="2605" y="2790"/>
                      <a:pt x="2604" y="2790"/>
                    </a:cubicBezTo>
                    <a:cubicBezTo>
                      <a:pt x="2367" y="2790"/>
                      <a:pt x="2114" y="494"/>
                      <a:pt x="2114" y="494"/>
                    </a:cubicBezTo>
                    <a:cubicBezTo>
                      <a:pt x="2114" y="494"/>
                      <a:pt x="2136" y="0"/>
                      <a:pt x="1870" y="0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180" name="Google Shape;2681;p46">
                <a:extLst>
                  <a:ext uri="{FF2B5EF4-FFF2-40B4-BE49-F238E27FC236}">
                    <a16:creationId xmlns:a16="http://schemas.microsoft.com/office/drawing/2014/main" id="{07998442-6FA2-BA03-F1E0-4D84295EE8F9}"/>
                  </a:ext>
                </a:extLst>
              </p:cNvPr>
              <p:cNvGrpSpPr/>
              <p:nvPr/>
            </p:nvGrpSpPr>
            <p:grpSpPr>
              <a:xfrm>
                <a:off x="5819039" y="2060417"/>
                <a:ext cx="1596955" cy="1097563"/>
                <a:chOff x="5819039" y="2060417"/>
                <a:chExt cx="1596955" cy="1097563"/>
              </a:xfrm>
            </p:grpSpPr>
            <p:sp>
              <p:nvSpPr>
                <p:cNvPr id="631" name="Google Shape;2682;p46">
                  <a:extLst>
                    <a:ext uri="{FF2B5EF4-FFF2-40B4-BE49-F238E27FC236}">
                      <a16:creationId xmlns:a16="http://schemas.microsoft.com/office/drawing/2014/main" id="{1DA49029-0AD3-65A7-3CA5-497A34C99F96}"/>
                    </a:ext>
                  </a:extLst>
                </p:cNvPr>
                <p:cNvSpPr/>
                <p:nvPr/>
              </p:nvSpPr>
              <p:spPr>
                <a:xfrm>
                  <a:off x="7240616" y="2327401"/>
                  <a:ext cx="23773" cy="50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" h="124" extrusionOk="0">
                      <a:moveTo>
                        <a:pt x="234" y="0"/>
                      </a:moveTo>
                      <a:cubicBezTo>
                        <a:pt x="104" y="0"/>
                        <a:pt x="3" y="21"/>
                        <a:pt x="0" y="51"/>
                      </a:cubicBezTo>
                      <a:cubicBezTo>
                        <a:pt x="0" y="84"/>
                        <a:pt x="127" y="114"/>
                        <a:pt x="288" y="122"/>
                      </a:cubicBezTo>
                      <a:cubicBezTo>
                        <a:pt x="311" y="123"/>
                        <a:pt x="333" y="123"/>
                        <a:pt x="354" y="123"/>
                      </a:cubicBezTo>
                      <a:cubicBezTo>
                        <a:pt x="482" y="123"/>
                        <a:pt x="576" y="105"/>
                        <a:pt x="579" y="77"/>
                      </a:cubicBezTo>
                      <a:cubicBezTo>
                        <a:pt x="579" y="43"/>
                        <a:pt x="452" y="10"/>
                        <a:pt x="292" y="2"/>
                      </a:cubicBezTo>
                      <a:cubicBezTo>
                        <a:pt x="272" y="1"/>
                        <a:pt x="252" y="0"/>
                        <a:pt x="234" y="0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32" name="Google Shape;2683;p46">
                  <a:extLst>
                    <a:ext uri="{FF2B5EF4-FFF2-40B4-BE49-F238E27FC236}">
                      <a16:creationId xmlns:a16="http://schemas.microsoft.com/office/drawing/2014/main" id="{3F907AC7-F088-F65B-D0EF-9518BD5DBACA}"/>
                    </a:ext>
                  </a:extLst>
                </p:cNvPr>
                <p:cNvSpPr/>
                <p:nvPr/>
              </p:nvSpPr>
              <p:spPr>
                <a:xfrm>
                  <a:off x="7310744" y="2325310"/>
                  <a:ext cx="46562" cy="60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6" h="148" extrusionOk="0">
                      <a:moveTo>
                        <a:pt x="901" y="0"/>
                      </a:moveTo>
                      <a:cubicBezTo>
                        <a:pt x="806" y="0"/>
                        <a:pt x="688" y="5"/>
                        <a:pt x="561" y="16"/>
                      </a:cubicBezTo>
                      <a:cubicBezTo>
                        <a:pt x="251" y="38"/>
                        <a:pt x="0" y="87"/>
                        <a:pt x="0" y="116"/>
                      </a:cubicBezTo>
                      <a:cubicBezTo>
                        <a:pt x="0" y="137"/>
                        <a:pt x="98" y="148"/>
                        <a:pt x="245" y="148"/>
                      </a:cubicBezTo>
                      <a:cubicBezTo>
                        <a:pt x="338" y="148"/>
                        <a:pt x="451" y="144"/>
                        <a:pt x="571" y="135"/>
                      </a:cubicBezTo>
                      <a:cubicBezTo>
                        <a:pt x="885" y="109"/>
                        <a:pt x="1135" y="64"/>
                        <a:pt x="1132" y="30"/>
                      </a:cubicBezTo>
                      <a:cubicBezTo>
                        <a:pt x="1130" y="11"/>
                        <a:pt x="1039" y="0"/>
                        <a:pt x="901" y="0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33" name="Google Shape;2684;p46">
                  <a:extLst>
                    <a:ext uri="{FF2B5EF4-FFF2-40B4-BE49-F238E27FC236}">
                      <a16:creationId xmlns:a16="http://schemas.microsoft.com/office/drawing/2014/main" id="{8DE15179-2D39-B371-BABE-02673986459D}"/>
                    </a:ext>
                  </a:extLst>
                </p:cNvPr>
                <p:cNvSpPr/>
                <p:nvPr/>
              </p:nvSpPr>
              <p:spPr>
                <a:xfrm>
                  <a:off x="5820392" y="2062917"/>
                  <a:ext cx="1595602" cy="10948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29" h="26712" extrusionOk="0">
                      <a:moveTo>
                        <a:pt x="3321" y="0"/>
                      </a:moveTo>
                      <a:cubicBezTo>
                        <a:pt x="2417" y="0"/>
                        <a:pt x="1649" y="696"/>
                        <a:pt x="1585" y="1614"/>
                      </a:cubicBezTo>
                      <a:lnTo>
                        <a:pt x="71" y="22385"/>
                      </a:lnTo>
                      <a:cubicBezTo>
                        <a:pt x="1" y="23342"/>
                        <a:pt x="721" y="24174"/>
                        <a:pt x="1678" y="24245"/>
                      </a:cubicBezTo>
                      <a:lnTo>
                        <a:pt x="35484" y="26707"/>
                      </a:lnTo>
                      <a:cubicBezTo>
                        <a:pt x="35528" y="26710"/>
                        <a:pt x="35571" y="26712"/>
                        <a:pt x="35614" y="26712"/>
                      </a:cubicBezTo>
                      <a:cubicBezTo>
                        <a:pt x="36518" y="26712"/>
                        <a:pt x="37280" y="26013"/>
                        <a:pt x="37349" y="25100"/>
                      </a:cubicBezTo>
                      <a:lnTo>
                        <a:pt x="38861" y="4330"/>
                      </a:lnTo>
                      <a:cubicBezTo>
                        <a:pt x="38928" y="3374"/>
                        <a:pt x="38207" y="2537"/>
                        <a:pt x="37251" y="2470"/>
                      </a:cubicBezTo>
                      <a:lnTo>
                        <a:pt x="3445" y="5"/>
                      </a:lnTo>
                      <a:cubicBezTo>
                        <a:pt x="3403" y="2"/>
                        <a:pt x="3362" y="0"/>
                        <a:pt x="3321" y="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34" name="Google Shape;2685;p46">
                  <a:extLst>
                    <a:ext uri="{FF2B5EF4-FFF2-40B4-BE49-F238E27FC236}">
                      <a16:creationId xmlns:a16="http://schemas.microsoft.com/office/drawing/2014/main" id="{AF87FF8D-20DF-199F-EC0F-CDD87CF4A353}"/>
                    </a:ext>
                  </a:extLst>
                </p:cNvPr>
                <p:cNvSpPr/>
                <p:nvPr/>
              </p:nvSpPr>
              <p:spPr>
                <a:xfrm>
                  <a:off x="5819039" y="2060417"/>
                  <a:ext cx="1596627" cy="10975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4" h="26778" extrusionOk="0">
                      <a:moveTo>
                        <a:pt x="3354" y="1"/>
                      </a:moveTo>
                      <a:cubicBezTo>
                        <a:pt x="2860" y="1"/>
                        <a:pt x="2372" y="213"/>
                        <a:pt x="2035" y="573"/>
                      </a:cubicBezTo>
                      <a:cubicBezTo>
                        <a:pt x="1856" y="768"/>
                        <a:pt x="1718" y="1003"/>
                        <a:pt x="1636" y="1257"/>
                      </a:cubicBezTo>
                      <a:cubicBezTo>
                        <a:pt x="1550" y="1514"/>
                        <a:pt x="1554" y="1780"/>
                        <a:pt x="1532" y="2034"/>
                      </a:cubicBezTo>
                      <a:cubicBezTo>
                        <a:pt x="1457" y="3057"/>
                        <a:pt x="1382" y="4073"/>
                        <a:pt x="1307" y="5081"/>
                      </a:cubicBezTo>
                      <a:cubicBezTo>
                        <a:pt x="1161" y="7098"/>
                        <a:pt x="1016" y="9089"/>
                        <a:pt x="874" y="11043"/>
                      </a:cubicBezTo>
                      <a:cubicBezTo>
                        <a:pt x="590" y="14950"/>
                        <a:pt x="318" y="18719"/>
                        <a:pt x="56" y="22312"/>
                      </a:cubicBezTo>
                      <a:cubicBezTo>
                        <a:pt x="0" y="22763"/>
                        <a:pt x="108" y="23249"/>
                        <a:pt x="381" y="23620"/>
                      </a:cubicBezTo>
                      <a:cubicBezTo>
                        <a:pt x="650" y="23992"/>
                        <a:pt x="1061" y="24254"/>
                        <a:pt x="1509" y="24332"/>
                      </a:cubicBezTo>
                      <a:cubicBezTo>
                        <a:pt x="2394" y="24422"/>
                        <a:pt x="3250" y="24467"/>
                        <a:pt x="4102" y="24534"/>
                      </a:cubicBezTo>
                      <a:cubicBezTo>
                        <a:pt x="5805" y="24658"/>
                        <a:pt x="7455" y="24777"/>
                        <a:pt x="9050" y="24889"/>
                      </a:cubicBezTo>
                      <a:cubicBezTo>
                        <a:pt x="12244" y="25121"/>
                        <a:pt x="15221" y="25333"/>
                        <a:pt x="17936" y="25532"/>
                      </a:cubicBezTo>
                      <a:cubicBezTo>
                        <a:pt x="23367" y="25916"/>
                        <a:pt x="27759" y="26230"/>
                        <a:pt x="30800" y="26450"/>
                      </a:cubicBezTo>
                      <a:cubicBezTo>
                        <a:pt x="32317" y="26555"/>
                        <a:pt x="33496" y="26637"/>
                        <a:pt x="34296" y="26693"/>
                      </a:cubicBezTo>
                      <a:cubicBezTo>
                        <a:pt x="34696" y="26719"/>
                        <a:pt x="35002" y="26738"/>
                        <a:pt x="35208" y="26753"/>
                      </a:cubicBezTo>
                      <a:cubicBezTo>
                        <a:pt x="35413" y="26764"/>
                        <a:pt x="35517" y="26768"/>
                        <a:pt x="35517" y="26768"/>
                      </a:cubicBezTo>
                      <a:cubicBezTo>
                        <a:pt x="35517" y="26768"/>
                        <a:pt x="35413" y="26757"/>
                        <a:pt x="35208" y="26742"/>
                      </a:cubicBezTo>
                      <a:cubicBezTo>
                        <a:pt x="35002" y="26723"/>
                        <a:pt x="34699" y="26701"/>
                        <a:pt x="34300" y="26667"/>
                      </a:cubicBezTo>
                      <a:cubicBezTo>
                        <a:pt x="33496" y="26607"/>
                        <a:pt x="32320" y="26518"/>
                        <a:pt x="30804" y="26402"/>
                      </a:cubicBezTo>
                      <a:cubicBezTo>
                        <a:pt x="27763" y="26178"/>
                        <a:pt x="23370" y="25849"/>
                        <a:pt x="17940" y="25446"/>
                      </a:cubicBezTo>
                      <a:cubicBezTo>
                        <a:pt x="15225" y="25247"/>
                        <a:pt x="12251" y="25027"/>
                        <a:pt x="9058" y="24792"/>
                      </a:cubicBezTo>
                      <a:cubicBezTo>
                        <a:pt x="7463" y="24673"/>
                        <a:pt x="5812" y="24553"/>
                        <a:pt x="4109" y="24430"/>
                      </a:cubicBezTo>
                      <a:cubicBezTo>
                        <a:pt x="3261" y="24363"/>
                        <a:pt x="2387" y="24314"/>
                        <a:pt x="1528" y="24228"/>
                      </a:cubicBezTo>
                      <a:cubicBezTo>
                        <a:pt x="1109" y="24153"/>
                        <a:pt x="721" y="23906"/>
                        <a:pt x="471" y="23556"/>
                      </a:cubicBezTo>
                      <a:cubicBezTo>
                        <a:pt x="217" y="23204"/>
                        <a:pt x="113" y="22760"/>
                        <a:pt x="168" y="22320"/>
                      </a:cubicBezTo>
                      <a:cubicBezTo>
                        <a:pt x="430" y="18729"/>
                        <a:pt x="706" y="14957"/>
                        <a:pt x="994" y="11051"/>
                      </a:cubicBezTo>
                      <a:cubicBezTo>
                        <a:pt x="1135" y="9097"/>
                        <a:pt x="1281" y="7110"/>
                        <a:pt x="1427" y="5089"/>
                      </a:cubicBezTo>
                      <a:cubicBezTo>
                        <a:pt x="1502" y="4081"/>
                        <a:pt x="1576" y="3064"/>
                        <a:pt x="1651" y="2042"/>
                      </a:cubicBezTo>
                      <a:cubicBezTo>
                        <a:pt x="1673" y="1783"/>
                        <a:pt x="1673" y="1530"/>
                        <a:pt x="1752" y="1294"/>
                      </a:cubicBezTo>
                      <a:cubicBezTo>
                        <a:pt x="1826" y="1059"/>
                        <a:pt x="1957" y="839"/>
                        <a:pt x="2125" y="656"/>
                      </a:cubicBezTo>
                      <a:cubicBezTo>
                        <a:pt x="2439" y="318"/>
                        <a:pt x="2895" y="121"/>
                        <a:pt x="3360" y="121"/>
                      </a:cubicBezTo>
                      <a:cubicBezTo>
                        <a:pt x="3399" y="121"/>
                        <a:pt x="3438" y="122"/>
                        <a:pt x="3478" y="125"/>
                      </a:cubicBezTo>
                      <a:cubicBezTo>
                        <a:pt x="11762" y="730"/>
                        <a:pt x="19658" y="1302"/>
                        <a:pt x="26837" y="1825"/>
                      </a:cubicBezTo>
                      <a:cubicBezTo>
                        <a:pt x="30430" y="2083"/>
                        <a:pt x="33841" y="2329"/>
                        <a:pt x="37034" y="2561"/>
                      </a:cubicBezTo>
                      <a:cubicBezTo>
                        <a:pt x="37235" y="2576"/>
                        <a:pt x="37430" y="2587"/>
                        <a:pt x="37616" y="2639"/>
                      </a:cubicBezTo>
                      <a:cubicBezTo>
                        <a:pt x="37799" y="2691"/>
                        <a:pt x="37975" y="2773"/>
                        <a:pt x="38132" y="2885"/>
                      </a:cubicBezTo>
                      <a:cubicBezTo>
                        <a:pt x="38446" y="3106"/>
                        <a:pt x="38677" y="3431"/>
                        <a:pt x="38782" y="3793"/>
                      </a:cubicBezTo>
                      <a:cubicBezTo>
                        <a:pt x="38897" y="4152"/>
                        <a:pt x="38827" y="4536"/>
                        <a:pt x="38808" y="4914"/>
                      </a:cubicBezTo>
                      <a:cubicBezTo>
                        <a:pt x="38778" y="5295"/>
                        <a:pt x="38752" y="5669"/>
                        <a:pt x="38726" y="6038"/>
                      </a:cubicBezTo>
                      <a:cubicBezTo>
                        <a:pt x="38618" y="7521"/>
                        <a:pt x="38516" y="8944"/>
                        <a:pt x="38420" y="10299"/>
                      </a:cubicBezTo>
                      <a:cubicBezTo>
                        <a:pt x="38031" y="15731"/>
                        <a:pt x="37718" y="20127"/>
                        <a:pt x="37501" y="23167"/>
                      </a:cubicBezTo>
                      <a:cubicBezTo>
                        <a:pt x="37449" y="23925"/>
                        <a:pt x="37399" y="24598"/>
                        <a:pt x="37359" y="25184"/>
                      </a:cubicBezTo>
                      <a:cubicBezTo>
                        <a:pt x="37306" y="25771"/>
                        <a:pt x="36982" y="26200"/>
                        <a:pt x="36660" y="26428"/>
                      </a:cubicBezTo>
                      <a:cubicBezTo>
                        <a:pt x="36339" y="26663"/>
                        <a:pt x="36029" y="26735"/>
                        <a:pt x="35827" y="26757"/>
                      </a:cubicBezTo>
                      <a:cubicBezTo>
                        <a:pt x="35745" y="26766"/>
                        <a:pt x="35679" y="26768"/>
                        <a:pt x="35628" y="26768"/>
                      </a:cubicBezTo>
                      <a:cubicBezTo>
                        <a:pt x="35577" y="26768"/>
                        <a:pt x="35543" y="26766"/>
                        <a:pt x="35527" y="26766"/>
                      </a:cubicBezTo>
                      <a:cubicBezTo>
                        <a:pt x="35520" y="26766"/>
                        <a:pt x="35517" y="26766"/>
                        <a:pt x="35517" y="26768"/>
                      </a:cubicBezTo>
                      <a:cubicBezTo>
                        <a:pt x="35517" y="26768"/>
                        <a:pt x="35544" y="26771"/>
                        <a:pt x="35596" y="26775"/>
                      </a:cubicBezTo>
                      <a:cubicBezTo>
                        <a:pt x="35616" y="26777"/>
                        <a:pt x="35640" y="26778"/>
                        <a:pt x="35667" y="26778"/>
                      </a:cubicBezTo>
                      <a:cubicBezTo>
                        <a:pt x="35711" y="26778"/>
                        <a:pt x="35765" y="26775"/>
                        <a:pt x="35827" y="26768"/>
                      </a:cubicBezTo>
                      <a:cubicBezTo>
                        <a:pt x="36032" y="26749"/>
                        <a:pt x="36346" y="26685"/>
                        <a:pt x="36675" y="26447"/>
                      </a:cubicBezTo>
                      <a:cubicBezTo>
                        <a:pt x="37004" y="26219"/>
                        <a:pt x="37337" y="25785"/>
                        <a:pt x="37392" y="25188"/>
                      </a:cubicBezTo>
                      <a:cubicBezTo>
                        <a:pt x="37437" y="24601"/>
                        <a:pt x="37489" y="23929"/>
                        <a:pt x="37549" y="23171"/>
                      </a:cubicBezTo>
                      <a:cubicBezTo>
                        <a:pt x="37773" y="20131"/>
                        <a:pt x="38102" y="15735"/>
                        <a:pt x="38506" y="10308"/>
                      </a:cubicBezTo>
                      <a:cubicBezTo>
                        <a:pt x="38602" y="8948"/>
                        <a:pt x="38711" y="7529"/>
                        <a:pt x="38819" y="6045"/>
                      </a:cubicBezTo>
                      <a:cubicBezTo>
                        <a:pt x="38845" y="5676"/>
                        <a:pt x="38871" y="5298"/>
                        <a:pt x="38901" y="4921"/>
                      </a:cubicBezTo>
                      <a:cubicBezTo>
                        <a:pt x="38913" y="4731"/>
                        <a:pt x="38931" y="4544"/>
                        <a:pt x="38942" y="4350"/>
                      </a:cubicBezTo>
                      <a:cubicBezTo>
                        <a:pt x="38954" y="4155"/>
                        <a:pt x="38928" y="3957"/>
                        <a:pt x="38871" y="3767"/>
                      </a:cubicBezTo>
                      <a:cubicBezTo>
                        <a:pt x="38763" y="3383"/>
                        <a:pt x="38520" y="3038"/>
                        <a:pt x="38188" y="2807"/>
                      </a:cubicBezTo>
                      <a:cubicBezTo>
                        <a:pt x="38023" y="2688"/>
                        <a:pt x="37841" y="2598"/>
                        <a:pt x="37642" y="2542"/>
                      </a:cubicBezTo>
                      <a:cubicBezTo>
                        <a:pt x="37444" y="2486"/>
                        <a:pt x="37239" y="2478"/>
                        <a:pt x="37041" y="2464"/>
                      </a:cubicBezTo>
                      <a:cubicBezTo>
                        <a:pt x="33848" y="2228"/>
                        <a:pt x="30438" y="1978"/>
                        <a:pt x="26848" y="1713"/>
                      </a:cubicBezTo>
                      <a:cubicBezTo>
                        <a:pt x="19665" y="1190"/>
                        <a:pt x="11773" y="611"/>
                        <a:pt x="3485" y="6"/>
                      </a:cubicBezTo>
                      <a:cubicBezTo>
                        <a:pt x="3441" y="2"/>
                        <a:pt x="3398" y="1"/>
                        <a:pt x="3354" y="1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35" name="Google Shape;2686;p46">
                  <a:extLst>
                    <a:ext uri="{FF2B5EF4-FFF2-40B4-BE49-F238E27FC236}">
                      <a16:creationId xmlns:a16="http://schemas.microsoft.com/office/drawing/2014/main" id="{73ABB9CA-19B3-3828-59AE-EFAEC9DAA63D}"/>
                    </a:ext>
                  </a:extLst>
                </p:cNvPr>
                <p:cNvSpPr/>
                <p:nvPr/>
              </p:nvSpPr>
              <p:spPr>
                <a:xfrm>
                  <a:off x="5950524" y="2700990"/>
                  <a:ext cx="29306" cy="870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5" h="2123" extrusionOk="0">
                      <a:moveTo>
                        <a:pt x="12" y="1"/>
                      </a:moveTo>
                      <a:lnTo>
                        <a:pt x="1" y="192"/>
                      </a:lnTo>
                      <a:lnTo>
                        <a:pt x="486" y="228"/>
                      </a:lnTo>
                      <a:lnTo>
                        <a:pt x="348" y="2107"/>
                      </a:lnTo>
                      <a:lnTo>
                        <a:pt x="561" y="2122"/>
                      </a:lnTo>
                      <a:lnTo>
                        <a:pt x="714" y="53"/>
                      </a:lnTo>
                      <a:lnTo>
                        <a:pt x="12" y="1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36" name="Google Shape;2687;p46">
                  <a:extLst>
                    <a:ext uri="{FF2B5EF4-FFF2-40B4-BE49-F238E27FC236}">
                      <a16:creationId xmlns:a16="http://schemas.microsoft.com/office/drawing/2014/main" id="{8BF8C0D2-E14F-D76E-3CC5-D4B25394BEC6}"/>
                    </a:ext>
                  </a:extLst>
                </p:cNvPr>
                <p:cNvSpPr/>
                <p:nvPr/>
              </p:nvSpPr>
              <p:spPr>
                <a:xfrm>
                  <a:off x="6001347" y="2706359"/>
                  <a:ext cx="61153" cy="880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92" h="2149" extrusionOk="0">
                      <a:moveTo>
                        <a:pt x="725" y="1"/>
                      </a:moveTo>
                      <a:cubicBezTo>
                        <a:pt x="451" y="1"/>
                        <a:pt x="222" y="86"/>
                        <a:pt x="68" y="247"/>
                      </a:cubicBezTo>
                      <a:lnTo>
                        <a:pt x="209" y="385"/>
                      </a:lnTo>
                      <a:cubicBezTo>
                        <a:pt x="338" y="257"/>
                        <a:pt x="505" y="195"/>
                        <a:pt x="705" y="195"/>
                      </a:cubicBezTo>
                      <a:cubicBezTo>
                        <a:pt x="732" y="195"/>
                        <a:pt x="760" y="196"/>
                        <a:pt x="789" y="199"/>
                      </a:cubicBezTo>
                      <a:cubicBezTo>
                        <a:pt x="1106" y="221"/>
                        <a:pt x="1263" y="381"/>
                        <a:pt x="1248" y="621"/>
                      </a:cubicBezTo>
                      <a:cubicBezTo>
                        <a:pt x="1237" y="762"/>
                        <a:pt x="1181" y="897"/>
                        <a:pt x="931" y="1109"/>
                      </a:cubicBezTo>
                      <a:lnTo>
                        <a:pt x="12" y="1890"/>
                      </a:lnTo>
                      <a:lnTo>
                        <a:pt x="1" y="2040"/>
                      </a:lnTo>
                      <a:lnTo>
                        <a:pt x="1450" y="2148"/>
                      </a:lnTo>
                      <a:lnTo>
                        <a:pt x="1464" y="1957"/>
                      </a:lnTo>
                      <a:lnTo>
                        <a:pt x="326" y="1876"/>
                      </a:lnTo>
                      <a:lnTo>
                        <a:pt x="1080" y="1233"/>
                      </a:lnTo>
                      <a:cubicBezTo>
                        <a:pt x="1379" y="983"/>
                        <a:pt x="1454" y="811"/>
                        <a:pt x="1469" y="613"/>
                      </a:cubicBezTo>
                      <a:cubicBezTo>
                        <a:pt x="1491" y="266"/>
                        <a:pt x="1240" y="34"/>
                        <a:pt x="823" y="4"/>
                      </a:cubicBezTo>
                      <a:cubicBezTo>
                        <a:pt x="790" y="2"/>
                        <a:pt x="757" y="1"/>
                        <a:pt x="725" y="1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37" name="Google Shape;2688;p46">
                  <a:extLst>
                    <a:ext uri="{FF2B5EF4-FFF2-40B4-BE49-F238E27FC236}">
                      <a16:creationId xmlns:a16="http://schemas.microsoft.com/office/drawing/2014/main" id="{37A03513-7033-3D51-E75E-ABE5C8E338E3}"/>
                    </a:ext>
                  </a:extLst>
                </p:cNvPr>
                <p:cNvSpPr/>
                <p:nvPr/>
              </p:nvSpPr>
              <p:spPr>
                <a:xfrm>
                  <a:off x="6078197" y="2713983"/>
                  <a:ext cx="74146" cy="856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09" h="2089" extrusionOk="0">
                      <a:moveTo>
                        <a:pt x="1207" y="1"/>
                      </a:moveTo>
                      <a:lnTo>
                        <a:pt x="12" y="1290"/>
                      </a:lnTo>
                      <a:lnTo>
                        <a:pt x="1" y="1443"/>
                      </a:lnTo>
                      <a:lnTo>
                        <a:pt x="1166" y="1528"/>
                      </a:lnTo>
                      <a:lnTo>
                        <a:pt x="1129" y="2074"/>
                      </a:lnTo>
                      <a:lnTo>
                        <a:pt x="1342" y="2089"/>
                      </a:lnTo>
                      <a:lnTo>
                        <a:pt x="1379" y="1544"/>
                      </a:lnTo>
                      <a:lnTo>
                        <a:pt x="1794" y="1573"/>
                      </a:lnTo>
                      <a:lnTo>
                        <a:pt x="1808" y="1387"/>
                      </a:lnTo>
                      <a:lnTo>
                        <a:pt x="1394" y="1357"/>
                      </a:lnTo>
                      <a:lnTo>
                        <a:pt x="1427" y="875"/>
                      </a:lnTo>
                      <a:lnTo>
                        <a:pt x="1222" y="864"/>
                      </a:lnTo>
                      <a:lnTo>
                        <a:pt x="1185" y="1342"/>
                      </a:lnTo>
                      <a:lnTo>
                        <a:pt x="289" y="1275"/>
                      </a:lnTo>
                      <a:lnTo>
                        <a:pt x="1442" y="16"/>
                      </a:lnTo>
                      <a:lnTo>
                        <a:pt x="1207" y="1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38" name="Google Shape;2689;p46">
                  <a:extLst>
                    <a:ext uri="{FF2B5EF4-FFF2-40B4-BE49-F238E27FC236}">
                      <a16:creationId xmlns:a16="http://schemas.microsoft.com/office/drawing/2014/main" id="{2673F23A-24F4-B599-8FA1-E152C50F67A2}"/>
                    </a:ext>
                  </a:extLst>
                </p:cNvPr>
                <p:cNvSpPr/>
                <p:nvPr/>
              </p:nvSpPr>
              <p:spPr>
                <a:xfrm>
                  <a:off x="6208165" y="2723327"/>
                  <a:ext cx="74146" cy="857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09" h="2093" extrusionOk="0">
                      <a:moveTo>
                        <a:pt x="1207" y="1"/>
                      </a:moveTo>
                      <a:lnTo>
                        <a:pt x="12" y="1293"/>
                      </a:lnTo>
                      <a:lnTo>
                        <a:pt x="1" y="1447"/>
                      </a:lnTo>
                      <a:lnTo>
                        <a:pt x="1166" y="1533"/>
                      </a:lnTo>
                      <a:lnTo>
                        <a:pt x="1129" y="2078"/>
                      </a:lnTo>
                      <a:lnTo>
                        <a:pt x="1342" y="2093"/>
                      </a:lnTo>
                      <a:lnTo>
                        <a:pt x="1379" y="1547"/>
                      </a:lnTo>
                      <a:lnTo>
                        <a:pt x="1793" y="1577"/>
                      </a:lnTo>
                      <a:lnTo>
                        <a:pt x="1809" y="1390"/>
                      </a:lnTo>
                      <a:lnTo>
                        <a:pt x="1394" y="1361"/>
                      </a:lnTo>
                      <a:lnTo>
                        <a:pt x="1428" y="879"/>
                      </a:lnTo>
                      <a:lnTo>
                        <a:pt x="1222" y="864"/>
                      </a:lnTo>
                      <a:lnTo>
                        <a:pt x="1185" y="1345"/>
                      </a:lnTo>
                      <a:lnTo>
                        <a:pt x="288" y="1278"/>
                      </a:lnTo>
                      <a:lnTo>
                        <a:pt x="1443" y="19"/>
                      </a:lnTo>
                      <a:lnTo>
                        <a:pt x="1207" y="1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39" name="Google Shape;2690;p46">
                  <a:extLst>
                    <a:ext uri="{FF2B5EF4-FFF2-40B4-BE49-F238E27FC236}">
                      <a16:creationId xmlns:a16="http://schemas.microsoft.com/office/drawing/2014/main" id="{3E0BE09D-A391-2F79-3E53-AD5741EEA943}"/>
                    </a:ext>
                  </a:extLst>
                </p:cNvPr>
                <p:cNvSpPr/>
                <p:nvPr/>
              </p:nvSpPr>
              <p:spPr>
                <a:xfrm>
                  <a:off x="6293745" y="2727180"/>
                  <a:ext cx="63408" cy="871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7" h="2126" extrusionOk="0">
                      <a:moveTo>
                        <a:pt x="386" y="1"/>
                      </a:moveTo>
                      <a:lnTo>
                        <a:pt x="202" y="1032"/>
                      </a:lnTo>
                      <a:lnTo>
                        <a:pt x="643" y="1061"/>
                      </a:lnTo>
                      <a:cubicBezTo>
                        <a:pt x="1170" y="1103"/>
                        <a:pt x="1323" y="1278"/>
                        <a:pt x="1305" y="1543"/>
                      </a:cubicBezTo>
                      <a:cubicBezTo>
                        <a:pt x="1287" y="1779"/>
                        <a:pt x="1112" y="1931"/>
                        <a:pt x="807" y="1931"/>
                      </a:cubicBezTo>
                      <a:cubicBezTo>
                        <a:pt x="783" y="1931"/>
                        <a:pt x="758" y="1930"/>
                        <a:pt x="733" y="1928"/>
                      </a:cubicBezTo>
                      <a:cubicBezTo>
                        <a:pt x="467" y="1909"/>
                        <a:pt x="240" y="1789"/>
                        <a:pt x="117" y="1644"/>
                      </a:cubicBezTo>
                      <a:lnTo>
                        <a:pt x="0" y="1804"/>
                      </a:lnTo>
                      <a:cubicBezTo>
                        <a:pt x="146" y="1977"/>
                        <a:pt x="423" y="2099"/>
                        <a:pt x="722" y="2122"/>
                      </a:cubicBezTo>
                      <a:cubicBezTo>
                        <a:pt x="755" y="2124"/>
                        <a:pt x="787" y="2125"/>
                        <a:pt x="818" y="2125"/>
                      </a:cubicBezTo>
                      <a:cubicBezTo>
                        <a:pt x="1263" y="2125"/>
                        <a:pt x="1496" y="1878"/>
                        <a:pt x="1517" y="1551"/>
                      </a:cubicBezTo>
                      <a:cubicBezTo>
                        <a:pt x="1547" y="1184"/>
                        <a:pt x="1327" y="923"/>
                        <a:pt x="703" y="878"/>
                      </a:cubicBezTo>
                      <a:lnTo>
                        <a:pt x="438" y="856"/>
                      </a:lnTo>
                      <a:lnTo>
                        <a:pt x="557" y="202"/>
                      </a:lnTo>
                      <a:lnTo>
                        <a:pt x="1502" y="273"/>
                      </a:lnTo>
                      <a:lnTo>
                        <a:pt x="1517" y="82"/>
                      </a:lnTo>
                      <a:lnTo>
                        <a:pt x="386" y="1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40" name="Google Shape;2691;p46">
                  <a:extLst>
                    <a:ext uri="{FF2B5EF4-FFF2-40B4-BE49-F238E27FC236}">
                      <a16:creationId xmlns:a16="http://schemas.microsoft.com/office/drawing/2014/main" id="{8F6453F6-1BC7-3895-BD14-D4A620D26CD8}"/>
                    </a:ext>
                  </a:extLst>
                </p:cNvPr>
                <p:cNvSpPr/>
                <p:nvPr/>
              </p:nvSpPr>
              <p:spPr>
                <a:xfrm>
                  <a:off x="6375349" y="2734230"/>
                  <a:ext cx="65744" cy="86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04" h="2106" extrusionOk="0">
                      <a:moveTo>
                        <a:pt x="815" y="1025"/>
                      </a:moveTo>
                      <a:cubicBezTo>
                        <a:pt x="834" y="1025"/>
                        <a:pt x="854" y="1026"/>
                        <a:pt x="874" y="1027"/>
                      </a:cubicBezTo>
                      <a:cubicBezTo>
                        <a:pt x="1196" y="1050"/>
                        <a:pt x="1383" y="1236"/>
                        <a:pt x="1364" y="1510"/>
                      </a:cubicBezTo>
                      <a:cubicBezTo>
                        <a:pt x="1346" y="1771"/>
                        <a:pt x="1148" y="1925"/>
                        <a:pt x="874" y="1925"/>
                      </a:cubicBezTo>
                      <a:cubicBezTo>
                        <a:pt x="858" y="1925"/>
                        <a:pt x="842" y="1925"/>
                        <a:pt x="826" y="1924"/>
                      </a:cubicBezTo>
                      <a:cubicBezTo>
                        <a:pt x="467" y="1898"/>
                        <a:pt x="295" y="1666"/>
                        <a:pt x="310" y="1438"/>
                      </a:cubicBezTo>
                      <a:cubicBezTo>
                        <a:pt x="328" y="1197"/>
                        <a:pt x="532" y="1025"/>
                        <a:pt x="815" y="1025"/>
                      </a:cubicBezTo>
                      <a:close/>
                      <a:moveTo>
                        <a:pt x="991" y="1"/>
                      </a:moveTo>
                      <a:cubicBezTo>
                        <a:pt x="472" y="1"/>
                        <a:pt x="96" y="338"/>
                        <a:pt x="49" y="1008"/>
                      </a:cubicBezTo>
                      <a:cubicBezTo>
                        <a:pt x="0" y="1658"/>
                        <a:pt x="273" y="2062"/>
                        <a:pt x="822" y="2103"/>
                      </a:cubicBezTo>
                      <a:cubicBezTo>
                        <a:pt x="846" y="2105"/>
                        <a:pt x="869" y="2106"/>
                        <a:pt x="891" y="2106"/>
                      </a:cubicBezTo>
                      <a:cubicBezTo>
                        <a:pt x="1259" y="2106"/>
                        <a:pt x="1548" y="1883"/>
                        <a:pt x="1573" y="1520"/>
                      </a:cubicBezTo>
                      <a:cubicBezTo>
                        <a:pt x="1603" y="1139"/>
                        <a:pt x="1334" y="878"/>
                        <a:pt x="923" y="848"/>
                      </a:cubicBezTo>
                      <a:cubicBezTo>
                        <a:pt x="899" y="846"/>
                        <a:pt x="875" y="845"/>
                        <a:pt x="851" y="845"/>
                      </a:cubicBezTo>
                      <a:cubicBezTo>
                        <a:pt x="594" y="845"/>
                        <a:pt x="371" y="956"/>
                        <a:pt x="262" y="1158"/>
                      </a:cubicBezTo>
                      <a:cubicBezTo>
                        <a:pt x="262" y="1095"/>
                        <a:pt x="262" y="1034"/>
                        <a:pt x="266" y="986"/>
                      </a:cubicBezTo>
                      <a:cubicBezTo>
                        <a:pt x="305" y="455"/>
                        <a:pt x="586" y="189"/>
                        <a:pt x="994" y="189"/>
                      </a:cubicBezTo>
                      <a:cubicBezTo>
                        <a:pt x="1016" y="189"/>
                        <a:pt x="1039" y="189"/>
                        <a:pt x="1062" y="191"/>
                      </a:cubicBezTo>
                      <a:cubicBezTo>
                        <a:pt x="1214" y="202"/>
                        <a:pt x="1357" y="239"/>
                        <a:pt x="1457" y="317"/>
                      </a:cubicBezTo>
                      <a:lnTo>
                        <a:pt x="1555" y="153"/>
                      </a:lnTo>
                      <a:cubicBezTo>
                        <a:pt x="1431" y="64"/>
                        <a:pt x="1259" y="19"/>
                        <a:pt x="1072" y="4"/>
                      </a:cubicBezTo>
                      <a:cubicBezTo>
                        <a:pt x="1045" y="2"/>
                        <a:pt x="1018" y="1"/>
                        <a:pt x="991" y="1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41" name="Google Shape;2692;p46">
                  <a:extLst>
                    <a:ext uri="{FF2B5EF4-FFF2-40B4-BE49-F238E27FC236}">
                      <a16:creationId xmlns:a16="http://schemas.microsoft.com/office/drawing/2014/main" id="{C1BA7EA6-762D-03E9-5F49-0F66D80BFC9C}"/>
                    </a:ext>
                  </a:extLst>
                </p:cNvPr>
                <p:cNvSpPr/>
                <p:nvPr/>
              </p:nvSpPr>
              <p:spPr>
                <a:xfrm>
                  <a:off x="6493554" y="2741279"/>
                  <a:ext cx="63408" cy="8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7" h="2137" extrusionOk="0">
                      <a:moveTo>
                        <a:pt x="217" y="0"/>
                      </a:moveTo>
                      <a:lnTo>
                        <a:pt x="202" y="187"/>
                      </a:lnTo>
                      <a:lnTo>
                        <a:pt x="1262" y="265"/>
                      </a:lnTo>
                      <a:lnTo>
                        <a:pt x="635" y="941"/>
                      </a:lnTo>
                      <a:lnTo>
                        <a:pt x="624" y="1098"/>
                      </a:lnTo>
                      <a:lnTo>
                        <a:pt x="773" y="1109"/>
                      </a:lnTo>
                      <a:cubicBezTo>
                        <a:pt x="1154" y="1139"/>
                        <a:pt x="1319" y="1315"/>
                        <a:pt x="1300" y="1562"/>
                      </a:cubicBezTo>
                      <a:cubicBezTo>
                        <a:pt x="1283" y="1799"/>
                        <a:pt x="1110" y="1941"/>
                        <a:pt x="817" y="1941"/>
                      </a:cubicBezTo>
                      <a:cubicBezTo>
                        <a:pt x="792" y="1941"/>
                        <a:pt x="766" y="1940"/>
                        <a:pt x="740" y="1938"/>
                      </a:cubicBezTo>
                      <a:cubicBezTo>
                        <a:pt x="471" y="1920"/>
                        <a:pt x="239" y="1800"/>
                        <a:pt x="116" y="1655"/>
                      </a:cubicBezTo>
                      <a:lnTo>
                        <a:pt x="0" y="1815"/>
                      </a:lnTo>
                      <a:cubicBezTo>
                        <a:pt x="145" y="1988"/>
                        <a:pt x="426" y="2114"/>
                        <a:pt x="724" y="2133"/>
                      </a:cubicBezTo>
                      <a:cubicBezTo>
                        <a:pt x="758" y="2135"/>
                        <a:pt x="791" y="2137"/>
                        <a:pt x="823" y="2137"/>
                      </a:cubicBezTo>
                      <a:cubicBezTo>
                        <a:pt x="1261" y="2137"/>
                        <a:pt x="1496" y="1900"/>
                        <a:pt x="1520" y="1576"/>
                      </a:cubicBezTo>
                      <a:cubicBezTo>
                        <a:pt x="1543" y="1248"/>
                        <a:pt x="1338" y="997"/>
                        <a:pt x="897" y="941"/>
                      </a:cubicBezTo>
                      <a:lnTo>
                        <a:pt x="1535" y="247"/>
                      </a:lnTo>
                      <a:lnTo>
                        <a:pt x="1546" y="97"/>
                      </a:lnTo>
                      <a:lnTo>
                        <a:pt x="217" y="0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42" name="Google Shape;2693;p46">
                  <a:extLst>
                    <a:ext uri="{FF2B5EF4-FFF2-40B4-BE49-F238E27FC236}">
                      <a16:creationId xmlns:a16="http://schemas.microsoft.com/office/drawing/2014/main" id="{5BCC2174-914C-E461-F497-BCC5345C16A2}"/>
                    </a:ext>
                  </a:extLst>
                </p:cNvPr>
                <p:cNvSpPr/>
                <p:nvPr/>
              </p:nvSpPr>
              <p:spPr>
                <a:xfrm>
                  <a:off x="6576347" y="2748903"/>
                  <a:ext cx="65744" cy="8636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04" h="2107" extrusionOk="0">
                      <a:moveTo>
                        <a:pt x="825" y="1022"/>
                      </a:moveTo>
                      <a:cubicBezTo>
                        <a:pt x="843" y="1022"/>
                        <a:pt x="860" y="1023"/>
                        <a:pt x="878" y="1024"/>
                      </a:cubicBezTo>
                      <a:cubicBezTo>
                        <a:pt x="1196" y="1047"/>
                        <a:pt x="1387" y="1237"/>
                        <a:pt x="1364" y="1510"/>
                      </a:cubicBezTo>
                      <a:cubicBezTo>
                        <a:pt x="1346" y="1766"/>
                        <a:pt x="1151" y="1923"/>
                        <a:pt x="881" y="1923"/>
                      </a:cubicBezTo>
                      <a:cubicBezTo>
                        <a:pt x="863" y="1923"/>
                        <a:pt x="845" y="1922"/>
                        <a:pt x="826" y="1921"/>
                      </a:cubicBezTo>
                      <a:cubicBezTo>
                        <a:pt x="471" y="1895"/>
                        <a:pt x="296" y="1667"/>
                        <a:pt x="314" y="1438"/>
                      </a:cubicBezTo>
                      <a:cubicBezTo>
                        <a:pt x="332" y="1196"/>
                        <a:pt x="536" y="1022"/>
                        <a:pt x="825" y="1022"/>
                      </a:cubicBezTo>
                      <a:close/>
                      <a:moveTo>
                        <a:pt x="985" y="1"/>
                      </a:moveTo>
                      <a:cubicBezTo>
                        <a:pt x="470" y="1"/>
                        <a:pt x="99" y="341"/>
                        <a:pt x="49" y="1005"/>
                      </a:cubicBezTo>
                      <a:cubicBezTo>
                        <a:pt x="1" y="1659"/>
                        <a:pt x="273" y="2062"/>
                        <a:pt x="823" y="2104"/>
                      </a:cubicBezTo>
                      <a:cubicBezTo>
                        <a:pt x="846" y="2105"/>
                        <a:pt x="869" y="2106"/>
                        <a:pt x="892" y="2106"/>
                      </a:cubicBezTo>
                      <a:cubicBezTo>
                        <a:pt x="1262" y="2106"/>
                        <a:pt x="1549" y="1883"/>
                        <a:pt x="1577" y="1517"/>
                      </a:cubicBezTo>
                      <a:cubicBezTo>
                        <a:pt x="1603" y="1140"/>
                        <a:pt x="1335" y="878"/>
                        <a:pt x="923" y="849"/>
                      </a:cubicBezTo>
                      <a:cubicBezTo>
                        <a:pt x="898" y="847"/>
                        <a:pt x="874" y="846"/>
                        <a:pt x="850" y="846"/>
                      </a:cubicBezTo>
                      <a:cubicBezTo>
                        <a:pt x="593" y="846"/>
                        <a:pt x="375" y="954"/>
                        <a:pt x="266" y="1155"/>
                      </a:cubicBezTo>
                      <a:cubicBezTo>
                        <a:pt x="262" y="1092"/>
                        <a:pt x="266" y="1035"/>
                        <a:pt x="270" y="987"/>
                      </a:cubicBezTo>
                      <a:cubicBezTo>
                        <a:pt x="308" y="458"/>
                        <a:pt x="584" y="189"/>
                        <a:pt x="988" y="189"/>
                      </a:cubicBezTo>
                      <a:cubicBezTo>
                        <a:pt x="1012" y="189"/>
                        <a:pt x="1036" y="190"/>
                        <a:pt x="1061" y="192"/>
                      </a:cubicBezTo>
                      <a:cubicBezTo>
                        <a:pt x="1218" y="202"/>
                        <a:pt x="1357" y="240"/>
                        <a:pt x="1457" y="318"/>
                      </a:cubicBezTo>
                      <a:lnTo>
                        <a:pt x="1554" y="154"/>
                      </a:lnTo>
                      <a:cubicBezTo>
                        <a:pt x="1431" y="64"/>
                        <a:pt x="1259" y="19"/>
                        <a:pt x="1073" y="4"/>
                      </a:cubicBezTo>
                      <a:cubicBezTo>
                        <a:pt x="1043" y="2"/>
                        <a:pt x="1014" y="1"/>
                        <a:pt x="985" y="1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43" name="Google Shape;2694;p46">
                  <a:extLst>
                    <a:ext uri="{FF2B5EF4-FFF2-40B4-BE49-F238E27FC236}">
                      <a16:creationId xmlns:a16="http://schemas.microsoft.com/office/drawing/2014/main" id="{4B3D7DC3-EACC-6842-8E54-DD32D57B81C8}"/>
                    </a:ext>
                  </a:extLst>
                </p:cNvPr>
                <p:cNvSpPr/>
                <p:nvPr/>
              </p:nvSpPr>
              <p:spPr>
                <a:xfrm>
                  <a:off x="6659304" y="2752715"/>
                  <a:ext cx="64063" cy="86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63" h="2120" extrusionOk="0">
                      <a:moveTo>
                        <a:pt x="42" y="1"/>
                      </a:moveTo>
                      <a:lnTo>
                        <a:pt x="1" y="580"/>
                      </a:lnTo>
                      <a:lnTo>
                        <a:pt x="211" y="595"/>
                      </a:lnTo>
                      <a:lnTo>
                        <a:pt x="237" y="207"/>
                      </a:lnTo>
                      <a:lnTo>
                        <a:pt x="1301" y="285"/>
                      </a:lnTo>
                      <a:lnTo>
                        <a:pt x="315" y="2100"/>
                      </a:lnTo>
                      <a:lnTo>
                        <a:pt x="543" y="2119"/>
                      </a:lnTo>
                      <a:lnTo>
                        <a:pt x="1552" y="263"/>
                      </a:lnTo>
                      <a:lnTo>
                        <a:pt x="1562" y="113"/>
                      </a:lnTo>
                      <a:lnTo>
                        <a:pt x="42" y="1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44" name="Google Shape;2695;p46">
                  <a:extLst>
                    <a:ext uri="{FF2B5EF4-FFF2-40B4-BE49-F238E27FC236}">
                      <a16:creationId xmlns:a16="http://schemas.microsoft.com/office/drawing/2014/main" id="{E6433384-3CE8-FEB8-B423-A65E7461D949}"/>
                    </a:ext>
                  </a:extLst>
                </p:cNvPr>
                <p:cNvSpPr/>
                <p:nvPr/>
              </p:nvSpPr>
              <p:spPr>
                <a:xfrm>
                  <a:off x="6780583" y="2761609"/>
                  <a:ext cx="64022" cy="868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62" h="2119" extrusionOk="0">
                      <a:moveTo>
                        <a:pt x="41" y="1"/>
                      </a:moveTo>
                      <a:lnTo>
                        <a:pt x="0" y="576"/>
                      </a:lnTo>
                      <a:lnTo>
                        <a:pt x="210" y="591"/>
                      </a:lnTo>
                      <a:lnTo>
                        <a:pt x="236" y="206"/>
                      </a:lnTo>
                      <a:lnTo>
                        <a:pt x="1300" y="281"/>
                      </a:lnTo>
                      <a:lnTo>
                        <a:pt x="314" y="2100"/>
                      </a:lnTo>
                      <a:lnTo>
                        <a:pt x="542" y="2119"/>
                      </a:lnTo>
                      <a:lnTo>
                        <a:pt x="1551" y="263"/>
                      </a:lnTo>
                      <a:lnTo>
                        <a:pt x="1562" y="113"/>
                      </a:lnTo>
                      <a:lnTo>
                        <a:pt x="41" y="1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45" name="Google Shape;2696;p46">
                  <a:extLst>
                    <a:ext uri="{FF2B5EF4-FFF2-40B4-BE49-F238E27FC236}">
                      <a16:creationId xmlns:a16="http://schemas.microsoft.com/office/drawing/2014/main" id="{8F1BF9B2-B4CE-5F2F-07A9-3F95D3AA85E2}"/>
                    </a:ext>
                  </a:extLst>
                </p:cNvPr>
                <p:cNvSpPr/>
                <p:nvPr/>
              </p:nvSpPr>
              <p:spPr>
                <a:xfrm>
                  <a:off x="6856818" y="2768945"/>
                  <a:ext cx="67547" cy="86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48" h="2113" extrusionOk="0">
                      <a:moveTo>
                        <a:pt x="850" y="181"/>
                      </a:moveTo>
                      <a:cubicBezTo>
                        <a:pt x="872" y="181"/>
                        <a:pt x="895" y="182"/>
                        <a:pt x="919" y="184"/>
                      </a:cubicBezTo>
                      <a:cubicBezTo>
                        <a:pt x="1229" y="206"/>
                        <a:pt x="1424" y="363"/>
                        <a:pt x="1408" y="599"/>
                      </a:cubicBezTo>
                      <a:cubicBezTo>
                        <a:pt x="1391" y="806"/>
                        <a:pt x="1217" y="934"/>
                        <a:pt x="936" y="934"/>
                      </a:cubicBezTo>
                      <a:cubicBezTo>
                        <a:pt x="914" y="934"/>
                        <a:pt x="891" y="933"/>
                        <a:pt x="867" y="932"/>
                      </a:cubicBezTo>
                      <a:cubicBezTo>
                        <a:pt x="546" y="905"/>
                        <a:pt x="367" y="748"/>
                        <a:pt x="381" y="520"/>
                      </a:cubicBezTo>
                      <a:cubicBezTo>
                        <a:pt x="398" y="306"/>
                        <a:pt x="575" y="181"/>
                        <a:pt x="850" y="181"/>
                      </a:cubicBezTo>
                      <a:close/>
                      <a:moveTo>
                        <a:pt x="772" y="1096"/>
                      </a:moveTo>
                      <a:cubicBezTo>
                        <a:pt x="799" y="1096"/>
                        <a:pt x="827" y="1097"/>
                        <a:pt x="856" y="1099"/>
                      </a:cubicBezTo>
                      <a:cubicBezTo>
                        <a:pt x="1222" y="1125"/>
                        <a:pt x="1427" y="1301"/>
                        <a:pt x="1408" y="1555"/>
                      </a:cubicBezTo>
                      <a:cubicBezTo>
                        <a:pt x="1391" y="1792"/>
                        <a:pt x="1193" y="1931"/>
                        <a:pt x="876" y="1931"/>
                      </a:cubicBezTo>
                      <a:cubicBezTo>
                        <a:pt x="849" y="1931"/>
                        <a:pt x="821" y="1930"/>
                        <a:pt x="793" y="1928"/>
                      </a:cubicBezTo>
                      <a:cubicBezTo>
                        <a:pt x="426" y="1902"/>
                        <a:pt x="224" y="1727"/>
                        <a:pt x="243" y="1469"/>
                      </a:cubicBezTo>
                      <a:cubicBezTo>
                        <a:pt x="260" y="1235"/>
                        <a:pt x="452" y="1096"/>
                        <a:pt x="772" y="1096"/>
                      </a:cubicBezTo>
                      <a:close/>
                      <a:moveTo>
                        <a:pt x="838" y="1"/>
                      </a:moveTo>
                      <a:cubicBezTo>
                        <a:pt x="454" y="1"/>
                        <a:pt x="193" y="187"/>
                        <a:pt x="169" y="498"/>
                      </a:cubicBezTo>
                      <a:cubicBezTo>
                        <a:pt x="153" y="715"/>
                        <a:pt x="258" y="879"/>
                        <a:pt x="464" y="976"/>
                      </a:cubicBezTo>
                      <a:cubicBezTo>
                        <a:pt x="198" y="1044"/>
                        <a:pt x="45" y="1208"/>
                        <a:pt x="27" y="1458"/>
                      </a:cubicBezTo>
                      <a:cubicBezTo>
                        <a:pt x="0" y="1823"/>
                        <a:pt x="284" y="2074"/>
                        <a:pt x="781" y="2108"/>
                      </a:cubicBezTo>
                      <a:cubicBezTo>
                        <a:pt x="820" y="2111"/>
                        <a:pt x="857" y="2112"/>
                        <a:pt x="894" y="2112"/>
                      </a:cubicBezTo>
                      <a:cubicBezTo>
                        <a:pt x="1324" y="2112"/>
                        <a:pt x="1605" y="1911"/>
                        <a:pt x="1629" y="1573"/>
                      </a:cubicBezTo>
                      <a:cubicBezTo>
                        <a:pt x="1644" y="1327"/>
                        <a:pt x="1513" y="1140"/>
                        <a:pt x="1260" y="1036"/>
                      </a:cubicBezTo>
                      <a:cubicBezTo>
                        <a:pt x="1479" y="968"/>
                        <a:pt x="1606" y="819"/>
                        <a:pt x="1625" y="606"/>
                      </a:cubicBezTo>
                      <a:cubicBezTo>
                        <a:pt x="1648" y="266"/>
                        <a:pt x="1372" y="35"/>
                        <a:pt x="934" y="5"/>
                      </a:cubicBezTo>
                      <a:cubicBezTo>
                        <a:pt x="901" y="2"/>
                        <a:pt x="869" y="1"/>
                        <a:pt x="838" y="1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46" name="Google Shape;2697;p46">
                  <a:extLst>
                    <a:ext uri="{FF2B5EF4-FFF2-40B4-BE49-F238E27FC236}">
                      <a16:creationId xmlns:a16="http://schemas.microsoft.com/office/drawing/2014/main" id="{059A878A-F2D7-D4A0-6098-EA515F15034A}"/>
                    </a:ext>
                  </a:extLst>
                </p:cNvPr>
                <p:cNvSpPr/>
                <p:nvPr/>
              </p:nvSpPr>
              <p:spPr>
                <a:xfrm>
                  <a:off x="6943627" y="2774847"/>
                  <a:ext cx="65703" cy="86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03" h="2106" extrusionOk="0">
                      <a:moveTo>
                        <a:pt x="723" y="184"/>
                      </a:moveTo>
                      <a:cubicBezTo>
                        <a:pt x="741" y="184"/>
                        <a:pt x="759" y="185"/>
                        <a:pt x="778" y="186"/>
                      </a:cubicBezTo>
                      <a:cubicBezTo>
                        <a:pt x="1136" y="212"/>
                        <a:pt x="1307" y="440"/>
                        <a:pt x="1293" y="667"/>
                      </a:cubicBezTo>
                      <a:cubicBezTo>
                        <a:pt x="1275" y="911"/>
                        <a:pt x="1068" y="1084"/>
                        <a:pt x="778" y="1084"/>
                      </a:cubicBezTo>
                      <a:cubicBezTo>
                        <a:pt x="760" y="1084"/>
                        <a:pt x="743" y="1084"/>
                        <a:pt x="725" y="1082"/>
                      </a:cubicBezTo>
                      <a:cubicBezTo>
                        <a:pt x="407" y="1060"/>
                        <a:pt x="221" y="869"/>
                        <a:pt x="240" y="597"/>
                      </a:cubicBezTo>
                      <a:cubicBezTo>
                        <a:pt x="257" y="341"/>
                        <a:pt x="452" y="184"/>
                        <a:pt x="723" y="184"/>
                      </a:cubicBezTo>
                      <a:close/>
                      <a:moveTo>
                        <a:pt x="710" y="0"/>
                      </a:moveTo>
                      <a:cubicBezTo>
                        <a:pt x="340" y="0"/>
                        <a:pt x="54" y="224"/>
                        <a:pt x="30" y="589"/>
                      </a:cubicBezTo>
                      <a:cubicBezTo>
                        <a:pt x="0" y="967"/>
                        <a:pt x="269" y="1228"/>
                        <a:pt x="680" y="1258"/>
                      </a:cubicBezTo>
                      <a:cubicBezTo>
                        <a:pt x="705" y="1260"/>
                        <a:pt x="729" y="1261"/>
                        <a:pt x="753" y="1261"/>
                      </a:cubicBezTo>
                      <a:cubicBezTo>
                        <a:pt x="1010" y="1261"/>
                        <a:pt x="1228" y="1153"/>
                        <a:pt x="1338" y="952"/>
                      </a:cubicBezTo>
                      <a:cubicBezTo>
                        <a:pt x="1341" y="1012"/>
                        <a:pt x="1338" y="1071"/>
                        <a:pt x="1338" y="1119"/>
                      </a:cubicBezTo>
                      <a:cubicBezTo>
                        <a:pt x="1299" y="1649"/>
                        <a:pt x="1020" y="1918"/>
                        <a:pt x="614" y="1918"/>
                      </a:cubicBezTo>
                      <a:cubicBezTo>
                        <a:pt x="590" y="1918"/>
                        <a:pt x="566" y="1917"/>
                        <a:pt x="542" y="1915"/>
                      </a:cubicBezTo>
                      <a:cubicBezTo>
                        <a:pt x="389" y="1904"/>
                        <a:pt x="247" y="1867"/>
                        <a:pt x="146" y="1788"/>
                      </a:cubicBezTo>
                      <a:lnTo>
                        <a:pt x="49" y="1953"/>
                      </a:lnTo>
                      <a:cubicBezTo>
                        <a:pt x="172" y="2043"/>
                        <a:pt x="344" y="2087"/>
                        <a:pt x="531" y="2102"/>
                      </a:cubicBezTo>
                      <a:cubicBezTo>
                        <a:pt x="561" y="2104"/>
                        <a:pt x="591" y="2105"/>
                        <a:pt x="621" y="2105"/>
                      </a:cubicBezTo>
                      <a:cubicBezTo>
                        <a:pt x="1135" y="2105"/>
                        <a:pt x="1505" y="1765"/>
                        <a:pt x="1554" y="1101"/>
                      </a:cubicBezTo>
                      <a:cubicBezTo>
                        <a:pt x="1602" y="447"/>
                        <a:pt x="1330" y="43"/>
                        <a:pt x="781" y="3"/>
                      </a:cubicBezTo>
                      <a:cubicBezTo>
                        <a:pt x="757" y="1"/>
                        <a:pt x="733" y="0"/>
                        <a:pt x="710" y="0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47" name="Google Shape;2698;p46">
                  <a:extLst>
                    <a:ext uri="{FF2B5EF4-FFF2-40B4-BE49-F238E27FC236}">
                      <a16:creationId xmlns:a16="http://schemas.microsoft.com/office/drawing/2014/main" id="{927E8831-6881-8CB5-4EBF-62270ED1372E}"/>
                    </a:ext>
                  </a:extLst>
                </p:cNvPr>
                <p:cNvSpPr/>
                <p:nvPr/>
              </p:nvSpPr>
              <p:spPr>
                <a:xfrm>
                  <a:off x="7066997" y="2782470"/>
                  <a:ext cx="29429" cy="86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8" h="2118" extrusionOk="0">
                      <a:moveTo>
                        <a:pt x="16" y="0"/>
                      </a:moveTo>
                      <a:lnTo>
                        <a:pt x="1" y="186"/>
                      </a:lnTo>
                      <a:lnTo>
                        <a:pt x="490" y="224"/>
                      </a:lnTo>
                      <a:lnTo>
                        <a:pt x="352" y="2103"/>
                      </a:lnTo>
                      <a:lnTo>
                        <a:pt x="564" y="2117"/>
                      </a:lnTo>
                      <a:lnTo>
                        <a:pt x="718" y="48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48" name="Google Shape;2699;p46">
                  <a:extLst>
                    <a:ext uri="{FF2B5EF4-FFF2-40B4-BE49-F238E27FC236}">
                      <a16:creationId xmlns:a16="http://schemas.microsoft.com/office/drawing/2014/main" id="{4BFACDAC-C85C-C8EA-326A-63A5E23AC67A}"/>
                    </a:ext>
                  </a:extLst>
                </p:cNvPr>
                <p:cNvSpPr/>
                <p:nvPr/>
              </p:nvSpPr>
              <p:spPr>
                <a:xfrm>
                  <a:off x="7117861" y="2787676"/>
                  <a:ext cx="61235" cy="880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94" h="2148" extrusionOk="0">
                      <a:moveTo>
                        <a:pt x="727" y="0"/>
                      </a:moveTo>
                      <a:cubicBezTo>
                        <a:pt x="453" y="0"/>
                        <a:pt x="224" y="85"/>
                        <a:pt x="71" y="246"/>
                      </a:cubicBezTo>
                      <a:lnTo>
                        <a:pt x="213" y="388"/>
                      </a:lnTo>
                      <a:cubicBezTo>
                        <a:pt x="341" y="256"/>
                        <a:pt x="504" y="194"/>
                        <a:pt x="708" y="194"/>
                      </a:cubicBezTo>
                      <a:cubicBezTo>
                        <a:pt x="735" y="194"/>
                        <a:pt x="763" y="195"/>
                        <a:pt x="792" y="198"/>
                      </a:cubicBezTo>
                      <a:cubicBezTo>
                        <a:pt x="1109" y="220"/>
                        <a:pt x="1266" y="380"/>
                        <a:pt x="1247" y="620"/>
                      </a:cubicBezTo>
                      <a:cubicBezTo>
                        <a:pt x="1240" y="761"/>
                        <a:pt x="1183" y="896"/>
                        <a:pt x="933" y="1109"/>
                      </a:cubicBezTo>
                      <a:lnTo>
                        <a:pt x="11" y="1890"/>
                      </a:lnTo>
                      <a:lnTo>
                        <a:pt x="0" y="2043"/>
                      </a:lnTo>
                      <a:lnTo>
                        <a:pt x="1452" y="2147"/>
                      </a:lnTo>
                      <a:lnTo>
                        <a:pt x="1468" y="1957"/>
                      </a:lnTo>
                      <a:lnTo>
                        <a:pt x="328" y="1875"/>
                      </a:lnTo>
                      <a:lnTo>
                        <a:pt x="1083" y="1236"/>
                      </a:lnTo>
                      <a:cubicBezTo>
                        <a:pt x="1378" y="982"/>
                        <a:pt x="1457" y="811"/>
                        <a:pt x="1468" y="613"/>
                      </a:cubicBezTo>
                      <a:cubicBezTo>
                        <a:pt x="1494" y="265"/>
                        <a:pt x="1244" y="33"/>
                        <a:pt x="825" y="4"/>
                      </a:cubicBezTo>
                      <a:cubicBezTo>
                        <a:pt x="792" y="2"/>
                        <a:pt x="759" y="0"/>
                        <a:pt x="727" y="0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49" name="Google Shape;2700;p46">
                  <a:extLst>
                    <a:ext uri="{FF2B5EF4-FFF2-40B4-BE49-F238E27FC236}">
                      <a16:creationId xmlns:a16="http://schemas.microsoft.com/office/drawing/2014/main" id="{E90B6A2B-F4A3-30FC-D1E5-C9C395E30793}"/>
                    </a:ext>
                  </a:extLst>
                </p:cNvPr>
                <p:cNvSpPr/>
                <p:nvPr/>
              </p:nvSpPr>
              <p:spPr>
                <a:xfrm>
                  <a:off x="7192825" y="2792225"/>
                  <a:ext cx="63572" cy="876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51" h="2138" extrusionOk="0">
                      <a:moveTo>
                        <a:pt x="221" y="0"/>
                      </a:moveTo>
                      <a:lnTo>
                        <a:pt x="206" y="188"/>
                      </a:lnTo>
                      <a:lnTo>
                        <a:pt x="1264" y="266"/>
                      </a:lnTo>
                      <a:lnTo>
                        <a:pt x="640" y="942"/>
                      </a:lnTo>
                      <a:lnTo>
                        <a:pt x="628" y="1099"/>
                      </a:lnTo>
                      <a:lnTo>
                        <a:pt x="774" y="1110"/>
                      </a:lnTo>
                      <a:cubicBezTo>
                        <a:pt x="1159" y="1136"/>
                        <a:pt x="1323" y="1312"/>
                        <a:pt x="1304" y="1562"/>
                      </a:cubicBezTo>
                      <a:cubicBezTo>
                        <a:pt x="1288" y="1800"/>
                        <a:pt x="1115" y="1942"/>
                        <a:pt x="817" y="1942"/>
                      </a:cubicBezTo>
                      <a:cubicBezTo>
                        <a:pt x="792" y="1942"/>
                        <a:pt x="767" y="1941"/>
                        <a:pt x="740" y="1939"/>
                      </a:cubicBezTo>
                      <a:cubicBezTo>
                        <a:pt x="471" y="1921"/>
                        <a:pt x="240" y="1801"/>
                        <a:pt x="116" y="1652"/>
                      </a:cubicBezTo>
                      <a:lnTo>
                        <a:pt x="1" y="1812"/>
                      </a:lnTo>
                      <a:cubicBezTo>
                        <a:pt x="151" y="1988"/>
                        <a:pt x="430" y="2112"/>
                        <a:pt x="730" y="2134"/>
                      </a:cubicBezTo>
                      <a:cubicBezTo>
                        <a:pt x="763" y="2136"/>
                        <a:pt x="794" y="2138"/>
                        <a:pt x="825" y="2138"/>
                      </a:cubicBezTo>
                      <a:cubicBezTo>
                        <a:pt x="1261" y="2138"/>
                        <a:pt x="1500" y="1901"/>
                        <a:pt x="1521" y="1577"/>
                      </a:cubicBezTo>
                      <a:cubicBezTo>
                        <a:pt x="1547" y="1245"/>
                        <a:pt x="1342" y="998"/>
                        <a:pt x="901" y="942"/>
                      </a:cubicBezTo>
                      <a:lnTo>
                        <a:pt x="1540" y="247"/>
                      </a:lnTo>
                      <a:lnTo>
                        <a:pt x="1551" y="98"/>
                      </a:lnTo>
                      <a:lnTo>
                        <a:pt x="221" y="0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50" name="Google Shape;2701;p46">
                  <a:extLst>
                    <a:ext uri="{FF2B5EF4-FFF2-40B4-BE49-F238E27FC236}">
                      <a16:creationId xmlns:a16="http://schemas.microsoft.com/office/drawing/2014/main" id="{80F28306-455F-F646-4EAA-0E09D3F1A305}"/>
                    </a:ext>
                  </a:extLst>
                </p:cNvPr>
                <p:cNvSpPr/>
                <p:nvPr/>
              </p:nvSpPr>
              <p:spPr>
                <a:xfrm>
                  <a:off x="6594586" y="2896781"/>
                  <a:ext cx="682032" cy="86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40" h="2108" extrusionOk="0">
                      <a:moveTo>
                        <a:pt x="68" y="1"/>
                      </a:moveTo>
                      <a:lnTo>
                        <a:pt x="0" y="901"/>
                      </a:lnTo>
                      <a:lnTo>
                        <a:pt x="16577" y="2107"/>
                      </a:lnTo>
                      <a:lnTo>
                        <a:pt x="16640" y="1207"/>
                      </a:lnTo>
                      <a:lnTo>
                        <a:pt x="68" y="1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51" name="Google Shape;2702;p46">
                  <a:extLst>
                    <a:ext uri="{FF2B5EF4-FFF2-40B4-BE49-F238E27FC236}">
                      <a16:creationId xmlns:a16="http://schemas.microsoft.com/office/drawing/2014/main" id="{24434A31-3FD8-95A2-24CB-A057A70171CA}"/>
                    </a:ext>
                  </a:extLst>
                </p:cNvPr>
                <p:cNvSpPr/>
                <p:nvPr/>
              </p:nvSpPr>
              <p:spPr>
                <a:xfrm>
                  <a:off x="6920183" y="2994492"/>
                  <a:ext cx="351099" cy="621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66" h="1517" extrusionOk="0">
                      <a:moveTo>
                        <a:pt x="64" y="0"/>
                      </a:moveTo>
                      <a:lnTo>
                        <a:pt x="0" y="897"/>
                      </a:lnTo>
                      <a:lnTo>
                        <a:pt x="8502" y="1516"/>
                      </a:lnTo>
                      <a:lnTo>
                        <a:pt x="8566" y="62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52" name="Google Shape;2703;p46">
                  <a:extLst>
                    <a:ext uri="{FF2B5EF4-FFF2-40B4-BE49-F238E27FC236}">
                      <a16:creationId xmlns:a16="http://schemas.microsoft.com/office/drawing/2014/main" id="{6BDB6887-A5FB-DFDC-D71C-5D502DD6B96F}"/>
                    </a:ext>
                  </a:extLst>
                </p:cNvPr>
                <p:cNvSpPr/>
                <p:nvPr/>
              </p:nvSpPr>
              <p:spPr>
                <a:xfrm>
                  <a:off x="5934580" y="2416915"/>
                  <a:ext cx="297528" cy="227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59" h="5542" extrusionOk="0">
                      <a:moveTo>
                        <a:pt x="1402" y="0"/>
                      </a:moveTo>
                      <a:cubicBezTo>
                        <a:pt x="805" y="0"/>
                        <a:pt x="302" y="460"/>
                        <a:pt x="259" y="1064"/>
                      </a:cubicBezTo>
                      <a:lnTo>
                        <a:pt x="46" y="3973"/>
                      </a:lnTo>
                      <a:cubicBezTo>
                        <a:pt x="1" y="4605"/>
                        <a:pt x="476" y="5154"/>
                        <a:pt x="1107" y="5199"/>
                      </a:cubicBezTo>
                      <a:lnTo>
                        <a:pt x="5776" y="5539"/>
                      </a:lnTo>
                      <a:cubicBezTo>
                        <a:pt x="5803" y="5541"/>
                        <a:pt x="5831" y="5542"/>
                        <a:pt x="5859" y="5542"/>
                      </a:cubicBezTo>
                      <a:cubicBezTo>
                        <a:pt x="6454" y="5542"/>
                        <a:pt x="6958" y="5085"/>
                        <a:pt x="7001" y="4482"/>
                      </a:cubicBezTo>
                      <a:lnTo>
                        <a:pt x="7213" y="1568"/>
                      </a:lnTo>
                      <a:cubicBezTo>
                        <a:pt x="7258" y="937"/>
                        <a:pt x="6784" y="391"/>
                        <a:pt x="6157" y="343"/>
                      </a:cubicBezTo>
                      <a:lnTo>
                        <a:pt x="1484" y="3"/>
                      </a:lnTo>
                      <a:cubicBezTo>
                        <a:pt x="1457" y="1"/>
                        <a:pt x="1429" y="0"/>
                        <a:pt x="1402" y="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653" name="Google Shape;2704;p46">
                  <a:extLst>
                    <a:ext uri="{FF2B5EF4-FFF2-40B4-BE49-F238E27FC236}">
                      <a16:creationId xmlns:a16="http://schemas.microsoft.com/office/drawing/2014/main" id="{2ED4182D-C395-89D9-52E0-F245065DF204}"/>
                    </a:ext>
                  </a:extLst>
                </p:cNvPr>
                <p:cNvGrpSpPr/>
                <p:nvPr/>
              </p:nvGrpSpPr>
              <p:grpSpPr>
                <a:xfrm>
                  <a:off x="5937326" y="2478845"/>
                  <a:ext cx="288793" cy="99682"/>
                  <a:chOff x="5937326" y="2478845"/>
                  <a:chExt cx="288793" cy="99682"/>
                </a:xfrm>
              </p:grpSpPr>
              <p:sp>
                <p:nvSpPr>
                  <p:cNvPr id="655" name="Google Shape;2705;p46">
                    <a:extLst>
                      <a:ext uri="{FF2B5EF4-FFF2-40B4-BE49-F238E27FC236}">
                        <a16:creationId xmlns:a16="http://schemas.microsoft.com/office/drawing/2014/main" id="{E8BFDA20-5887-9EA4-8897-F0FC03DD5BF6}"/>
                      </a:ext>
                    </a:extLst>
                  </p:cNvPr>
                  <p:cNvSpPr/>
                  <p:nvPr/>
                </p:nvSpPr>
                <p:spPr>
                  <a:xfrm>
                    <a:off x="5937326" y="2478845"/>
                    <a:ext cx="196207" cy="9968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787" h="2432" extrusionOk="0">
                        <a:moveTo>
                          <a:pt x="158" y="1"/>
                        </a:moveTo>
                        <a:lnTo>
                          <a:pt x="135" y="333"/>
                        </a:lnTo>
                        <a:lnTo>
                          <a:pt x="3714" y="595"/>
                        </a:lnTo>
                        <a:cubicBezTo>
                          <a:pt x="4125" y="621"/>
                          <a:pt x="4438" y="987"/>
                          <a:pt x="4409" y="1398"/>
                        </a:cubicBezTo>
                        <a:cubicBezTo>
                          <a:pt x="4380" y="1794"/>
                          <a:pt x="4052" y="2095"/>
                          <a:pt x="3660" y="2095"/>
                        </a:cubicBezTo>
                        <a:cubicBezTo>
                          <a:pt x="3642" y="2095"/>
                          <a:pt x="3624" y="2094"/>
                          <a:pt x="3606" y="2093"/>
                        </a:cubicBezTo>
                        <a:lnTo>
                          <a:pt x="28" y="1831"/>
                        </a:lnTo>
                        <a:lnTo>
                          <a:pt x="1" y="2167"/>
                        </a:lnTo>
                        <a:lnTo>
                          <a:pt x="3583" y="2429"/>
                        </a:lnTo>
                        <a:cubicBezTo>
                          <a:pt x="3608" y="2431"/>
                          <a:pt x="3633" y="2432"/>
                          <a:pt x="3658" y="2432"/>
                        </a:cubicBezTo>
                        <a:cubicBezTo>
                          <a:pt x="4224" y="2432"/>
                          <a:pt x="4702" y="1996"/>
                          <a:pt x="4745" y="1424"/>
                        </a:cubicBezTo>
                        <a:cubicBezTo>
                          <a:pt x="4786" y="826"/>
                          <a:pt x="4338" y="304"/>
                          <a:pt x="3740" y="263"/>
                        </a:cubicBezTo>
                        <a:lnTo>
                          <a:pt x="158" y="1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656" name="Google Shape;2706;p46">
                    <a:extLst>
                      <a:ext uri="{FF2B5EF4-FFF2-40B4-BE49-F238E27FC236}">
                        <a16:creationId xmlns:a16="http://schemas.microsoft.com/office/drawing/2014/main" id="{5D41FF77-1F3C-5C14-8901-7CAE32825382}"/>
                      </a:ext>
                    </a:extLst>
                  </p:cNvPr>
                  <p:cNvSpPr/>
                  <p:nvPr/>
                </p:nvSpPr>
                <p:spPr>
                  <a:xfrm>
                    <a:off x="6124430" y="2529873"/>
                    <a:ext cx="101690" cy="2098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81" h="512" extrusionOk="0">
                        <a:moveTo>
                          <a:pt x="23" y="0"/>
                        </a:moveTo>
                        <a:lnTo>
                          <a:pt x="1" y="333"/>
                        </a:lnTo>
                        <a:lnTo>
                          <a:pt x="2459" y="512"/>
                        </a:lnTo>
                        <a:lnTo>
                          <a:pt x="2481" y="179"/>
                        </a:lnTo>
                        <a:lnTo>
                          <a:pt x="23" y="0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654" name="Google Shape;2707;p46">
                  <a:extLst>
                    <a:ext uri="{FF2B5EF4-FFF2-40B4-BE49-F238E27FC236}">
                      <a16:creationId xmlns:a16="http://schemas.microsoft.com/office/drawing/2014/main" id="{0606DC99-6353-E070-4E8F-443B67599A9F}"/>
                    </a:ext>
                  </a:extLst>
                </p:cNvPr>
                <p:cNvSpPr/>
                <p:nvPr/>
              </p:nvSpPr>
              <p:spPr>
                <a:xfrm>
                  <a:off x="5990486" y="2240797"/>
                  <a:ext cx="737611" cy="1164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996" h="2840" extrusionOk="0">
                      <a:moveTo>
                        <a:pt x="112" y="1"/>
                      </a:moveTo>
                      <a:lnTo>
                        <a:pt x="0" y="1536"/>
                      </a:lnTo>
                      <a:lnTo>
                        <a:pt x="17884" y="2840"/>
                      </a:lnTo>
                      <a:lnTo>
                        <a:pt x="17996" y="1304"/>
                      </a:lnTo>
                      <a:lnTo>
                        <a:pt x="112" y="1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181" name="Google Shape;2708;p46">
                <a:extLst>
                  <a:ext uri="{FF2B5EF4-FFF2-40B4-BE49-F238E27FC236}">
                    <a16:creationId xmlns:a16="http://schemas.microsoft.com/office/drawing/2014/main" id="{AB89AEB8-D680-F586-FF3D-1B02DB29F13C}"/>
                  </a:ext>
                </a:extLst>
              </p:cNvPr>
              <p:cNvSpPr/>
              <p:nvPr/>
            </p:nvSpPr>
            <p:spPr>
              <a:xfrm>
                <a:off x="7676753" y="2025250"/>
                <a:ext cx="25125" cy="133250"/>
              </a:xfrm>
              <a:custGeom>
                <a:avLst/>
                <a:gdLst/>
                <a:ahLst/>
                <a:cxnLst/>
                <a:rect l="l" t="t" r="r" b="b"/>
                <a:pathLst>
                  <a:path w="613" h="3251" extrusionOk="0">
                    <a:moveTo>
                      <a:pt x="613" y="1"/>
                    </a:moveTo>
                    <a:cubicBezTo>
                      <a:pt x="187" y="404"/>
                      <a:pt x="1" y="1017"/>
                      <a:pt x="30" y="1600"/>
                    </a:cubicBezTo>
                    <a:cubicBezTo>
                      <a:pt x="61" y="2186"/>
                      <a:pt x="288" y="2746"/>
                      <a:pt x="583" y="3250"/>
                    </a:cubicBezTo>
                    <a:lnTo>
                      <a:pt x="613" y="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2" name="Google Shape;2709;p46">
                <a:extLst>
                  <a:ext uri="{FF2B5EF4-FFF2-40B4-BE49-F238E27FC236}">
                    <a16:creationId xmlns:a16="http://schemas.microsoft.com/office/drawing/2014/main" id="{BE9D160C-B324-8931-159F-F4A5E9942B5F}"/>
                  </a:ext>
                </a:extLst>
              </p:cNvPr>
              <p:cNvSpPr/>
              <p:nvPr/>
            </p:nvSpPr>
            <p:spPr>
              <a:xfrm>
                <a:off x="7690689" y="2008569"/>
                <a:ext cx="230432" cy="460290"/>
              </a:xfrm>
              <a:custGeom>
                <a:avLst/>
                <a:gdLst/>
                <a:ahLst/>
                <a:cxnLst/>
                <a:rect l="l" t="t" r="r" b="b"/>
                <a:pathLst>
                  <a:path w="5622" h="11230" extrusionOk="0">
                    <a:moveTo>
                      <a:pt x="2724" y="1"/>
                    </a:moveTo>
                    <a:lnTo>
                      <a:pt x="90" y="1290"/>
                    </a:lnTo>
                    <a:cubicBezTo>
                      <a:pt x="90" y="1290"/>
                      <a:pt x="0" y="4598"/>
                      <a:pt x="90" y="6029"/>
                    </a:cubicBezTo>
                    <a:cubicBezTo>
                      <a:pt x="176" y="7463"/>
                      <a:pt x="1626" y="7617"/>
                      <a:pt x="1626" y="7617"/>
                    </a:cubicBezTo>
                    <a:cubicBezTo>
                      <a:pt x="1626" y="7617"/>
                      <a:pt x="1581" y="8408"/>
                      <a:pt x="1536" y="9242"/>
                    </a:cubicBezTo>
                    <a:cubicBezTo>
                      <a:pt x="1480" y="10273"/>
                      <a:pt x="2260" y="11154"/>
                      <a:pt x="3288" y="11225"/>
                    </a:cubicBezTo>
                    <a:cubicBezTo>
                      <a:pt x="3333" y="11228"/>
                      <a:pt x="3378" y="11229"/>
                      <a:pt x="3422" y="11229"/>
                    </a:cubicBezTo>
                    <a:cubicBezTo>
                      <a:pt x="4424" y="11229"/>
                      <a:pt x="5265" y="10440"/>
                      <a:pt x="5308" y="9425"/>
                    </a:cubicBezTo>
                    <a:lnTo>
                      <a:pt x="5622" y="2197"/>
                    </a:lnTo>
                    <a:lnTo>
                      <a:pt x="2724" y="1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3" name="Google Shape;2710;p46">
                <a:extLst>
                  <a:ext uri="{FF2B5EF4-FFF2-40B4-BE49-F238E27FC236}">
                    <a16:creationId xmlns:a16="http://schemas.microsoft.com/office/drawing/2014/main" id="{A6F9A43C-83B8-4848-C6CC-8A49C6791A7B}"/>
                  </a:ext>
                </a:extLst>
              </p:cNvPr>
              <p:cNvSpPr/>
              <p:nvPr/>
            </p:nvSpPr>
            <p:spPr>
              <a:xfrm>
                <a:off x="7713641" y="2152636"/>
                <a:ext cx="15083" cy="15206"/>
              </a:xfrm>
              <a:custGeom>
                <a:avLst/>
                <a:gdLst/>
                <a:ahLst/>
                <a:cxnLst/>
                <a:rect l="l" t="t" r="r" b="b"/>
                <a:pathLst>
                  <a:path w="368" h="371" extrusionOk="0">
                    <a:moveTo>
                      <a:pt x="184" y="0"/>
                    </a:moveTo>
                    <a:cubicBezTo>
                      <a:pt x="83" y="0"/>
                      <a:pt x="1" y="83"/>
                      <a:pt x="1" y="183"/>
                    </a:cubicBezTo>
                    <a:cubicBezTo>
                      <a:pt x="1" y="288"/>
                      <a:pt x="83" y="371"/>
                      <a:pt x="184" y="371"/>
                    </a:cubicBezTo>
                    <a:cubicBezTo>
                      <a:pt x="285" y="371"/>
                      <a:pt x="367" y="288"/>
                      <a:pt x="367" y="183"/>
                    </a:cubicBezTo>
                    <a:cubicBezTo>
                      <a:pt x="367" y="83"/>
                      <a:pt x="285" y="0"/>
                      <a:pt x="18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4" name="Google Shape;2711;p46">
                <a:extLst>
                  <a:ext uri="{FF2B5EF4-FFF2-40B4-BE49-F238E27FC236}">
                    <a16:creationId xmlns:a16="http://schemas.microsoft.com/office/drawing/2014/main" id="{4F087886-33D2-7E5D-77E0-535BBC2A47D8}"/>
                  </a:ext>
                </a:extLst>
              </p:cNvPr>
              <p:cNvSpPr/>
              <p:nvPr/>
            </p:nvSpPr>
            <p:spPr>
              <a:xfrm>
                <a:off x="7698353" y="2142963"/>
                <a:ext cx="30495" cy="9222"/>
              </a:xfrm>
              <a:custGeom>
                <a:avLst/>
                <a:gdLst/>
                <a:ahLst/>
                <a:cxnLst/>
                <a:rect l="l" t="t" r="r" b="b"/>
                <a:pathLst>
                  <a:path w="744" h="225" extrusionOk="0">
                    <a:moveTo>
                      <a:pt x="396" y="0"/>
                    </a:moveTo>
                    <a:cubicBezTo>
                      <a:pt x="385" y="0"/>
                      <a:pt x="374" y="1"/>
                      <a:pt x="363" y="2"/>
                    </a:cubicBezTo>
                    <a:cubicBezTo>
                      <a:pt x="239" y="9"/>
                      <a:pt x="135" y="61"/>
                      <a:pt x="79" y="114"/>
                    </a:cubicBezTo>
                    <a:cubicBezTo>
                      <a:pt x="19" y="166"/>
                      <a:pt x="1" y="210"/>
                      <a:pt x="12" y="221"/>
                    </a:cubicBezTo>
                    <a:cubicBezTo>
                      <a:pt x="14" y="223"/>
                      <a:pt x="16" y="224"/>
                      <a:pt x="20" y="224"/>
                    </a:cubicBezTo>
                    <a:cubicBezTo>
                      <a:pt x="59" y="224"/>
                      <a:pt x="189" y="127"/>
                      <a:pt x="370" y="121"/>
                    </a:cubicBezTo>
                    <a:cubicBezTo>
                      <a:pt x="384" y="120"/>
                      <a:pt x="398" y="119"/>
                      <a:pt x="412" y="119"/>
                    </a:cubicBezTo>
                    <a:cubicBezTo>
                      <a:pt x="563" y="119"/>
                      <a:pt x="680" y="181"/>
                      <a:pt x="722" y="181"/>
                    </a:cubicBezTo>
                    <a:cubicBezTo>
                      <a:pt x="728" y="181"/>
                      <a:pt x="733" y="180"/>
                      <a:pt x="736" y="176"/>
                    </a:cubicBezTo>
                    <a:cubicBezTo>
                      <a:pt x="744" y="166"/>
                      <a:pt x="722" y="121"/>
                      <a:pt x="658" y="76"/>
                    </a:cubicBezTo>
                    <a:cubicBezTo>
                      <a:pt x="597" y="35"/>
                      <a:pt x="505" y="0"/>
                      <a:pt x="39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5" name="Google Shape;2712;p46">
                <a:extLst>
                  <a:ext uri="{FF2B5EF4-FFF2-40B4-BE49-F238E27FC236}">
                    <a16:creationId xmlns:a16="http://schemas.microsoft.com/office/drawing/2014/main" id="{932C696C-FD40-F762-AE74-6EB6C9BFBC18}"/>
                  </a:ext>
                </a:extLst>
              </p:cNvPr>
              <p:cNvSpPr/>
              <p:nvPr/>
            </p:nvSpPr>
            <p:spPr>
              <a:xfrm>
                <a:off x="7800778" y="2152636"/>
                <a:ext cx="15206" cy="15206"/>
              </a:xfrm>
              <a:custGeom>
                <a:avLst/>
                <a:gdLst/>
                <a:ahLst/>
                <a:cxnLst/>
                <a:rect l="l" t="t" r="r" b="b"/>
                <a:pathLst>
                  <a:path w="371" h="371" extrusionOk="0">
                    <a:moveTo>
                      <a:pt x="183" y="0"/>
                    </a:moveTo>
                    <a:cubicBezTo>
                      <a:pt x="83" y="0"/>
                      <a:pt x="0" y="83"/>
                      <a:pt x="0" y="183"/>
                    </a:cubicBezTo>
                    <a:cubicBezTo>
                      <a:pt x="0" y="288"/>
                      <a:pt x="83" y="371"/>
                      <a:pt x="183" y="371"/>
                    </a:cubicBezTo>
                    <a:cubicBezTo>
                      <a:pt x="288" y="371"/>
                      <a:pt x="370" y="288"/>
                      <a:pt x="370" y="183"/>
                    </a:cubicBezTo>
                    <a:cubicBezTo>
                      <a:pt x="370" y="83"/>
                      <a:pt x="288" y="0"/>
                      <a:pt x="183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6" name="Google Shape;2713;p46">
                <a:extLst>
                  <a:ext uri="{FF2B5EF4-FFF2-40B4-BE49-F238E27FC236}">
                    <a16:creationId xmlns:a16="http://schemas.microsoft.com/office/drawing/2014/main" id="{4E8A7803-6D6C-C3C1-5969-B656AF0E257D}"/>
                  </a:ext>
                </a:extLst>
              </p:cNvPr>
              <p:cNvSpPr/>
              <p:nvPr/>
            </p:nvSpPr>
            <p:spPr>
              <a:xfrm>
                <a:off x="7788196" y="2142963"/>
                <a:ext cx="30536" cy="9222"/>
              </a:xfrm>
              <a:custGeom>
                <a:avLst/>
                <a:gdLst/>
                <a:ahLst/>
                <a:cxnLst/>
                <a:rect l="l" t="t" r="r" b="b"/>
                <a:pathLst>
                  <a:path w="745" h="225" extrusionOk="0">
                    <a:moveTo>
                      <a:pt x="393" y="0"/>
                    </a:moveTo>
                    <a:cubicBezTo>
                      <a:pt x="382" y="0"/>
                      <a:pt x="370" y="1"/>
                      <a:pt x="359" y="2"/>
                    </a:cubicBezTo>
                    <a:cubicBezTo>
                      <a:pt x="236" y="9"/>
                      <a:pt x="135" y="61"/>
                      <a:pt x="76" y="114"/>
                    </a:cubicBezTo>
                    <a:cubicBezTo>
                      <a:pt x="19" y="166"/>
                      <a:pt x="1" y="210"/>
                      <a:pt x="12" y="221"/>
                    </a:cubicBezTo>
                    <a:cubicBezTo>
                      <a:pt x="14" y="223"/>
                      <a:pt x="17" y="224"/>
                      <a:pt x="21" y="224"/>
                    </a:cubicBezTo>
                    <a:cubicBezTo>
                      <a:pt x="59" y="224"/>
                      <a:pt x="187" y="127"/>
                      <a:pt x="367" y="121"/>
                    </a:cubicBezTo>
                    <a:cubicBezTo>
                      <a:pt x="382" y="120"/>
                      <a:pt x="396" y="119"/>
                      <a:pt x="410" y="119"/>
                    </a:cubicBezTo>
                    <a:cubicBezTo>
                      <a:pt x="563" y="119"/>
                      <a:pt x="681" y="181"/>
                      <a:pt x="720" y="181"/>
                    </a:cubicBezTo>
                    <a:cubicBezTo>
                      <a:pt x="726" y="181"/>
                      <a:pt x="731" y="180"/>
                      <a:pt x="733" y="176"/>
                    </a:cubicBezTo>
                    <a:cubicBezTo>
                      <a:pt x="745" y="166"/>
                      <a:pt x="718" y="121"/>
                      <a:pt x="655" y="76"/>
                    </a:cubicBezTo>
                    <a:cubicBezTo>
                      <a:pt x="597" y="35"/>
                      <a:pt x="502" y="0"/>
                      <a:pt x="393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7" name="Google Shape;2714;p46">
                <a:extLst>
                  <a:ext uri="{FF2B5EF4-FFF2-40B4-BE49-F238E27FC236}">
                    <a16:creationId xmlns:a16="http://schemas.microsoft.com/office/drawing/2014/main" id="{B1AE7FB3-DAD8-1A6A-FD01-3B01A36FECAD}"/>
                  </a:ext>
                </a:extLst>
              </p:cNvPr>
              <p:cNvSpPr/>
              <p:nvPr/>
            </p:nvSpPr>
            <p:spPr>
              <a:xfrm>
                <a:off x="7747045" y="2228091"/>
                <a:ext cx="44266" cy="22912"/>
              </a:xfrm>
              <a:custGeom>
                <a:avLst/>
                <a:gdLst/>
                <a:ahLst/>
                <a:cxnLst/>
                <a:rect l="l" t="t" r="r" b="b"/>
                <a:pathLst>
                  <a:path w="1080" h="559" extrusionOk="0">
                    <a:moveTo>
                      <a:pt x="953" y="1"/>
                    </a:moveTo>
                    <a:cubicBezTo>
                      <a:pt x="710" y="121"/>
                      <a:pt x="273" y="296"/>
                      <a:pt x="1" y="330"/>
                    </a:cubicBezTo>
                    <a:cubicBezTo>
                      <a:pt x="1" y="330"/>
                      <a:pt x="160" y="559"/>
                      <a:pt x="441" y="559"/>
                    </a:cubicBezTo>
                    <a:cubicBezTo>
                      <a:pt x="505" y="559"/>
                      <a:pt x="577" y="546"/>
                      <a:pt x="654" y="516"/>
                    </a:cubicBezTo>
                    <a:cubicBezTo>
                      <a:pt x="1080" y="349"/>
                      <a:pt x="953" y="1"/>
                      <a:pt x="953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8" name="Google Shape;2715;p46">
                <a:extLst>
                  <a:ext uri="{FF2B5EF4-FFF2-40B4-BE49-F238E27FC236}">
                    <a16:creationId xmlns:a16="http://schemas.microsoft.com/office/drawing/2014/main" id="{97A72B35-5A68-898D-BBF4-A4D839722CA3}"/>
                  </a:ext>
                </a:extLst>
              </p:cNvPr>
              <p:cNvSpPr/>
              <p:nvPr/>
            </p:nvSpPr>
            <p:spPr>
              <a:xfrm>
                <a:off x="7757169" y="2294571"/>
                <a:ext cx="77917" cy="40865"/>
              </a:xfrm>
              <a:custGeom>
                <a:avLst/>
                <a:gdLst/>
                <a:ahLst/>
                <a:cxnLst/>
                <a:rect l="l" t="t" r="r" b="b"/>
                <a:pathLst>
                  <a:path w="1901" h="997" extrusionOk="0">
                    <a:moveTo>
                      <a:pt x="1900" y="0"/>
                    </a:moveTo>
                    <a:lnTo>
                      <a:pt x="1900" y="0"/>
                    </a:lnTo>
                    <a:cubicBezTo>
                      <a:pt x="1000" y="628"/>
                      <a:pt x="67" y="639"/>
                      <a:pt x="4" y="639"/>
                    </a:cubicBezTo>
                    <a:cubicBezTo>
                      <a:pt x="1" y="639"/>
                      <a:pt x="0" y="639"/>
                      <a:pt x="0" y="639"/>
                    </a:cubicBezTo>
                    <a:lnTo>
                      <a:pt x="0" y="639"/>
                    </a:lnTo>
                    <a:lnTo>
                      <a:pt x="33" y="994"/>
                    </a:lnTo>
                    <a:cubicBezTo>
                      <a:pt x="73" y="995"/>
                      <a:pt x="112" y="996"/>
                      <a:pt x="150" y="996"/>
                    </a:cubicBezTo>
                    <a:cubicBezTo>
                      <a:pt x="1494" y="996"/>
                      <a:pt x="1900" y="0"/>
                      <a:pt x="1900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9" name="Google Shape;2716;p46">
                <a:extLst>
                  <a:ext uri="{FF2B5EF4-FFF2-40B4-BE49-F238E27FC236}">
                    <a16:creationId xmlns:a16="http://schemas.microsoft.com/office/drawing/2014/main" id="{7F310647-5229-095F-75BF-D5F6FF76B7F2}"/>
                  </a:ext>
                </a:extLst>
              </p:cNvPr>
              <p:cNvSpPr/>
              <p:nvPr/>
            </p:nvSpPr>
            <p:spPr>
              <a:xfrm>
                <a:off x="7912057" y="2156488"/>
                <a:ext cx="50415" cy="51972"/>
              </a:xfrm>
              <a:custGeom>
                <a:avLst/>
                <a:gdLst/>
                <a:ahLst/>
                <a:cxnLst/>
                <a:rect l="l" t="t" r="r" b="b"/>
                <a:pathLst>
                  <a:path w="1230" h="1268" extrusionOk="0">
                    <a:moveTo>
                      <a:pt x="650" y="1"/>
                    </a:moveTo>
                    <a:cubicBezTo>
                      <a:pt x="634" y="1"/>
                      <a:pt x="618" y="2"/>
                      <a:pt x="602" y="3"/>
                    </a:cubicBezTo>
                    <a:cubicBezTo>
                      <a:pt x="363" y="30"/>
                      <a:pt x="173" y="227"/>
                      <a:pt x="86" y="448"/>
                    </a:cubicBezTo>
                    <a:cubicBezTo>
                      <a:pt x="0" y="672"/>
                      <a:pt x="0" y="919"/>
                      <a:pt x="8" y="1158"/>
                    </a:cubicBezTo>
                    <a:lnTo>
                      <a:pt x="34" y="1187"/>
                    </a:lnTo>
                    <a:cubicBezTo>
                      <a:pt x="155" y="1240"/>
                      <a:pt x="288" y="1267"/>
                      <a:pt x="420" y="1267"/>
                    </a:cubicBezTo>
                    <a:cubicBezTo>
                      <a:pt x="564" y="1267"/>
                      <a:pt x="706" y="1235"/>
                      <a:pt x="830" y="1165"/>
                    </a:cubicBezTo>
                    <a:cubicBezTo>
                      <a:pt x="1069" y="1031"/>
                      <a:pt x="1229" y="747"/>
                      <a:pt x="1185" y="474"/>
                    </a:cubicBezTo>
                    <a:cubicBezTo>
                      <a:pt x="1142" y="217"/>
                      <a:pt x="905" y="1"/>
                      <a:pt x="650" y="1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0" name="Google Shape;2717;p46">
                <a:extLst>
                  <a:ext uri="{FF2B5EF4-FFF2-40B4-BE49-F238E27FC236}">
                    <a16:creationId xmlns:a16="http://schemas.microsoft.com/office/drawing/2014/main" id="{12483E21-23B6-72D5-8DC3-23B86187648D}"/>
                  </a:ext>
                </a:extLst>
              </p:cNvPr>
              <p:cNvSpPr/>
              <p:nvPr/>
            </p:nvSpPr>
            <p:spPr>
              <a:xfrm>
                <a:off x="7929107" y="2168784"/>
                <a:ext cx="21887" cy="29593"/>
              </a:xfrm>
              <a:custGeom>
                <a:avLst/>
                <a:gdLst/>
                <a:ahLst/>
                <a:cxnLst/>
                <a:rect l="l" t="t" r="r" b="b"/>
                <a:pathLst>
                  <a:path w="534" h="722" extrusionOk="0">
                    <a:moveTo>
                      <a:pt x="261" y="1"/>
                    </a:moveTo>
                    <a:cubicBezTo>
                      <a:pt x="234" y="1"/>
                      <a:pt x="208" y="5"/>
                      <a:pt x="186" y="10"/>
                    </a:cubicBezTo>
                    <a:cubicBezTo>
                      <a:pt x="55" y="47"/>
                      <a:pt x="3" y="103"/>
                      <a:pt x="7" y="115"/>
                    </a:cubicBezTo>
                    <a:cubicBezTo>
                      <a:pt x="8" y="119"/>
                      <a:pt x="14" y="121"/>
                      <a:pt x="22" y="121"/>
                    </a:cubicBezTo>
                    <a:cubicBezTo>
                      <a:pt x="50" y="121"/>
                      <a:pt x="114" y="101"/>
                      <a:pt x="198" y="96"/>
                    </a:cubicBezTo>
                    <a:cubicBezTo>
                      <a:pt x="204" y="95"/>
                      <a:pt x="210" y="95"/>
                      <a:pt x="217" y="95"/>
                    </a:cubicBezTo>
                    <a:cubicBezTo>
                      <a:pt x="264" y="95"/>
                      <a:pt x="318" y="108"/>
                      <a:pt x="354" y="141"/>
                    </a:cubicBezTo>
                    <a:cubicBezTo>
                      <a:pt x="395" y="178"/>
                      <a:pt x="410" y="253"/>
                      <a:pt x="406" y="331"/>
                    </a:cubicBezTo>
                    <a:cubicBezTo>
                      <a:pt x="395" y="496"/>
                      <a:pt x="291" y="611"/>
                      <a:pt x="189" y="637"/>
                    </a:cubicBezTo>
                    <a:cubicBezTo>
                      <a:pt x="156" y="647"/>
                      <a:pt x="126" y="650"/>
                      <a:pt x="101" y="650"/>
                    </a:cubicBezTo>
                    <a:cubicBezTo>
                      <a:pt x="66" y="650"/>
                      <a:pt x="40" y="645"/>
                      <a:pt x="24" y="645"/>
                    </a:cubicBezTo>
                    <a:cubicBezTo>
                      <a:pt x="17" y="645"/>
                      <a:pt x="13" y="646"/>
                      <a:pt x="10" y="649"/>
                    </a:cubicBezTo>
                    <a:cubicBezTo>
                      <a:pt x="0" y="656"/>
                      <a:pt x="56" y="722"/>
                      <a:pt x="174" y="722"/>
                    </a:cubicBezTo>
                    <a:cubicBezTo>
                      <a:pt x="185" y="722"/>
                      <a:pt x="196" y="721"/>
                      <a:pt x="208" y="720"/>
                    </a:cubicBezTo>
                    <a:cubicBezTo>
                      <a:pt x="272" y="712"/>
                      <a:pt x="358" y="679"/>
                      <a:pt x="417" y="608"/>
                    </a:cubicBezTo>
                    <a:cubicBezTo>
                      <a:pt x="481" y="541"/>
                      <a:pt x="518" y="443"/>
                      <a:pt x="526" y="339"/>
                    </a:cubicBezTo>
                    <a:cubicBezTo>
                      <a:pt x="534" y="241"/>
                      <a:pt x="511" y="125"/>
                      <a:pt x="425" y="58"/>
                    </a:cubicBezTo>
                    <a:cubicBezTo>
                      <a:pt x="371" y="14"/>
                      <a:pt x="313" y="1"/>
                      <a:pt x="261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1" name="Google Shape;2718;p46">
                <a:extLst>
                  <a:ext uri="{FF2B5EF4-FFF2-40B4-BE49-F238E27FC236}">
                    <a16:creationId xmlns:a16="http://schemas.microsoft.com/office/drawing/2014/main" id="{9489F1FF-09B2-6F01-D696-F65E15016104}"/>
                  </a:ext>
                </a:extLst>
              </p:cNvPr>
              <p:cNvSpPr/>
              <p:nvPr/>
            </p:nvSpPr>
            <p:spPr>
              <a:xfrm>
                <a:off x="7669130" y="1993363"/>
                <a:ext cx="263673" cy="172393"/>
              </a:xfrm>
              <a:custGeom>
                <a:avLst/>
                <a:gdLst/>
                <a:ahLst/>
                <a:cxnLst/>
                <a:rect l="l" t="t" r="r" b="b"/>
                <a:pathLst>
                  <a:path w="6433" h="4206" extrusionOk="0">
                    <a:moveTo>
                      <a:pt x="3021" y="0"/>
                    </a:moveTo>
                    <a:cubicBezTo>
                      <a:pt x="2150" y="0"/>
                      <a:pt x="1279" y="330"/>
                      <a:pt x="635" y="921"/>
                    </a:cubicBezTo>
                    <a:cubicBezTo>
                      <a:pt x="0" y="1709"/>
                      <a:pt x="848" y="2209"/>
                      <a:pt x="1270" y="2538"/>
                    </a:cubicBezTo>
                    <a:cubicBezTo>
                      <a:pt x="1535" y="2745"/>
                      <a:pt x="2224" y="3224"/>
                      <a:pt x="2925" y="3224"/>
                    </a:cubicBezTo>
                    <a:cubicBezTo>
                      <a:pt x="3083" y="3224"/>
                      <a:pt x="3241" y="3200"/>
                      <a:pt x="3395" y="3143"/>
                    </a:cubicBezTo>
                    <a:cubicBezTo>
                      <a:pt x="3100" y="2743"/>
                      <a:pt x="2760" y="2568"/>
                      <a:pt x="2629" y="2187"/>
                    </a:cubicBezTo>
                    <a:lnTo>
                      <a:pt x="2629" y="2187"/>
                    </a:lnTo>
                    <a:cubicBezTo>
                      <a:pt x="2973" y="2673"/>
                      <a:pt x="3336" y="3038"/>
                      <a:pt x="3926" y="3098"/>
                    </a:cubicBezTo>
                    <a:cubicBezTo>
                      <a:pt x="3806" y="2755"/>
                      <a:pt x="3642" y="2056"/>
                      <a:pt x="3769" y="2026"/>
                    </a:cubicBezTo>
                    <a:lnTo>
                      <a:pt x="3769" y="2026"/>
                    </a:lnTo>
                    <a:cubicBezTo>
                      <a:pt x="3903" y="3195"/>
                      <a:pt x="4859" y="4205"/>
                      <a:pt x="5682" y="4205"/>
                    </a:cubicBezTo>
                    <a:cubicBezTo>
                      <a:pt x="5821" y="4205"/>
                      <a:pt x="5957" y="4176"/>
                      <a:pt x="6084" y="4114"/>
                    </a:cubicBezTo>
                    <a:cubicBezTo>
                      <a:pt x="6432" y="3263"/>
                      <a:pt x="6308" y="2250"/>
                      <a:pt x="5812" y="1481"/>
                    </a:cubicBezTo>
                    <a:cubicBezTo>
                      <a:pt x="5315" y="708"/>
                      <a:pt x="4467" y="185"/>
                      <a:pt x="3560" y="43"/>
                    </a:cubicBezTo>
                    <a:cubicBezTo>
                      <a:pt x="3382" y="15"/>
                      <a:pt x="3201" y="0"/>
                      <a:pt x="302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4" name="Google Shape;2719;p46">
                <a:extLst>
                  <a:ext uri="{FF2B5EF4-FFF2-40B4-BE49-F238E27FC236}">
                    <a16:creationId xmlns:a16="http://schemas.microsoft.com/office/drawing/2014/main" id="{90C5E81F-9AC9-AB50-14F3-04F4019C4549}"/>
                  </a:ext>
                </a:extLst>
              </p:cNvPr>
              <p:cNvSpPr/>
              <p:nvPr/>
            </p:nvSpPr>
            <p:spPr>
              <a:xfrm>
                <a:off x="7910376" y="2196737"/>
                <a:ext cx="37299" cy="36766"/>
              </a:xfrm>
              <a:custGeom>
                <a:avLst/>
                <a:gdLst/>
                <a:ahLst/>
                <a:cxnLst/>
                <a:rect l="l" t="t" r="r" b="b"/>
                <a:pathLst>
                  <a:path w="910" h="897" extrusionOk="0">
                    <a:moveTo>
                      <a:pt x="336" y="1"/>
                    </a:moveTo>
                    <a:cubicBezTo>
                      <a:pt x="305" y="1"/>
                      <a:pt x="199" y="32"/>
                      <a:pt x="101" y="164"/>
                    </a:cubicBezTo>
                    <a:cubicBezTo>
                      <a:pt x="45" y="243"/>
                      <a:pt x="0" y="359"/>
                      <a:pt x="19" y="490"/>
                    </a:cubicBezTo>
                    <a:cubicBezTo>
                      <a:pt x="34" y="617"/>
                      <a:pt x="105" y="759"/>
                      <a:pt x="240" y="837"/>
                    </a:cubicBezTo>
                    <a:cubicBezTo>
                      <a:pt x="312" y="878"/>
                      <a:pt x="392" y="897"/>
                      <a:pt x="467" y="897"/>
                    </a:cubicBezTo>
                    <a:cubicBezTo>
                      <a:pt x="535" y="897"/>
                      <a:pt x="600" y="882"/>
                      <a:pt x="655" y="855"/>
                    </a:cubicBezTo>
                    <a:cubicBezTo>
                      <a:pt x="777" y="800"/>
                      <a:pt x="848" y="688"/>
                      <a:pt x="871" y="594"/>
                    </a:cubicBezTo>
                    <a:cubicBezTo>
                      <a:pt x="910" y="407"/>
                      <a:pt x="821" y="306"/>
                      <a:pt x="805" y="306"/>
                    </a:cubicBezTo>
                    <a:cubicBezTo>
                      <a:pt x="804" y="306"/>
                      <a:pt x="804" y="306"/>
                      <a:pt x="803" y="307"/>
                    </a:cubicBezTo>
                    <a:cubicBezTo>
                      <a:pt x="785" y="314"/>
                      <a:pt x="845" y="419"/>
                      <a:pt x="789" y="568"/>
                    </a:cubicBezTo>
                    <a:cubicBezTo>
                      <a:pt x="762" y="643"/>
                      <a:pt x="703" y="717"/>
                      <a:pt x="610" y="755"/>
                    </a:cubicBezTo>
                    <a:cubicBezTo>
                      <a:pt x="570" y="771"/>
                      <a:pt x="525" y="780"/>
                      <a:pt x="478" y="780"/>
                    </a:cubicBezTo>
                    <a:cubicBezTo>
                      <a:pt x="419" y="780"/>
                      <a:pt x="357" y="766"/>
                      <a:pt x="303" y="733"/>
                    </a:cubicBezTo>
                    <a:cubicBezTo>
                      <a:pt x="206" y="676"/>
                      <a:pt x="146" y="572"/>
                      <a:pt x="127" y="474"/>
                    </a:cubicBezTo>
                    <a:cubicBezTo>
                      <a:pt x="109" y="374"/>
                      <a:pt x="135" y="281"/>
                      <a:pt x="172" y="209"/>
                    </a:cubicBezTo>
                    <a:cubicBezTo>
                      <a:pt x="251" y="67"/>
                      <a:pt x="355" y="19"/>
                      <a:pt x="344" y="4"/>
                    </a:cubicBezTo>
                    <a:cubicBezTo>
                      <a:pt x="344" y="2"/>
                      <a:pt x="341" y="1"/>
                      <a:pt x="336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5" name="Google Shape;2720;p46">
                <a:extLst>
                  <a:ext uri="{FF2B5EF4-FFF2-40B4-BE49-F238E27FC236}">
                    <a16:creationId xmlns:a16="http://schemas.microsoft.com/office/drawing/2014/main" id="{3509104C-FFCE-A0D4-290B-BDF74D1A9C3C}"/>
                  </a:ext>
                </a:extLst>
              </p:cNvPr>
              <p:cNvSpPr/>
              <p:nvPr/>
            </p:nvSpPr>
            <p:spPr>
              <a:xfrm>
                <a:off x="7457229" y="2394823"/>
                <a:ext cx="653915" cy="794461"/>
              </a:xfrm>
              <a:custGeom>
                <a:avLst/>
                <a:gdLst/>
                <a:ahLst/>
                <a:cxnLst/>
                <a:rect l="l" t="t" r="r" b="b"/>
                <a:pathLst>
                  <a:path w="15954" h="19383" extrusionOk="0">
                    <a:moveTo>
                      <a:pt x="11004" y="1"/>
                    </a:moveTo>
                    <a:cubicBezTo>
                      <a:pt x="11004" y="1"/>
                      <a:pt x="11055" y="343"/>
                      <a:pt x="9871" y="343"/>
                    </a:cubicBezTo>
                    <a:cubicBezTo>
                      <a:pt x="9305" y="343"/>
                      <a:pt x="8458" y="265"/>
                      <a:pt x="7187" y="34"/>
                    </a:cubicBezTo>
                    <a:cubicBezTo>
                      <a:pt x="7127" y="23"/>
                      <a:pt x="7060" y="18"/>
                      <a:pt x="6986" y="18"/>
                    </a:cubicBezTo>
                    <a:cubicBezTo>
                      <a:pt x="5279" y="18"/>
                      <a:pt x="1" y="2790"/>
                      <a:pt x="1" y="2790"/>
                    </a:cubicBezTo>
                    <a:lnTo>
                      <a:pt x="1879" y="7359"/>
                    </a:lnTo>
                    <a:lnTo>
                      <a:pt x="4042" y="6907"/>
                    </a:lnTo>
                    <a:lnTo>
                      <a:pt x="4710" y="10548"/>
                    </a:lnTo>
                    <a:cubicBezTo>
                      <a:pt x="3803" y="13551"/>
                      <a:pt x="3317" y="16218"/>
                      <a:pt x="3317" y="16218"/>
                    </a:cubicBezTo>
                    <a:lnTo>
                      <a:pt x="8382" y="19382"/>
                    </a:lnTo>
                    <a:lnTo>
                      <a:pt x="9167" y="17899"/>
                    </a:lnTo>
                    <a:lnTo>
                      <a:pt x="10418" y="19091"/>
                    </a:lnTo>
                    <a:lnTo>
                      <a:pt x="15819" y="16218"/>
                    </a:lnTo>
                    <a:cubicBezTo>
                      <a:pt x="15150" y="12749"/>
                      <a:pt x="13466" y="11852"/>
                      <a:pt x="13466" y="11288"/>
                    </a:cubicBezTo>
                    <a:cubicBezTo>
                      <a:pt x="13466" y="9686"/>
                      <a:pt x="13230" y="11243"/>
                      <a:pt x="14590" y="5895"/>
                    </a:cubicBezTo>
                    <a:cubicBezTo>
                      <a:pt x="15953" y="549"/>
                      <a:pt x="11004" y="1"/>
                      <a:pt x="11004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6" name="Google Shape;2721;p46">
                <a:extLst>
                  <a:ext uri="{FF2B5EF4-FFF2-40B4-BE49-F238E27FC236}">
                    <a16:creationId xmlns:a16="http://schemas.microsoft.com/office/drawing/2014/main" id="{0C3F5604-D6F2-283E-93E5-0F477C8F31A9}"/>
                  </a:ext>
                </a:extLst>
              </p:cNvPr>
              <p:cNvSpPr/>
              <p:nvPr/>
            </p:nvSpPr>
            <p:spPr>
              <a:xfrm>
                <a:off x="7749914" y="2394823"/>
                <a:ext cx="158376" cy="153621"/>
              </a:xfrm>
              <a:custGeom>
                <a:avLst/>
                <a:gdLst/>
                <a:ahLst/>
                <a:cxnLst/>
                <a:rect l="l" t="t" r="r" b="b"/>
                <a:pathLst>
                  <a:path w="3864" h="3748" extrusionOk="0">
                    <a:moveTo>
                      <a:pt x="3863" y="1"/>
                    </a:moveTo>
                    <a:lnTo>
                      <a:pt x="46" y="34"/>
                    </a:lnTo>
                    <a:cubicBezTo>
                      <a:pt x="46" y="34"/>
                      <a:pt x="1" y="3747"/>
                      <a:pt x="856" y="3747"/>
                    </a:cubicBezTo>
                    <a:cubicBezTo>
                      <a:pt x="884" y="3747"/>
                      <a:pt x="913" y="3743"/>
                      <a:pt x="943" y="3735"/>
                    </a:cubicBezTo>
                    <a:cubicBezTo>
                      <a:pt x="1887" y="3478"/>
                      <a:pt x="3785" y="1775"/>
                      <a:pt x="3863" y="1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7" name="Google Shape;2722;p46">
                <a:extLst>
                  <a:ext uri="{FF2B5EF4-FFF2-40B4-BE49-F238E27FC236}">
                    <a16:creationId xmlns:a16="http://schemas.microsoft.com/office/drawing/2014/main" id="{4063A272-9EF4-34BB-2134-5CB17D46F44A}"/>
                  </a:ext>
                </a:extLst>
              </p:cNvPr>
              <p:cNvSpPr/>
              <p:nvPr/>
            </p:nvSpPr>
            <p:spPr>
              <a:xfrm>
                <a:off x="7760202" y="2565981"/>
                <a:ext cx="14264" cy="114560"/>
              </a:xfrm>
              <a:custGeom>
                <a:avLst/>
                <a:gdLst/>
                <a:ahLst/>
                <a:cxnLst/>
                <a:rect l="l" t="t" r="r" b="b"/>
                <a:pathLst>
                  <a:path w="348" h="2795" extrusionOk="0">
                    <a:moveTo>
                      <a:pt x="314" y="0"/>
                    </a:moveTo>
                    <a:cubicBezTo>
                      <a:pt x="284" y="0"/>
                      <a:pt x="190" y="623"/>
                      <a:pt x="116" y="1390"/>
                    </a:cubicBezTo>
                    <a:cubicBezTo>
                      <a:pt x="38" y="2163"/>
                      <a:pt x="0" y="2791"/>
                      <a:pt x="34" y="2794"/>
                    </a:cubicBezTo>
                    <a:cubicBezTo>
                      <a:pt x="34" y="2794"/>
                      <a:pt x="34" y="2794"/>
                      <a:pt x="34" y="2794"/>
                    </a:cubicBezTo>
                    <a:cubicBezTo>
                      <a:pt x="68" y="2794"/>
                      <a:pt x="158" y="2172"/>
                      <a:pt x="235" y="1405"/>
                    </a:cubicBezTo>
                    <a:cubicBezTo>
                      <a:pt x="311" y="631"/>
                      <a:pt x="347" y="4"/>
                      <a:pt x="314" y="0"/>
                    </a:cubicBezTo>
                    <a:cubicBezTo>
                      <a:pt x="314" y="0"/>
                      <a:pt x="314" y="0"/>
                      <a:pt x="31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8" name="Google Shape;2723;p46">
                <a:extLst>
                  <a:ext uri="{FF2B5EF4-FFF2-40B4-BE49-F238E27FC236}">
                    <a16:creationId xmlns:a16="http://schemas.microsoft.com/office/drawing/2014/main" id="{6712A4AD-B2CE-A6B7-6B0B-D224CC4B4344}"/>
                  </a:ext>
                </a:extLst>
              </p:cNvPr>
              <p:cNvSpPr/>
              <p:nvPr/>
            </p:nvSpPr>
            <p:spPr>
              <a:xfrm>
                <a:off x="7781761" y="2575162"/>
                <a:ext cx="6476" cy="92181"/>
              </a:xfrm>
              <a:custGeom>
                <a:avLst/>
                <a:gdLst/>
                <a:ahLst/>
                <a:cxnLst/>
                <a:rect l="l" t="t" r="r" b="b"/>
                <a:pathLst>
                  <a:path w="158" h="2249" extrusionOk="0">
                    <a:moveTo>
                      <a:pt x="50" y="0"/>
                    </a:moveTo>
                    <a:cubicBezTo>
                      <a:pt x="50" y="0"/>
                      <a:pt x="50" y="0"/>
                      <a:pt x="50" y="0"/>
                    </a:cubicBezTo>
                    <a:cubicBezTo>
                      <a:pt x="16" y="0"/>
                      <a:pt x="1" y="505"/>
                      <a:pt x="19" y="1124"/>
                    </a:cubicBezTo>
                    <a:cubicBezTo>
                      <a:pt x="35" y="1746"/>
                      <a:pt x="76" y="2249"/>
                      <a:pt x="109" y="2249"/>
                    </a:cubicBezTo>
                    <a:cubicBezTo>
                      <a:pt x="109" y="2249"/>
                      <a:pt x="109" y="2249"/>
                      <a:pt x="109" y="2249"/>
                    </a:cubicBezTo>
                    <a:cubicBezTo>
                      <a:pt x="143" y="2249"/>
                      <a:pt x="158" y="1745"/>
                      <a:pt x="140" y="1124"/>
                    </a:cubicBezTo>
                    <a:cubicBezTo>
                      <a:pt x="124" y="503"/>
                      <a:pt x="83" y="0"/>
                      <a:pt x="5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9" name="Google Shape;2724;p46">
                <a:extLst>
                  <a:ext uri="{FF2B5EF4-FFF2-40B4-BE49-F238E27FC236}">
                    <a16:creationId xmlns:a16="http://schemas.microsoft.com/office/drawing/2014/main" id="{134D88BD-14C5-C67D-B839-0AEDCD4534D6}"/>
                  </a:ext>
                </a:extLst>
              </p:cNvPr>
              <p:cNvSpPr/>
              <p:nvPr/>
            </p:nvSpPr>
            <p:spPr>
              <a:xfrm>
                <a:off x="7749176" y="2681644"/>
                <a:ext cx="10001" cy="14796"/>
              </a:xfrm>
              <a:custGeom>
                <a:avLst/>
                <a:gdLst/>
                <a:ahLst/>
                <a:cxnLst/>
                <a:rect l="l" t="t" r="r" b="b"/>
                <a:pathLst>
                  <a:path w="244" h="361" extrusionOk="0">
                    <a:moveTo>
                      <a:pt x="203" y="0"/>
                    </a:moveTo>
                    <a:cubicBezTo>
                      <a:pt x="170" y="0"/>
                      <a:pt x="97" y="49"/>
                      <a:pt x="53" y="144"/>
                    </a:cubicBezTo>
                    <a:cubicBezTo>
                      <a:pt x="1" y="256"/>
                      <a:pt x="27" y="361"/>
                      <a:pt x="56" y="361"/>
                    </a:cubicBezTo>
                    <a:cubicBezTo>
                      <a:pt x="90" y="361"/>
                      <a:pt x="120" y="283"/>
                      <a:pt x="161" y="193"/>
                    </a:cubicBezTo>
                    <a:cubicBezTo>
                      <a:pt x="202" y="107"/>
                      <a:pt x="243" y="32"/>
                      <a:pt x="217" y="6"/>
                    </a:cubicBezTo>
                    <a:cubicBezTo>
                      <a:pt x="214" y="2"/>
                      <a:pt x="210" y="0"/>
                      <a:pt x="203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0" name="Google Shape;2725;p46">
                <a:extLst>
                  <a:ext uri="{FF2B5EF4-FFF2-40B4-BE49-F238E27FC236}">
                    <a16:creationId xmlns:a16="http://schemas.microsoft.com/office/drawing/2014/main" id="{7F74616E-DFA5-0CF7-E4E2-67D5937813D6}"/>
                  </a:ext>
                </a:extLst>
              </p:cNvPr>
              <p:cNvSpPr/>
              <p:nvPr/>
            </p:nvSpPr>
            <p:spPr>
              <a:xfrm>
                <a:off x="7754997" y="2683243"/>
                <a:ext cx="6312" cy="13239"/>
              </a:xfrm>
              <a:custGeom>
                <a:avLst/>
                <a:gdLst/>
                <a:ahLst/>
                <a:cxnLst/>
                <a:rect l="l" t="t" r="r" b="b"/>
                <a:pathLst>
                  <a:path w="154" h="323" extrusionOk="0">
                    <a:moveTo>
                      <a:pt x="103" y="0"/>
                    </a:moveTo>
                    <a:cubicBezTo>
                      <a:pt x="71" y="0"/>
                      <a:pt x="33" y="65"/>
                      <a:pt x="19" y="149"/>
                    </a:cubicBezTo>
                    <a:cubicBezTo>
                      <a:pt x="0" y="236"/>
                      <a:pt x="12" y="314"/>
                      <a:pt x="45" y="322"/>
                    </a:cubicBezTo>
                    <a:cubicBezTo>
                      <a:pt x="47" y="322"/>
                      <a:pt x="48" y="322"/>
                      <a:pt x="50" y="322"/>
                    </a:cubicBezTo>
                    <a:cubicBezTo>
                      <a:pt x="83" y="322"/>
                      <a:pt x="117" y="257"/>
                      <a:pt x="135" y="172"/>
                    </a:cubicBezTo>
                    <a:cubicBezTo>
                      <a:pt x="153" y="82"/>
                      <a:pt x="143" y="8"/>
                      <a:pt x="109" y="1"/>
                    </a:cubicBezTo>
                    <a:cubicBezTo>
                      <a:pt x="107" y="0"/>
                      <a:pt x="105" y="0"/>
                      <a:pt x="103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1" name="Google Shape;2726;p46">
                <a:extLst>
                  <a:ext uri="{FF2B5EF4-FFF2-40B4-BE49-F238E27FC236}">
                    <a16:creationId xmlns:a16="http://schemas.microsoft.com/office/drawing/2014/main" id="{9920A657-CC5C-8DC6-96FC-D623C2221A5F}"/>
                  </a:ext>
                </a:extLst>
              </p:cNvPr>
              <p:cNvSpPr/>
              <p:nvPr/>
            </p:nvSpPr>
            <p:spPr>
              <a:xfrm>
                <a:off x="7758357" y="2683243"/>
                <a:ext cx="5697" cy="13198"/>
              </a:xfrm>
              <a:custGeom>
                <a:avLst/>
                <a:gdLst/>
                <a:ahLst/>
                <a:cxnLst/>
                <a:rect l="l" t="t" r="r" b="b"/>
                <a:pathLst>
                  <a:path w="139" h="322" extrusionOk="0">
                    <a:moveTo>
                      <a:pt x="55" y="1"/>
                    </a:moveTo>
                    <a:cubicBezTo>
                      <a:pt x="54" y="1"/>
                      <a:pt x="53" y="1"/>
                      <a:pt x="53" y="1"/>
                    </a:cubicBezTo>
                    <a:cubicBezTo>
                      <a:pt x="19" y="4"/>
                      <a:pt x="1" y="79"/>
                      <a:pt x="8" y="168"/>
                    </a:cubicBezTo>
                    <a:cubicBezTo>
                      <a:pt x="19" y="252"/>
                      <a:pt x="51" y="322"/>
                      <a:pt x="84" y="322"/>
                    </a:cubicBezTo>
                    <a:cubicBezTo>
                      <a:pt x="85" y="322"/>
                      <a:pt x="86" y="322"/>
                      <a:pt x="87" y="322"/>
                    </a:cubicBezTo>
                    <a:cubicBezTo>
                      <a:pt x="120" y="318"/>
                      <a:pt x="139" y="244"/>
                      <a:pt x="128" y="154"/>
                    </a:cubicBezTo>
                    <a:cubicBezTo>
                      <a:pt x="120" y="70"/>
                      <a:pt x="88" y="1"/>
                      <a:pt x="55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2" name="Google Shape;2727;p46">
                <a:extLst>
                  <a:ext uri="{FF2B5EF4-FFF2-40B4-BE49-F238E27FC236}">
                    <a16:creationId xmlns:a16="http://schemas.microsoft.com/office/drawing/2014/main" id="{B576519D-20EE-3049-8E20-075BDC1D1D74}"/>
                  </a:ext>
                </a:extLst>
              </p:cNvPr>
              <p:cNvSpPr/>
              <p:nvPr/>
            </p:nvSpPr>
            <p:spPr>
              <a:xfrm>
                <a:off x="7759915" y="2679021"/>
                <a:ext cx="12665" cy="20043"/>
              </a:xfrm>
              <a:custGeom>
                <a:avLst/>
                <a:gdLst/>
                <a:ahLst/>
                <a:cxnLst/>
                <a:rect l="l" t="t" r="r" b="b"/>
                <a:pathLst>
                  <a:path w="309" h="489" extrusionOk="0">
                    <a:moveTo>
                      <a:pt x="36" y="0"/>
                    </a:moveTo>
                    <a:cubicBezTo>
                      <a:pt x="30" y="0"/>
                      <a:pt x="25" y="2"/>
                      <a:pt x="23" y="6"/>
                    </a:cubicBezTo>
                    <a:cubicBezTo>
                      <a:pt x="0" y="33"/>
                      <a:pt x="71" y="126"/>
                      <a:pt x="127" y="249"/>
                    </a:cubicBezTo>
                    <a:cubicBezTo>
                      <a:pt x="187" y="373"/>
                      <a:pt x="213" y="488"/>
                      <a:pt x="247" y="488"/>
                    </a:cubicBezTo>
                    <a:cubicBezTo>
                      <a:pt x="247" y="488"/>
                      <a:pt x="248" y="488"/>
                      <a:pt x="248" y="488"/>
                    </a:cubicBezTo>
                    <a:cubicBezTo>
                      <a:pt x="281" y="488"/>
                      <a:pt x="309" y="348"/>
                      <a:pt x="235" y="200"/>
                    </a:cubicBezTo>
                    <a:cubicBezTo>
                      <a:pt x="177" y="69"/>
                      <a:pt x="75" y="0"/>
                      <a:pt x="3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3" name="Google Shape;2728;p46">
                <a:extLst>
                  <a:ext uri="{FF2B5EF4-FFF2-40B4-BE49-F238E27FC236}">
                    <a16:creationId xmlns:a16="http://schemas.microsoft.com/office/drawing/2014/main" id="{0DEBDFA6-1E04-4825-687C-08372DBE1F19}"/>
                  </a:ext>
                </a:extLst>
              </p:cNvPr>
              <p:cNvSpPr/>
              <p:nvPr/>
            </p:nvSpPr>
            <p:spPr>
              <a:xfrm>
                <a:off x="7783318" y="2663447"/>
                <a:ext cx="5246" cy="18485"/>
              </a:xfrm>
              <a:custGeom>
                <a:avLst/>
                <a:gdLst/>
                <a:ahLst/>
                <a:cxnLst/>
                <a:rect l="l" t="t" r="r" b="b"/>
                <a:pathLst>
                  <a:path w="128" h="451" extrusionOk="0">
                    <a:moveTo>
                      <a:pt x="89" y="1"/>
                    </a:moveTo>
                    <a:cubicBezTo>
                      <a:pt x="58" y="1"/>
                      <a:pt x="0" y="94"/>
                      <a:pt x="0" y="225"/>
                    </a:cubicBezTo>
                    <a:cubicBezTo>
                      <a:pt x="0" y="356"/>
                      <a:pt x="57" y="451"/>
                      <a:pt x="88" y="451"/>
                    </a:cubicBezTo>
                    <a:cubicBezTo>
                      <a:pt x="90" y="451"/>
                      <a:pt x="92" y="450"/>
                      <a:pt x="94" y="450"/>
                    </a:cubicBezTo>
                    <a:cubicBezTo>
                      <a:pt x="128" y="439"/>
                      <a:pt x="120" y="341"/>
                      <a:pt x="120" y="225"/>
                    </a:cubicBezTo>
                    <a:cubicBezTo>
                      <a:pt x="120" y="110"/>
                      <a:pt x="128" y="9"/>
                      <a:pt x="94" y="1"/>
                    </a:cubicBezTo>
                    <a:cubicBezTo>
                      <a:pt x="92" y="1"/>
                      <a:pt x="90" y="1"/>
                      <a:pt x="89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4" name="Google Shape;2729;p46">
                <a:extLst>
                  <a:ext uri="{FF2B5EF4-FFF2-40B4-BE49-F238E27FC236}">
                    <a16:creationId xmlns:a16="http://schemas.microsoft.com/office/drawing/2014/main" id="{EB0B901B-0331-EFCC-2F29-B37AC9D7B071}"/>
                  </a:ext>
                </a:extLst>
              </p:cNvPr>
              <p:cNvSpPr/>
              <p:nvPr/>
            </p:nvSpPr>
            <p:spPr>
              <a:xfrm>
                <a:off x="7788810" y="2664717"/>
                <a:ext cx="5574" cy="14592"/>
              </a:xfrm>
              <a:custGeom>
                <a:avLst/>
                <a:gdLst/>
                <a:ahLst/>
                <a:cxnLst/>
                <a:rect l="l" t="t" r="r" b="b"/>
                <a:pathLst>
                  <a:path w="136" h="356" extrusionOk="0">
                    <a:moveTo>
                      <a:pt x="53" y="1"/>
                    </a:moveTo>
                    <a:cubicBezTo>
                      <a:pt x="20" y="4"/>
                      <a:pt x="1" y="86"/>
                      <a:pt x="8" y="184"/>
                    </a:cubicBezTo>
                    <a:cubicBezTo>
                      <a:pt x="16" y="278"/>
                      <a:pt x="51" y="355"/>
                      <a:pt x="81" y="355"/>
                    </a:cubicBezTo>
                    <a:cubicBezTo>
                      <a:pt x="82" y="355"/>
                      <a:pt x="82" y="355"/>
                      <a:pt x="83" y="355"/>
                    </a:cubicBezTo>
                    <a:cubicBezTo>
                      <a:pt x="116" y="351"/>
                      <a:pt x="135" y="270"/>
                      <a:pt x="128" y="172"/>
                    </a:cubicBezTo>
                    <a:cubicBezTo>
                      <a:pt x="120" y="75"/>
                      <a:pt x="83" y="1"/>
                      <a:pt x="5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5" name="Google Shape;2730;p46">
                <a:extLst>
                  <a:ext uri="{FF2B5EF4-FFF2-40B4-BE49-F238E27FC236}">
                    <a16:creationId xmlns:a16="http://schemas.microsoft.com/office/drawing/2014/main" id="{3F2EEB0C-2768-8BBB-3100-EA94447989BF}"/>
                  </a:ext>
                </a:extLst>
              </p:cNvPr>
              <p:cNvSpPr/>
              <p:nvPr/>
            </p:nvSpPr>
            <p:spPr>
              <a:xfrm>
                <a:off x="7790040" y="2665865"/>
                <a:ext cx="11395" cy="12296"/>
              </a:xfrm>
              <a:custGeom>
                <a:avLst/>
                <a:gdLst/>
                <a:ahLst/>
                <a:cxnLst/>
                <a:rect l="l" t="t" r="r" b="b"/>
                <a:pathLst>
                  <a:path w="278" h="300" extrusionOk="0">
                    <a:moveTo>
                      <a:pt x="44" y="1"/>
                    </a:moveTo>
                    <a:cubicBezTo>
                      <a:pt x="37" y="1"/>
                      <a:pt x="32" y="2"/>
                      <a:pt x="27" y="6"/>
                    </a:cubicBezTo>
                    <a:cubicBezTo>
                      <a:pt x="0" y="25"/>
                      <a:pt x="31" y="107"/>
                      <a:pt x="90" y="185"/>
                    </a:cubicBezTo>
                    <a:cubicBezTo>
                      <a:pt x="143" y="254"/>
                      <a:pt x="201" y="299"/>
                      <a:pt x="235" y="299"/>
                    </a:cubicBezTo>
                    <a:cubicBezTo>
                      <a:pt x="241" y="299"/>
                      <a:pt x="247" y="297"/>
                      <a:pt x="251" y="294"/>
                    </a:cubicBezTo>
                    <a:cubicBezTo>
                      <a:pt x="277" y="275"/>
                      <a:pt x="247" y="192"/>
                      <a:pt x="188" y="114"/>
                    </a:cubicBezTo>
                    <a:cubicBezTo>
                      <a:pt x="135" y="46"/>
                      <a:pt x="76" y="1"/>
                      <a:pt x="4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6" name="Google Shape;2731;p46">
                <a:extLst>
                  <a:ext uri="{FF2B5EF4-FFF2-40B4-BE49-F238E27FC236}">
                    <a16:creationId xmlns:a16="http://schemas.microsoft.com/office/drawing/2014/main" id="{3A8F7898-D0D1-FEC9-B35A-4F2CE1D95B5A}"/>
                  </a:ext>
                </a:extLst>
              </p:cNvPr>
              <p:cNvSpPr/>
              <p:nvPr/>
            </p:nvSpPr>
            <p:spPr>
              <a:xfrm>
                <a:off x="7790655" y="2664020"/>
                <a:ext cx="13526" cy="11395"/>
              </a:xfrm>
              <a:custGeom>
                <a:avLst/>
                <a:gdLst/>
                <a:ahLst/>
                <a:cxnLst/>
                <a:rect l="l" t="t" r="r" b="b"/>
                <a:pathLst>
                  <a:path w="330" h="278" extrusionOk="0">
                    <a:moveTo>
                      <a:pt x="53" y="0"/>
                    </a:moveTo>
                    <a:cubicBezTo>
                      <a:pt x="30" y="0"/>
                      <a:pt x="15" y="7"/>
                      <a:pt x="12" y="18"/>
                    </a:cubicBezTo>
                    <a:cubicBezTo>
                      <a:pt x="1" y="51"/>
                      <a:pt x="68" y="99"/>
                      <a:pt x="139" y="167"/>
                    </a:cubicBezTo>
                    <a:cubicBezTo>
                      <a:pt x="206" y="221"/>
                      <a:pt x="258" y="277"/>
                      <a:pt x="289" y="277"/>
                    </a:cubicBezTo>
                    <a:cubicBezTo>
                      <a:pt x="293" y="277"/>
                      <a:pt x="296" y="277"/>
                      <a:pt x="299" y="275"/>
                    </a:cubicBezTo>
                    <a:cubicBezTo>
                      <a:pt x="330" y="264"/>
                      <a:pt x="311" y="159"/>
                      <a:pt x="221" y="77"/>
                    </a:cubicBezTo>
                    <a:cubicBezTo>
                      <a:pt x="161" y="22"/>
                      <a:pt x="95" y="0"/>
                      <a:pt x="53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7" name="Google Shape;2732;p46">
                <a:extLst>
                  <a:ext uri="{FF2B5EF4-FFF2-40B4-BE49-F238E27FC236}">
                    <a16:creationId xmlns:a16="http://schemas.microsoft.com/office/drawing/2014/main" id="{53362A61-4610-BC89-17AF-6354D2CF0E44}"/>
                  </a:ext>
                </a:extLst>
              </p:cNvPr>
              <p:cNvSpPr/>
              <p:nvPr/>
            </p:nvSpPr>
            <p:spPr>
              <a:xfrm>
                <a:off x="7731716" y="2413267"/>
                <a:ext cx="17338" cy="15329"/>
              </a:xfrm>
              <a:custGeom>
                <a:avLst/>
                <a:gdLst/>
                <a:ahLst/>
                <a:cxnLst/>
                <a:rect l="l" t="t" r="r" b="b"/>
                <a:pathLst>
                  <a:path w="423" h="374" extrusionOk="0">
                    <a:moveTo>
                      <a:pt x="199" y="21"/>
                    </a:moveTo>
                    <a:cubicBezTo>
                      <a:pt x="202" y="40"/>
                      <a:pt x="251" y="44"/>
                      <a:pt x="285" y="99"/>
                    </a:cubicBezTo>
                    <a:cubicBezTo>
                      <a:pt x="325" y="159"/>
                      <a:pt x="314" y="242"/>
                      <a:pt x="221" y="253"/>
                    </a:cubicBezTo>
                    <a:cubicBezTo>
                      <a:pt x="217" y="253"/>
                      <a:pt x="213" y="253"/>
                      <a:pt x="210" y="253"/>
                    </a:cubicBezTo>
                    <a:cubicBezTo>
                      <a:pt x="126" y="253"/>
                      <a:pt x="102" y="179"/>
                      <a:pt x="128" y="118"/>
                    </a:cubicBezTo>
                    <a:cubicBezTo>
                      <a:pt x="150" y="54"/>
                      <a:pt x="199" y="40"/>
                      <a:pt x="199" y="21"/>
                    </a:cubicBezTo>
                    <a:close/>
                    <a:moveTo>
                      <a:pt x="245" y="0"/>
                    </a:moveTo>
                    <a:cubicBezTo>
                      <a:pt x="218" y="0"/>
                      <a:pt x="200" y="10"/>
                      <a:pt x="198" y="18"/>
                    </a:cubicBezTo>
                    <a:lnTo>
                      <a:pt x="198" y="18"/>
                    </a:lnTo>
                    <a:cubicBezTo>
                      <a:pt x="196" y="13"/>
                      <a:pt x="184" y="8"/>
                      <a:pt x="167" y="8"/>
                    </a:cubicBezTo>
                    <a:cubicBezTo>
                      <a:pt x="138" y="8"/>
                      <a:pt x="94" y="22"/>
                      <a:pt x="56" y="73"/>
                    </a:cubicBezTo>
                    <a:cubicBezTo>
                      <a:pt x="27" y="115"/>
                      <a:pt x="1" y="182"/>
                      <a:pt x="30" y="256"/>
                    </a:cubicBezTo>
                    <a:cubicBezTo>
                      <a:pt x="54" y="327"/>
                      <a:pt x="132" y="374"/>
                      <a:pt x="207" y="374"/>
                    </a:cubicBezTo>
                    <a:cubicBezTo>
                      <a:pt x="216" y="374"/>
                      <a:pt x="224" y="373"/>
                      <a:pt x="232" y="372"/>
                    </a:cubicBezTo>
                    <a:cubicBezTo>
                      <a:pt x="318" y="365"/>
                      <a:pt x="401" y="301"/>
                      <a:pt x="411" y="219"/>
                    </a:cubicBezTo>
                    <a:cubicBezTo>
                      <a:pt x="423" y="141"/>
                      <a:pt x="385" y="80"/>
                      <a:pt x="352" y="44"/>
                    </a:cubicBezTo>
                    <a:cubicBezTo>
                      <a:pt x="312" y="10"/>
                      <a:pt x="274" y="0"/>
                      <a:pt x="24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8" name="Google Shape;2733;p46">
                <a:extLst>
                  <a:ext uri="{FF2B5EF4-FFF2-40B4-BE49-F238E27FC236}">
                    <a16:creationId xmlns:a16="http://schemas.microsoft.com/office/drawing/2014/main" id="{0C0B5068-51CE-5A1C-71FE-8D05FFD9167E}"/>
                  </a:ext>
                </a:extLst>
              </p:cNvPr>
              <p:cNvSpPr/>
              <p:nvPr/>
            </p:nvSpPr>
            <p:spPr>
              <a:xfrm>
                <a:off x="7733561" y="2437449"/>
                <a:ext cx="10903" cy="7706"/>
              </a:xfrm>
              <a:custGeom>
                <a:avLst/>
                <a:gdLst/>
                <a:ahLst/>
                <a:cxnLst/>
                <a:rect l="l" t="t" r="r" b="b"/>
                <a:pathLst>
                  <a:path w="266" h="188" extrusionOk="0">
                    <a:moveTo>
                      <a:pt x="55" y="1"/>
                    </a:moveTo>
                    <a:cubicBezTo>
                      <a:pt x="40" y="1"/>
                      <a:pt x="27" y="5"/>
                      <a:pt x="19" y="14"/>
                    </a:cubicBezTo>
                    <a:cubicBezTo>
                      <a:pt x="1" y="40"/>
                      <a:pt x="38" y="100"/>
                      <a:pt x="97" y="145"/>
                    </a:cubicBezTo>
                    <a:cubicBezTo>
                      <a:pt x="140" y="172"/>
                      <a:pt x="183" y="187"/>
                      <a:pt x="213" y="187"/>
                    </a:cubicBezTo>
                    <a:cubicBezTo>
                      <a:pt x="229" y="187"/>
                      <a:pt x="241" y="183"/>
                      <a:pt x="247" y="174"/>
                    </a:cubicBezTo>
                    <a:cubicBezTo>
                      <a:pt x="266" y="148"/>
                      <a:pt x="232" y="88"/>
                      <a:pt x="168" y="44"/>
                    </a:cubicBezTo>
                    <a:cubicBezTo>
                      <a:pt x="127" y="16"/>
                      <a:pt x="85" y="1"/>
                      <a:pt x="55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9" name="Google Shape;2734;p46">
                <a:extLst>
                  <a:ext uri="{FF2B5EF4-FFF2-40B4-BE49-F238E27FC236}">
                    <a16:creationId xmlns:a16="http://schemas.microsoft.com/office/drawing/2014/main" id="{06EBA357-97F4-C701-DE92-294A4583DF09}"/>
                  </a:ext>
                </a:extLst>
              </p:cNvPr>
              <p:cNvSpPr/>
              <p:nvPr/>
            </p:nvSpPr>
            <p:spPr>
              <a:xfrm>
                <a:off x="7735487" y="2450769"/>
                <a:ext cx="11763" cy="6476"/>
              </a:xfrm>
              <a:custGeom>
                <a:avLst/>
                <a:gdLst/>
                <a:ahLst/>
                <a:cxnLst/>
                <a:rect l="l" t="t" r="r" b="b"/>
                <a:pathLst>
                  <a:path w="287" h="158" extrusionOk="0">
                    <a:moveTo>
                      <a:pt x="230" y="1"/>
                    </a:moveTo>
                    <a:cubicBezTo>
                      <a:pt x="202" y="1"/>
                      <a:pt x="164" y="16"/>
                      <a:pt x="121" y="32"/>
                    </a:cubicBezTo>
                    <a:cubicBezTo>
                      <a:pt x="66" y="55"/>
                      <a:pt x="9" y="74"/>
                      <a:pt x="6" y="107"/>
                    </a:cubicBezTo>
                    <a:cubicBezTo>
                      <a:pt x="0" y="131"/>
                      <a:pt x="40" y="158"/>
                      <a:pt x="96" y="158"/>
                    </a:cubicBezTo>
                    <a:cubicBezTo>
                      <a:pt x="117" y="158"/>
                      <a:pt x="141" y="154"/>
                      <a:pt x="166" y="144"/>
                    </a:cubicBezTo>
                    <a:cubicBezTo>
                      <a:pt x="256" y="107"/>
                      <a:pt x="286" y="29"/>
                      <a:pt x="260" y="10"/>
                    </a:cubicBezTo>
                    <a:cubicBezTo>
                      <a:pt x="252" y="3"/>
                      <a:pt x="242" y="1"/>
                      <a:pt x="23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0" name="Google Shape;2735;p46">
                <a:extLst>
                  <a:ext uri="{FF2B5EF4-FFF2-40B4-BE49-F238E27FC236}">
                    <a16:creationId xmlns:a16="http://schemas.microsoft.com/office/drawing/2014/main" id="{694192A6-6DA4-5764-9BC3-40E64D16C806}"/>
                  </a:ext>
                </a:extLst>
              </p:cNvPr>
              <p:cNvSpPr/>
              <p:nvPr/>
            </p:nvSpPr>
            <p:spPr>
              <a:xfrm>
                <a:off x="7738602" y="2466672"/>
                <a:ext cx="8771" cy="8607"/>
              </a:xfrm>
              <a:custGeom>
                <a:avLst/>
                <a:gdLst/>
                <a:ahLst/>
                <a:cxnLst/>
                <a:rect l="l" t="t" r="r" b="b"/>
                <a:pathLst>
                  <a:path w="214" h="210" extrusionOk="0">
                    <a:moveTo>
                      <a:pt x="167" y="0"/>
                    </a:moveTo>
                    <a:cubicBezTo>
                      <a:pt x="138" y="0"/>
                      <a:pt x="96" y="26"/>
                      <a:pt x="60" y="67"/>
                    </a:cubicBezTo>
                    <a:cubicBezTo>
                      <a:pt x="16" y="119"/>
                      <a:pt x="0" y="179"/>
                      <a:pt x="27" y="201"/>
                    </a:cubicBezTo>
                    <a:cubicBezTo>
                      <a:pt x="34" y="207"/>
                      <a:pt x="42" y="209"/>
                      <a:pt x="51" y="209"/>
                    </a:cubicBezTo>
                    <a:cubicBezTo>
                      <a:pt x="80" y="209"/>
                      <a:pt x="120" y="184"/>
                      <a:pt x="154" y="145"/>
                    </a:cubicBezTo>
                    <a:cubicBezTo>
                      <a:pt x="198" y="89"/>
                      <a:pt x="214" y="29"/>
                      <a:pt x="188" y="6"/>
                    </a:cubicBezTo>
                    <a:cubicBezTo>
                      <a:pt x="182" y="2"/>
                      <a:pt x="175" y="0"/>
                      <a:pt x="16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1" name="Google Shape;2736;p46">
                <a:extLst>
                  <a:ext uri="{FF2B5EF4-FFF2-40B4-BE49-F238E27FC236}">
                    <a16:creationId xmlns:a16="http://schemas.microsoft.com/office/drawing/2014/main" id="{716278EB-D5E0-5B90-7A91-291E706F7085}"/>
                  </a:ext>
                </a:extLst>
              </p:cNvPr>
              <p:cNvSpPr/>
              <p:nvPr/>
            </p:nvSpPr>
            <p:spPr>
              <a:xfrm>
                <a:off x="7732167" y="2483681"/>
                <a:ext cx="22256" cy="20494"/>
              </a:xfrm>
              <a:custGeom>
                <a:avLst/>
                <a:gdLst/>
                <a:ahLst/>
                <a:cxnLst/>
                <a:rect l="l" t="t" r="r" b="b"/>
                <a:pathLst>
                  <a:path w="543" h="500" extrusionOk="0">
                    <a:moveTo>
                      <a:pt x="334" y="74"/>
                    </a:moveTo>
                    <a:lnTo>
                      <a:pt x="334" y="74"/>
                    </a:lnTo>
                    <a:cubicBezTo>
                      <a:pt x="350" y="87"/>
                      <a:pt x="366" y="104"/>
                      <a:pt x="381" y="126"/>
                    </a:cubicBezTo>
                    <a:cubicBezTo>
                      <a:pt x="412" y="167"/>
                      <a:pt x="426" y="223"/>
                      <a:pt x="404" y="275"/>
                    </a:cubicBezTo>
                    <a:cubicBezTo>
                      <a:pt x="386" y="331"/>
                      <a:pt x="326" y="379"/>
                      <a:pt x="266" y="379"/>
                    </a:cubicBezTo>
                    <a:cubicBezTo>
                      <a:pt x="207" y="379"/>
                      <a:pt x="147" y="327"/>
                      <a:pt x="131" y="275"/>
                    </a:cubicBezTo>
                    <a:cubicBezTo>
                      <a:pt x="117" y="227"/>
                      <a:pt x="139" y="174"/>
                      <a:pt x="176" y="141"/>
                    </a:cubicBezTo>
                    <a:cubicBezTo>
                      <a:pt x="255" y="77"/>
                      <a:pt x="329" y="100"/>
                      <a:pt x="337" y="85"/>
                    </a:cubicBezTo>
                    <a:cubicBezTo>
                      <a:pt x="340" y="83"/>
                      <a:pt x="339" y="79"/>
                      <a:pt x="334" y="74"/>
                    </a:cubicBezTo>
                    <a:close/>
                    <a:moveTo>
                      <a:pt x="295" y="0"/>
                    </a:moveTo>
                    <a:cubicBezTo>
                      <a:pt x="263" y="0"/>
                      <a:pt x="244" y="11"/>
                      <a:pt x="247" y="17"/>
                    </a:cubicBezTo>
                    <a:cubicBezTo>
                      <a:pt x="245" y="27"/>
                      <a:pt x="275" y="33"/>
                      <a:pt x="313" y="58"/>
                    </a:cubicBezTo>
                    <a:lnTo>
                      <a:pt x="313" y="58"/>
                    </a:lnTo>
                    <a:cubicBezTo>
                      <a:pt x="296" y="49"/>
                      <a:pt x="271" y="41"/>
                      <a:pt x="241" y="41"/>
                    </a:cubicBezTo>
                    <a:cubicBezTo>
                      <a:pt x="209" y="41"/>
                      <a:pt x="171" y="50"/>
                      <a:pt x="128" y="74"/>
                    </a:cubicBezTo>
                    <a:cubicBezTo>
                      <a:pt x="68" y="103"/>
                      <a:pt x="0" y="197"/>
                      <a:pt x="23" y="301"/>
                    </a:cubicBezTo>
                    <a:cubicBezTo>
                      <a:pt x="50" y="402"/>
                      <a:pt x="139" y="496"/>
                      <a:pt x="266" y="500"/>
                    </a:cubicBezTo>
                    <a:cubicBezTo>
                      <a:pt x="393" y="500"/>
                      <a:pt x="483" y="402"/>
                      <a:pt x="509" y="312"/>
                    </a:cubicBezTo>
                    <a:cubicBezTo>
                      <a:pt x="543" y="212"/>
                      <a:pt x="498" y="115"/>
                      <a:pt x="445" y="70"/>
                    </a:cubicBezTo>
                    <a:cubicBezTo>
                      <a:pt x="389" y="15"/>
                      <a:pt x="333" y="0"/>
                      <a:pt x="29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2" name="Google Shape;2737;p46">
                <a:extLst>
                  <a:ext uri="{FF2B5EF4-FFF2-40B4-BE49-F238E27FC236}">
                    <a16:creationId xmlns:a16="http://schemas.microsoft.com/office/drawing/2014/main" id="{4E030B99-BAF0-1233-9E9C-0D771D18CADD}"/>
                  </a:ext>
                </a:extLst>
              </p:cNvPr>
              <p:cNvSpPr/>
              <p:nvPr/>
            </p:nvSpPr>
            <p:spPr>
              <a:xfrm>
                <a:off x="7742291" y="2511224"/>
                <a:ext cx="11231" cy="11231"/>
              </a:xfrm>
              <a:custGeom>
                <a:avLst/>
                <a:gdLst/>
                <a:ahLst/>
                <a:cxnLst/>
                <a:rect l="l" t="t" r="r" b="b"/>
                <a:pathLst>
                  <a:path w="274" h="274" extrusionOk="0">
                    <a:moveTo>
                      <a:pt x="227" y="1"/>
                    </a:moveTo>
                    <a:cubicBezTo>
                      <a:pt x="190" y="1"/>
                      <a:pt x="129" y="27"/>
                      <a:pt x="79" y="85"/>
                    </a:cubicBezTo>
                    <a:cubicBezTo>
                      <a:pt x="4" y="167"/>
                      <a:pt x="0" y="264"/>
                      <a:pt x="34" y="272"/>
                    </a:cubicBezTo>
                    <a:cubicBezTo>
                      <a:pt x="37" y="273"/>
                      <a:pt x="39" y="274"/>
                      <a:pt x="42" y="274"/>
                    </a:cubicBezTo>
                    <a:cubicBezTo>
                      <a:pt x="72" y="274"/>
                      <a:pt x="117" y="222"/>
                      <a:pt x="169" y="164"/>
                    </a:cubicBezTo>
                    <a:cubicBezTo>
                      <a:pt x="224" y="100"/>
                      <a:pt x="273" y="44"/>
                      <a:pt x="258" y="14"/>
                    </a:cubicBezTo>
                    <a:cubicBezTo>
                      <a:pt x="254" y="5"/>
                      <a:pt x="243" y="1"/>
                      <a:pt x="227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3" name="Google Shape;2738;p46">
                <a:extLst>
                  <a:ext uri="{FF2B5EF4-FFF2-40B4-BE49-F238E27FC236}">
                    <a16:creationId xmlns:a16="http://schemas.microsoft.com/office/drawing/2014/main" id="{4E4BCF09-00D9-0A8F-1564-9D683056E810}"/>
                  </a:ext>
                </a:extLst>
              </p:cNvPr>
              <p:cNvSpPr/>
              <p:nvPr/>
            </p:nvSpPr>
            <p:spPr>
              <a:xfrm>
                <a:off x="7748275" y="2528889"/>
                <a:ext cx="11190" cy="11190"/>
              </a:xfrm>
              <a:custGeom>
                <a:avLst/>
                <a:gdLst/>
                <a:ahLst/>
                <a:cxnLst/>
                <a:rect l="l" t="t" r="r" b="b"/>
                <a:pathLst>
                  <a:path w="273" h="273" extrusionOk="0">
                    <a:moveTo>
                      <a:pt x="231" y="0"/>
                    </a:moveTo>
                    <a:cubicBezTo>
                      <a:pt x="200" y="0"/>
                      <a:pt x="156" y="52"/>
                      <a:pt x="105" y="110"/>
                    </a:cubicBezTo>
                    <a:cubicBezTo>
                      <a:pt x="49" y="173"/>
                      <a:pt x="0" y="229"/>
                      <a:pt x="15" y="259"/>
                    </a:cubicBezTo>
                    <a:cubicBezTo>
                      <a:pt x="20" y="268"/>
                      <a:pt x="31" y="273"/>
                      <a:pt x="46" y="273"/>
                    </a:cubicBezTo>
                    <a:cubicBezTo>
                      <a:pt x="83" y="273"/>
                      <a:pt x="144" y="246"/>
                      <a:pt x="195" y="188"/>
                    </a:cubicBezTo>
                    <a:cubicBezTo>
                      <a:pt x="265" y="106"/>
                      <a:pt x="273" y="12"/>
                      <a:pt x="239" y="2"/>
                    </a:cubicBezTo>
                    <a:cubicBezTo>
                      <a:pt x="237" y="1"/>
                      <a:pt x="234" y="0"/>
                      <a:pt x="23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4" name="Google Shape;2739;p46">
                <a:extLst>
                  <a:ext uri="{FF2B5EF4-FFF2-40B4-BE49-F238E27FC236}">
                    <a16:creationId xmlns:a16="http://schemas.microsoft.com/office/drawing/2014/main" id="{84F19A87-4620-AC61-0592-D7520AEC566C}"/>
                  </a:ext>
                </a:extLst>
              </p:cNvPr>
              <p:cNvSpPr/>
              <p:nvPr/>
            </p:nvSpPr>
            <p:spPr>
              <a:xfrm>
                <a:off x="7757579" y="2542086"/>
                <a:ext cx="5574" cy="14592"/>
              </a:xfrm>
              <a:custGeom>
                <a:avLst/>
                <a:gdLst/>
                <a:ahLst/>
                <a:cxnLst/>
                <a:rect l="l" t="t" r="r" b="b"/>
                <a:pathLst>
                  <a:path w="136" h="356" extrusionOk="0">
                    <a:moveTo>
                      <a:pt x="55" y="0"/>
                    </a:moveTo>
                    <a:cubicBezTo>
                      <a:pt x="54" y="0"/>
                      <a:pt x="54" y="1"/>
                      <a:pt x="53" y="1"/>
                    </a:cubicBezTo>
                    <a:cubicBezTo>
                      <a:pt x="20" y="4"/>
                      <a:pt x="1" y="87"/>
                      <a:pt x="8" y="183"/>
                    </a:cubicBezTo>
                    <a:cubicBezTo>
                      <a:pt x="16" y="279"/>
                      <a:pt x="48" y="356"/>
                      <a:pt x="81" y="356"/>
                    </a:cubicBezTo>
                    <a:cubicBezTo>
                      <a:pt x="82" y="356"/>
                      <a:pt x="83" y="356"/>
                      <a:pt x="83" y="356"/>
                    </a:cubicBezTo>
                    <a:cubicBezTo>
                      <a:pt x="116" y="352"/>
                      <a:pt x="135" y="270"/>
                      <a:pt x="128" y="173"/>
                    </a:cubicBezTo>
                    <a:cubicBezTo>
                      <a:pt x="120" y="77"/>
                      <a:pt x="88" y="0"/>
                      <a:pt x="5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5" name="Google Shape;2740;p46">
                <a:extLst>
                  <a:ext uri="{FF2B5EF4-FFF2-40B4-BE49-F238E27FC236}">
                    <a16:creationId xmlns:a16="http://schemas.microsoft.com/office/drawing/2014/main" id="{82082579-16E0-9DBF-2B72-C53D4A7BBB8B}"/>
                  </a:ext>
                </a:extLst>
              </p:cNvPr>
              <p:cNvSpPr/>
              <p:nvPr/>
            </p:nvSpPr>
            <p:spPr>
              <a:xfrm>
                <a:off x="7796926" y="2554546"/>
                <a:ext cx="10780" cy="6886"/>
              </a:xfrm>
              <a:custGeom>
                <a:avLst/>
                <a:gdLst/>
                <a:ahLst/>
                <a:cxnLst/>
                <a:rect l="l" t="t" r="r" b="b"/>
                <a:pathLst>
                  <a:path w="263" h="168" extrusionOk="0">
                    <a:moveTo>
                      <a:pt x="61" y="1"/>
                    </a:moveTo>
                    <a:cubicBezTo>
                      <a:pt x="41" y="1"/>
                      <a:pt x="26" y="6"/>
                      <a:pt x="20" y="18"/>
                    </a:cubicBezTo>
                    <a:cubicBezTo>
                      <a:pt x="1" y="48"/>
                      <a:pt x="39" y="100"/>
                      <a:pt x="101" y="138"/>
                    </a:cubicBezTo>
                    <a:cubicBezTo>
                      <a:pt x="138" y="157"/>
                      <a:pt x="174" y="167"/>
                      <a:pt x="202" y="167"/>
                    </a:cubicBezTo>
                    <a:cubicBezTo>
                      <a:pt x="222" y="167"/>
                      <a:pt x="237" y="161"/>
                      <a:pt x="244" y="148"/>
                    </a:cubicBezTo>
                    <a:cubicBezTo>
                      <a:pt x="263" y="119"/>
                      <a:pt x="225" y="67"/>
                      <a:pt x="161" y="33"/>
                    </a:cubicBezTo>
                    <a:cubicBezTo>
                      <a:pt x="125" y="11"/>
                      <a:pt x="88" y="1"/>
                      <a:pt x="6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6" name="Google Shape;2741;p46">
                <a:extLst>
                  <a:ext uri="{FF2B5EF4-FFF2-40B4-BE49-F238E27FC236}">
                    <a16:creationId xmlns:a16="http://schemas.microsoft.com/office/drawing/2014/main" id="{26094127-32E2-6822-60C6-736EB1360A91}"/>
                  </a:ext>
                </a:extLst>
              </p:cNvPr>
              <p:cNvSpPr/>
              <p:nvPr/>
            </p:nvSpPr>
            <p:spPr>
              <a:xfrm>
                <a:off x="7811353" y="2541963"/>
                <a:ext cx="12419" cy="11231"/>
              </a:xfrm>
              <a:custGeom>
                <a:avLst/>
                <a:gdLst/>
                <a:ahLst/>
                <a:cxnLst/>
                <a:rect l="l" t="t" r="r" b="b"/>
                <a:pathLst>
                  <a:path w="303" h="274" extrusionOk="0">
                    <a:moveTo>
                      <a:pt x="261" y="1"/>
                    </a:moveTo>
                    <a:cubicBezTo>
                      <a:pt x="227" y="1"/>
                      <a:pt x="166" y="36"/>
                      <a:pt x="108" y="93"/>
                    </a:cubicBezTo>
                    <a:cubicBezTo>
                      <a:pt x="41" y="164"/>
                      <a:pt x="0" y="243"/>
                      <a:pt x="26" y="265"/>
                    </a:cubicBezTo>
                    <a:cubicBezTo>
                      <a:pt x="31" y="271"/>
                      <a:pt x="38" y="273"/>
                      <a:pt x="46" y="273"/>
                    </a:cubicBezTo>
                    <a:cubicBezTo>
                      <a:pt x="79" y="273"/>
                      <a:pt x="138" y="236"/>
                      <a:pt x="194" y="179"/>
                    </a:cubicBezTo>
                    <a:cubicBezTo>
                      <a:pt x="265" y="108"/>
                      <a:pt x="302" y="30"/>
                      <a:pt x="280" y="7"/>
                    </a:cubicBezTo>
                    <a:cubicBezTo>
                      <a:pt x="276" y="3"/>
                      <a:pt x="269" y="1"/>
                      <a:pt x="26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7" name="Google Shape;2742;p46">
                <a:extLst>
                  <a:ext uri="{FF2B5EF4-FFF2-40B4-BE49-F238E27FC236}">
                    <a16:creationId xmlns:a16="http://schemas.microsoft.com/office/drawing/2014/main" id="{F5C7BF23-3A2A-40E7-AFFC-A26EEFF998E7}"/>
                  </a:ext>
                </a:extLst>
              </p:cNvPr>
              <p:cNvSpPr/>
              <p:nvPr/>
            </p:nvSpPr>
            <p:spPr>
              <a:xfrm>
                <a:off x="7830002" y="2529914"/>
                <a:ext cx="15657" cy="13444"/>
              </a:xfrm>
              <a:custGeom>
                <a:avLst/>
                <a:gdLst/>
                <a:ahLst/>
                <a:cxnLst/>
                <a:rect l="l" t="t" r="r" b="b"/>
                <a:pathLst>
                  <a:path w="382" h="328" extrusionOk="0">
                    <a:moveTo>
                      <a:pt x="162" y="62"/>
                    </a:moveTo>
                    <a:cubicBezTo>
                      <a:pt x="181" y="75"/>
                      <a:pt x="215" y="89"/>
                      <a:pt x="259" y="102"/>
                    </a:cubicBezTo>
                    <a:lnTo>
                      <a:pt x="259" y="102"/>
                    </a:lnTo>
                    <a:cubicBezTo>
                      <a:pt x="272" y="137"/>
                      <a:pt x="250" y="208"/>
                      <a:pt x="206" y="208"/>
                    </a:cubicBezTo>
                    <a:cubicBezTo>
                      <a:pt x="204" y="208"/>
                      <a:pt x="202" y="208"/>
                      <a:pt x="200" y="208"/>
                    </a:cubicBezTo>
                    <a:cubicBezTo>
                      <a:pt x="175" y="208"/>
                      <a:pt x="142" y="188"/>
                      <a:pt x="132" y="170"/>
                    </a:cubicBezTo>
                    <a:cubicBezTo>
                      <a:pt x="120" y="152"/>
                      <a:pt x="123" y="122"/>
                      <a:pt x="135" y="96"/>
                    </a:cubicBezTo>
                    <a:cubicBezTo>
                      <a:pt x="143" y="81"/>
                      <a:pt x="152" y="70"/>
                      <a:pt x="162" y="62"/>
                    </a:cubicBezTo>
                    <a:close/>
                    <a:moveTo>
                      <a:pt x="166" y="0"/>
                    </a:moveTo>
                    <a:cubicBezTo>
                      <a:pt x="140" y="0"/>
                      <a:pt x="105" y="11"/>
                      <a:pt x="68" y="44"/>
                    </a:cubicBezTo>
                    <a:cubicBezTo>
                      <a:pt x="34" y="73"/>
                      <a:pt x="1" y="141"/>
                      <a:pt x="30" y="215"/>
                    </a:cubicBezTo>
                    <a:cubicBezTo>
                      <a:pt x="59" y="278"/>
                      <a:pt x="122" y="328"/>
                      <a:pt x="200" y="328"/>
                    </a:cubicBezTo>
                    <a:cubicBezTo>
                      <a:pt x="206" y="328"/>
                      <a:pt x="212" y="328"/>
                      <a:pt x="218" y="327"/>
                    </a:cubicBezTo>
                    <a:cubicBezTo>
                      <a:pt x="299" y="320"/>
                      <a:pt x="359" y="249"/>
                      <a:pt x="366" y="189"/>
                    </a:cubicBezTo>
                    <a:cubicBezTo>
                      <a:pt x="382" y="125"/>
                      <a:pt x="359" y="63"/>
                      <a:pt x="322" y="29"/>
                    </a:cubicBezTo>
                    <a:lnTo>
                      <a:pt x="303" y="18"/>
                    </a:lnTo>
                    <a:lnTo>
                      <a:pt x="292" y="18"/>
                    </a:lnTo>
                    <a:cubicBezTo>
                      <a:pt x="279" y="17"/>
                      <a:pt x="266" y="17"/>
                      <a:pt x="255" y="17"/>
                    </a:cubicBezTo>
                    <a:cubicBezTo>
                      <a:pt x="237" y="17"/>
                      <a:pt x="221" y="18"/>
                      <a:pt x="207" y="19"/>
                    </a:cubicBezTo>
                    <a:lnTo>
                      <a:pt x="207" y="19"/>
                    </a:lnTo>
                    <a:cubicBezTo>
                      <a:pt x="209" y="11"/>
                      <a:pt x="192" y="0"/>
                      <a:pt x="16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8" name="Google Shape;2743;p46">
                <a:extLst>
                  <a:ext uri="{FF2B5EF4-FFF2-40B4-BE49-F238E27FC236}">
                    <a16:creationId xmlns:a16="http://schemas.microsoft.com/office/drawing/2014/main" id="{3B7B2055-537F-DF60-B65C-AED2F1E9A10B}"/>
                  </a:ext>
                </a:extLst>
              </p:cNvPr>
              <p:cNvSpPr/>
              <p:nvPr/>
            </p:nvSpPr>
            <p:spPr>
              <a:xfrm>
                <a:off x="7847626" y="2515896"/>
                <a:ext cx="6312" cy="13239"/>
              </a:xfrm>
              <a:custGeom>
                <a:avLst/>
                <a:gdLst/>
                <a:ahLst/>
                <a:cxnLst/>
                <a:rect l="l" t="t" r="r" b="b"/>
                <a:pathLst>
                  <a:path w="154" h="323" extrusionOk="0">
                    <a:moveTo>
                      <a:pt x="103" y="1"/>
                    </a:moveTo>
                    <a:cubicBezTo>
                      <a:pt x="70" y="1"/>
                      <a:pt x="33" y="65"/>
                      <a:pt x="19" y="147"/>
                    </a:cubicBezTo>
                    <a:cubicBezTo>
                      <a:pt x="0" y="236"/>
                      <a:pt x="12" y="315"/>
                      <a:pt x="45" y="322"/>
                    </a:cubicBezTo>
                    <a:cubicBezTo>
                      <a:pt x="46" y="322"/>
                      <a:pt x="46" y="322"/>
                      <a:pt x="47" y="322"/>
                    </a:cubicBezTo>
                    <a:cubicBezTo>
                      <a:pt x="77" y="322"/>
                      <a:pt x="116" y="260"/>
                      <a:pt x="135" y="173"/>
                    </a:cubicBezTo>
                    <a:cubicBezTo>
                      <a:pt x="153" y="83"/>
                      <a:pt x="142" y="5"/>
                      <a:pt x="109" y="1"/>
                    </a:cubicBezTo>
                    <a:cubicBezTo>
                      <a:pt x="107" y="1"/>
                      <a:pt x="105" y="1"/>
                      <a:pt x="10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9" name="Google Shape;2744;p46">
                <a:extLst>
                  <a:ext uri="{FF2B5EF4-FFF2-40B4-BE49-F238E27FC236}">
                    <a16:creationId xmlns:a16="http://schemas.microsoft.com/office/drawing/2014/main" id="{9C12F18D-56D0-70E5-7611-552748A841B5}"/>
                  </a:ext>
                </a:extLst>
              </p:cNvPr>
              <p:cNvSpPr/>
              <p:nvPr/>
            </p:nvSpPr>
            <p:spPr>
              <a:xfrm>
                <a:off x="7857709" y="2508355"/>
                <a:ext cx="13034" cy="6968"/>
              </a:xfrm>
              <a:custGeom>
                <a:avLst/>
                <a:gdLst/>
                <a:ahLst/>
                <a:cxnLst/>
                <a:rect l="l" t="t" r="r" b="b"/>
                <a:pathLst>
                  <a:path w="318" h="170" extrusionOk="0">
                    <a:moveTo>
                      <a:pt x="66" y="1"/>
                    </a:moveTo>
                    <a:cubicBezTo>
                      <a:pt x="41" y="1"/>
                      <a:pt x="22" y="7"/>
                      <a:pt x="16" y="20"/>
                    </a:cubicBezTo>
                    <a:cubicBezTo>
                      <a:pt x="1" y="51"/>
                      <a:pt x="57" y="103"/>
                      <a:pt x="135" y="141"/>
                    </a:cubicBezTo>
                    <a:cubicBezTo>
                      <a:pt x="181" y="159"/>
                      <a:pt x="224" y="169"/>
                      <a:pt x="255" y="169"/>
                    </a:cubicBezTo>
                    <a:cubicBezTo>
                      <a:pt x="281" y="169"/>
                      <a:pt x="298" y="162"/>
                      <a:pt x="304" y="148"/>
                    </a:cubicBezTo>
                    <a:cubicBezTo>
                      <a:pt x="318" y="118"/>
                      <a:pt x="266" y="65"/>
                      <a:pt x="183" y="32"/>
                    </a:cubicBezTo>
                    <a:cubicBezTo>
                      <a:pt x="140" y="11"/>
                      <a:pt x="97" y="1"/>
                      <a:pt x="66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0" name="Google Shape;2745;p46">
                <a:extLst>
                  <a:ext uri="{FF2B5EF4-FFF2-40B4-BE49-F238E27FC236}">
                    <a16:creationId xmlns:a16="http://schemas.microsoft.com/office/drawing/2014/main" id="{FDF12810-2E42-510D-53A2-FEC176342278}"/>
                  </a:ext>
                </a:extLst>
              </p:cNvPr>
              <p:cNvSpPr/>
              <p:nvPr/>
            </p:nvSpPr>
            <p:spPr>
              <a:xfrm>
                <a:off x="7870046" y="2492534"/>
                <a:ext cx="13280" cy="12583"/>
              </a:xfrm>
              <a:custGeom>
                <a:avLst/>
                <a:gdLst/>
                <a:ahLst/>
                <a:cxnLst/>
                <a:rect l="l" t="t" r="r" b="b"/>
                <a:pathLst>
                  <a:path w="324" h="307" extrusionOk="0">
                    <a:moveTo>
                      <a:pt x="174" y="1"/>
                    </a:moveTo>
                    <a:cubicBezTo>
                      <a:pt x="165" y="1"/>
                      <a:pt x="156" y="1"/>
                      <a:pt x="148" y="3"/>
                    </a:cubicBezTo>
                    <a:cubicBezTo>
                      <a:pt x="65" y="18"/>
                      <a:pt x="55" y="82"/>
                      <a:pt x="70" y="85"/>
                    </a:cubicBezTo>
                    <a:cubicBezTo>
                      <a:pt x="72" y="87"/>
                      <a:pt x="75" y="88"/>
                      <a:pt x="79" y="88"/>
                    </a:cubicBezTo>
                    <a:cubicBezTo>
                      <a:pt x="88" y="88"/>
                      <a:pt x="101" y="85"/>
                      <a:pt x="117" y="85"/>
                    </a:cubicBezTo>
                    <a:cubicBezTo>
                      <a:pt x="126" y="85"/>
                      <a:pt x="137" y="86"/>
                      <a:pt x="148" y="89"/>
                    </a:cubicBezTo>
                    <a:cubicBezTo>
                      <a:pt x="193" y="101"/>
                      <a:pt x="211" y="127"/>
                      <a:pt x="189" y="168"/>
                    </a:cubicBezTo>
                    <a:cubicBezTo>
                      <a:pt x="176" y="186"/>
                      <a:pt x="163" y="194"/>
                      <a:pt x="148" y="194"/>
                    </a:cubicBezTo>
                    <a:cubicBezTo>
                      <a:pt x="133" y="194"/>
                      <a:pt x="116" y="185"/>
                      <a:pt x="99" y="168"/>
                    </a:cubicBezTo>
                    <a:cubicBezTo>
                      <a:pt x="73" y="137"/>
                      <a:pt x="73" y="108"/>
                      <a:pt x="62" y="96"/>
                    </a:cubicBezTo>
                    <a:cubicBezTo>
                      <a:pt x="61" y="95"/>
                      <a:pt x="59" y="95"/>
                      <a:pt x="57" y="95"/>
                    </a:cubicBezTo>
                    <a:cubicBezTo>
                      <a:pt x="41" y="95"/>
                      <a:pt x="1" y="135"/>
                      <a:pt x="25" y="205"/>
                    </a:cubicBezTo>
                    <a:cubicBezTo>
                      <a:pt x="36" y="242"/>
                      <a:pt x="62" y="287"/>
                      <a:pt x="125" y="302"/>
                    </a:cubicBezTo>
                    <a:cubicBezTo>
                      <a:pt x="136" y="306"/>
                      <a:pt x="147" y="307"/>
                      <a:pt x="158" y="307"/>
                    </a:cubicBezTo>
                    <a:cubicBezTo>
                      <a:pt x="210" y="307"/>
                      <a:pt x="265" y="274"/>
                      <a:pt x="289" y="231"/>
                    </a:cubicBezTo>
                    <a:cubicBezTo>
                      <a:pt x="324" y="179"/>
                      <a:pt x="324" y="96"/>
                      <a:pt x="279" y="48"/>
                    </a:cubicBezTo>
                    <a:cubicBezTo>
                      <a:pt x="246" y="13"/>
                      <a:pt x="207" y="1"/>
                      <a:pt x="17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1" name="Google Shape;2746;p46">
                <a:extLst>
                  <a:ext uri="{FF2B5EF4-FFF2-40B4-BE49-F238E27FC236}">
                    <a16:creationId xmlns:a16="http://schemas.microsoft.com/office/drawing/2014/main" id="{66C0B064-01AF-ACB1-5986-5D794E6B663C}"/>
                  </a:ext>
                </a:extLst>
              </p:cNvPr>
              <p:cNvSpPr/>
              <p:nvPr/>
            </p:nvSpPr>
            <p:spPr>
              <a:xfrm>
                <a:off x="7882506" y="2473639"/>
                <a:ext cx="6189" cy="8116"/>
              </a:xfrm>
              <a:custGeom>
                <a:avLst/>
                <a:gdLst/>
                <a:ahLst/>
                <a:cxnLst/>
                <a:rect l="l" t="t" r="r" b="b"/>
                <a:pathLst>
                  <a:path w="151" h="198" extrusionOk="0">
                    <a:moveTo>
                      <a:pt x="52" y="0"/>
                    </a:moveTo>
                    <a:cubicBezTo>
                      <a:pt x="48" y="0"/>
                      <a:pt x="45" y="1"/>
                      <a:pt x="42" y="1"/>
                    </a:cubicBezTo>
                    <a:cubicBezTo>
                      <a:pt x="12" y="12"/>
                      <a:pt x="1" y="64"/>
                      <a:pt x="20" y="117"/>
                    </a:cubicBezTo>
                    <a:cubicBezTo>
                      <a:pt x="36" y="165"/>
                      <a:pt x="69" y="197"/>
                      <a:pt x="97" y="197"/>
                    </a:cubicBezTo>
                    <a:cubicBezTo>
                      <a:pt x="101" y="197"/>
                      <a:pt x="105" y="197"/>
                      <a:pt x="109" y="195"/>
                    </a:cubicBezTo>
                    <a:cubicBezTo>
                      <a:pt x="139" y="184"/>
                      <a:pt x="150" y="131"/>
                      <a:pt x="132" y="79"/>
                    </a:cubicBezTo>
                    <a:cubicBezTo>
                      <a:pt x="115" y="33"/>
                      <a:pt x="82" y="0"/>
                      <a:pt x="5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2" name="Google Shape;2747;p46">
                <a:extLst>
                  <a:ext uri="{FF2B5EF4-FFF2-40B4-BE49-F238E27FC236}">
                    <a16:creationId xmlns:a16="http://schemas.microsoft.com/office/drawing/2014/main" id="{756D4759-9A5A-C850-9A91-BD0282AC396C}"/>
                  </a:ext>
                </a:extLst>
              </p:cNvPr>
              <p:cNvSpPr/>
              <p:nvPr/>
            </p:nvSpPr>
            <p:spPr>
              <a:xfrm>
                <a:off x="7890621" y="2462286"/>
                <a:ext cx="10616" cy="6845"/>
              </a:xfrm>
              <a:custGeom>
                <a:avLst/>
                <a:gdLst/>
                <a:ahLst/>
                <a:cxnLst/>
                <a:rect l="l" t="t" r="r" b="b"/>
                <a:pathLst>
                  <a:path w="259" h="167" extrusionOk="0">
                    <a:moveTo>
                      <a:pt x="63" y="1"/>
                    </a:moveTo>
                    <a:cubicBezTo>
                      <a:pt x="41" y="1"/>
                      <a:pt x="24" y="7"/>
                      <a:pt x="16" y="20"/>
                    </a:cubicBezTo>
                    <a:cubicBezTo>
                      <a:pt x="1" y="46"/>
                      <a:pt x="38" y="99"/>
                      <a:pt x="98" y="136"/>
                    </a:cubicBezTo>
                    <a:cubicBezTo>
                      <a:pt x="134" y="155"/>
                      <a:pt x="171" y="166"/>
                      <a:pt x="199" y="166"/>
                    </a:cubicBezTo>
                    <a:cubicBezTo>
                      <a:pt x="219" y="166"/>
                      <a:pt x="236" y="160"/>
                      <a:pt x="244" y="148"/>
                    </a:cubicBezTo>
                    <a:cubicBezTo>
                      <a:pt x="258" y="117"/>
                      <a:pt x="221" y="65"/>
                      <a:pt x="158" y="32"/>
                    </a:cubicBezTo>
                    <a:cubicBezTo>
                      <a:pt x="124" y="11"/>
                      <a:pt x="90" y="1"/>
                      <a:pt x="6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3" name="Google Shape;2748;p46">
                <a:extLst>
                  <a:ext uri="{FF2B5EF4-FFF2-40B4-BE49-F238E27FC236}">
                    <a16:creationId xmlns:a16="http://schemas.microsoft.com/office/drawing/2014/main" id="{16E3C825-0BC2-D73A-1C4B-7C6660748D99}"/>
                  </a:ext>
                </a:extLst>
              </p:cNvPr>
              <p:cNvSpPr/>
              <p:nvPr/>
            </p:nvSpPr>
            <p:spPr>
              <a:xfrm>
                <a:off x="7897343" y="2447736"/>
                <a:ext cx="12911" cy="6886"/>
              </a:xfrm>
              <a:custGeom>
                <a:avLst/>
                <a:gdLst/>
                <a:ahLst/>
                <a:cxnLst/>
                <a:rect l="l" t="t" r="r" b="b"/>
                <a:pathLst>
                  <a:path w="315" h="168" extrusionOk="0">
                    <a:moveTo>
                      <a:pt x="252" y="0"/>
                    </a:moveTo>
                    <a:cubicBezTo>
                      <a:pt x="220" y="0"/>
                      <a:pt x="178" y="10"/>
                      <a:pt x="135" y="28"/>
                    </a:cubicBezTo>
                    <a:cubicBezTo>
                      <a:pt x="54" y="65"/>
                      <a:pt x="1" y="118"/>
                      <a:pt x="12" y="148"/>
                    </a:cubicBezTo>
                    <a:cubicBezTo>
                      <a:pt x="19" y="161"/>
                      <a:pt x="38" y="168"/>
                      <a:pt x="65" y="168"/>
                    </a:cubicBezTo>
                    <a:cubicBezTo>
                      <a:pt x="97" y="168"/>
                      <a:pt x="139" y="158"/>
                      <a:pt x="184" y="140"/>
                    </a:cubicBezTo>
                    <a:cubicBezTo>
                      <a:pt x="263" y="103"/>
                      <a:pt x="315" y="51"/>
                      <a:pt x="304" y="20"/>
                    </a:cubicBezTo>
                    <a:cubicBezTo>
                      <a:pt x="297" y="7"/>
                      <a:pt x="278" y="0"/>
                      <a:pt x="25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4" name="Google Shape;2749;p46">
                <a:extLst>
                  <a:ext uri="{FF2B5EF4-FFF2-40B4-BE49-F238E27FC236}">
                    <a16:creationId xmlns:a16="http://schemas.microsoft.com/office/drawing/2014/main" id="{BB59C44F-C8A2-4EA3-F4EB-B5B691369A7C}"/>
                  </a:ext>
                </a:extLst>
              </p:cNvPr>
              <p:cNvSpPr/>
              <p:nvPr/>
            </p:nvSpPr>
            <p:spPr>
              <a:xfrm>
                <a:off x="7908532" y="2423513"/>
                <a:ext cx="13977" cy="12911"/>
              </a:xfrm>
              <a:custGeom>
                <a:avLst/>
                <a:gdLst/>
                <a:ahLst/>
                <a:cxnLst/>
                <a:rect l="l" t="t" r="r" b="b"/>
                <a:pathLst>
                  <a:path w="341" h="315" extrusionOk="0">
                    <a:moveTo>
                      <a:pt x="189" y="0"/>
                    </a:moveTo>
                    <a:cubicBezTo>
                      <a:pt x="149" y="0"/>
                      <a:pt x="127" y="22"/>
                      <a:pt x="135" y="32"/>
                    </a:cubicBezTo>
                    <a:cubicBezTo>
                      <a:pt x="139" y="47"/>
                      <a:pt x="176" y="51"/>
                      <a:pt x="207" y="85"/>
                    </a:cubicBezTo>
                    <a:cubicBezTo>
                      <a:pt x="236" y="126"/>
                      <a:pt x="236" y="167"/>
                      <a:pt x="184" y="189"/>
                    </a:cubicBezTo>
                    <a:cubicBezTo>
                      <a:pt x="174" y="193"/>
                      <a:pt x="165" y="194"/>
                      <a:pt x="156" y="194"/>
                    </a:cubicBezTo>
                    <a:cubicBezTo>
                      <a:pt x="122" y="194"/>
                      <a:pt x="104" y="165"/>
                      <a:pt x="98" y="126"/>
                    </a:cubicBezTo>
                    <a:cubicBezTo>
                      <a:pt x="94" y="81"/>
                      <a:pt x="120" y="55"/>
                      <a:pt x="112" y="40"/>
                    </a:cubicBezTo>
                    <a:cubicBezTo>
                      <a:pt x="112" y="36"/>
                      <a:pt x="107" y="33"/>
                      <a:pt x="99" y="33"/>
                    </a:cubicBezTo>
                    <a:cubicBezTo>
                      <a:pt x="78" y="33"/>
                      <a:pt x="37" y="52"/>
                      <a:pt x="16" y="111"/>
                    </a:cubicBezTo>
                    <a:cubicBezTo>
                      <a:pt x="5" y="149"/>
                      <a:pt x="0" y="204"/>
                      <a:pt x="42" y="256"/>
                    </a:cubicBezTo>
                    <a:cubicBezTo>
                      <a:pt x="70" y="295"/>
                      <a:pt x="117" y="314"/>
                      <a:pt x="164" y="314"/>
                    </a:cubicBezTo>
                    <a:cubicBezTo>
                      <a:pt x="186" y="314"/>
                      <a:pt x="209" y="310"/>
                      <a:pt x="229" y="301"/>
                    </a:cubicBezTo>
                    <a:cubicBezTo>
                      <a:pt x="288" y="279"/>
                      <a:pt x="341" y="211"/>
                      <a:pt x="337" y="144"/>
                    </a:cubicBezTo>
                    <a:cubicBezTo>
                      <a:pt x="329" y="77"/>
                      <a:pt x="288" y="37"/>
                      <a:pt x="255" y="18"/>
                    </a:cubicBezTo>
                    <a:cubicBezTo>
                      <a:pt x="230" y="5"/>
                      <a:pt x="208" y="0"/>
                      <a:pt x="18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5" name="Google Shape;2750;p46">
                <a:extLst>
                  <a:ext uri="{FF2B5EF4-FFF2-40B4-BE49-F238E27FC236}">
                    <a16:creationId xmlns:a16="http://schemas.microsoft.com/office/drawing/2014/main" id="{667CAFAA-8499-ACBB-E265-EB54C4CA05E3}"/>
                  </a:ext>
                </a:extLst>
              </p:cNvPr>
              <p:cNvSpPr/>
              <p:nvPr/>
            </p:nvSpPr>
            <p:spPr>
              <a:xfrm>
                <a:off x="7914803" y="2402733"/>
                <a:ext cx="12460" cy="5533"/>
              </a:xfrm>
              <a:custGeom>
                <a:avLst/>
                <a:gdLst/>
                <a:ahLst/>
                <a:cxnLst/>
                <a:rect l="l" t="t" r="r" b="b"/>
                <a:pathLst>
                  <a:path w="304" h="135" extrusionOk="0">
                    <a:moveTo>
                      <a:pt x="212" y="0"/>
                    </a:moveTo>
                    <a:cubicBezTo>
                      <a:pt x="190" y="0"/>
                      <a:pt x="165" y="3"/>
                      <a:pt x="139" y="9"/>
                    </a:cubicBezTo>
                    <a:cubicBezTo>
                      <a:pt x="61" y="28"/>
                      <a:pt x="1" y="69"/>
                      <a:pt x="9" y="99"/>
                    </a:cubicBezTo>
                    <a:cubicBezTo>
                      <a:pt x="14" y="121"/>
                      <a:pt x="47" y="134"/>
                      <a:pt x="93" y="134"/>
                    </a:cubicBezTo>
                    <a:cubicBezTo>
                      <a:pt x="115" y="134"/>
                      <a:pt x="140" y="131"/>
                      <a:pt x="166" y="125"/>
                    </a:cubicBezTo>
                    <a:cubicBezTo>
                      <a:pt x="247" y="106"/>
                      <a:pt x="304" y="65"/>
                      <a:pt x="296" y="35"/>
                    </a:cubicBezTo>
                    <a:cubicBezTo>
                      <a:pt x="291" y="13"/>
                      <a:pt x="257" y="0"/>
                      <a:pt x="21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6" name="Google Shape;2751;p46">
                <a:extLst>
                  <a:ext uri="{FF2B5EF4-FFF2-40B4-BE49-F238E27FC236}">
                    <a16:creationId xmlns:a16="http://schemas.microsoft.com/office/drawing/2014/main" id="{2464F78C-E97B-38F2-289B-A39CEA743EF5}"/>
                  </a:ext>
                </a:extLst>
              </p:cNvPr>
              <p:cNvSpPr/>
              <p:nvPr/>
            </p:nvSpPr>
            <p:spPr>
              <a:xfrm>
                <a:off x="7913737" y="2393143"/>
                <a:ext cx="5246" cy="4017"/>
              </a:xfrm>
              <a:custGeom>
                <a:avLst/>
                <a:gdLst/>
                <a:ahLst/>
                <a:cxnLst/>
                <a:rect l="l" t="t" r="r" b="b"/>
                <a:pathLst>
                  <a:path w="128" h="98" extrusionOk="0">
                    <a:moveTo>
                      <a:pt x="128" y="0"/>
                    </a:moveTo>
                    <a:lnTo>
                      <a:pt x="64" y="49"/>
                    </a:lnTo>
                    <a:cubicBezTo>
                      <a:pt x="86" y="33"/>
                      <a:pt x="107" y="17"/>
                      <a:pt x="128" y="0"/>
                    </a:cubicBezTo>
                    <a:close/>
                    <a:moveTo>
                      <a:pt x="64" y="49"/>
                    </a:moveTo>
                    <a:cubicBezTo>
                      <a:pt x="43" y="65"/>
                      <a:pt x="21" y="81"/>
                      <a:pt x="1" y="97"/>
                    </a:cubicBezTo>
                    <a:lnTo>
                      <a:pt x="64" y="49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6" name="Google Shape;2752;p46">
                <a:extLst>
                  <a:ext uri="{FF2B5EF4-FFF2-40B4-BE49-F238E27FC236}">
                    <a16:creationId xmlns:a16="http://schemas.microsoft.com/office/drawing/2014/main" id="{EE6F43E5-E206-EFA0-152D-60EE0659E179}"/>
                  </a:ext>
                </a:extLst>
              </p:cNvPr>
              <p:cNvSpPr/>
              <p:nvPr/>
            </p:nvSpPr>
            <p:spPr>
              <a:xfrm>
                <a:off x="7482641" y="2523028"/>
                <a:ext cx="6353" cy="9099"/>
              </a:xfrm>
              <a:custGeom>
                <a:avLst/>
                <a:gdLst/>
                <a:ahLst/>
                <a:cxnLst/>
                <a:rect l="l" t="t" r="r" b="b"/>
                <a:pathLst>
                  <a:path w="155" h="222" extrusionOk="0">
                    <a:moveTo>
                      <a:pt x="102" y="0"/>
                    </a:moveTo>
                    <a:cubicBezTo>
                      <a:pt x="70" y="0"/>
                      <a:pt x="36" y="39"/>
                      <a:pt x="20" y="92"/>
                    </a:cubicBezTo>
                    <a:cubicBezTo>
                      <a:pt x="1" y="152"/>
                      <a:pt x="12" y="208"/>
                      <a:pt x="42" y="219"/>
                    </a:cubicBezTo>
                    <a:cubicBezTo>
                      <a:pt x="46" y="220"/>
                      <a:pt x="50" y="221"/>
                      <a:pt x="54" y="221"/>
                    </a:cubicBezTo>
                    <a:cubicBezTo>
                      <a:pt x="84" y="221"/>
                      <a:pt x="119" y="183"/>
                      <a:pt x="135" y="129"/>
                    </a:cubicBezTo>
                    <a:cubicBezTo>
                      <a:pt x="154" y="69"/>
                      <a:pt x="142" y="14"/>
                      <a:pt x="113" y="2"/>
                    </a:cubicBezTo>
                    <a:cubicBezTo>
                      <a:pt x="109" y="1"/>
                      <a:pt x="106" y="0"/>
                      <a:pt x="10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7" name="Google Shape;2753;p46">
                <a:extLst>
                  <a:ext uri="{FF2B5EF4-FFF2-40B4-BE49-F238E27FC236}">
                    <a16:creationId xmlns:a16="http://schemas.microsoft.com/office/drawing/2014/main" id="{84718FC3-B1DA-95CF-15B6-6D2D92CD3D99}"/>
                  </a:ext>
                </a:extLst>
              </p:cNvPr>
              <p:cNvSpPr/>
              <p:nvPr/>
            </p:nvSpPr>
            <p:spPr>
              <a:xfrm>
                <a:off x="7490429" y="2544259"/>
                <a:ext cx="14592" cy="13567"/>
              </a:xfrm>
              <a:custGeom>
                <a:avLst/>
                <a:gdLst/>
                <a:ahLst/>
                <a:cxnLst/>
                <a:rect l="l" t="t" r="r" b="b"/>
                <a:pathLst>
                  <a:path w="356" h="331" extrusionOk="0">
                    <a:moveTo>
                      <a:pt x="190" y="0"/>
                    </a:moveTo>
                    <a:cubicBezTo>
                      <a:pt x="146" y="0"/>
                      <a:pt x="123" y="25"/>
                      <a:pt x="128" y="34"/>
                    </a:cubicBezTo>
                    <a:cubicBezTo>
                      <a:pt x="135" y="49"/>
                      <a:pt x="173" y="52"/>
                      <a:pt x="206" y="86"/>
                    </a:cubicBezTo>
                    <a:cubicBezTo>
                      <a:pt x="244" y="123"/>
                      <a:pt x="251" y="175"/>
                      <a:pt x="195" y="201"/>
                    </a:cubicBezTo>
                    <a:cubicBezTo>
                      <a:pt x="181" y="209"/>
                      <a:pt x="168" y="212"/>
                      <a:pt x="157" y="212"/>
                    </a:cubicBezTo>
                    <a:cubicBezTo>
                      <a:pt x="122" y="212"/>
                      <a:pt x="100" y="182"/>
                      <a:pt x="94" y="146"/>
                    </a:cubicBezTo>
                    <a:cubicBezTo>
                      <a:pt x="83" y="97"/>
                      <a:pt x="106" y="67"/>
                      <a:pt x="94" y="52"/>
                    </a:cubicBezTo>
                    <a:cubicBezTo>
                      <a:pt x="93" y="49"/>
                      <a:pt x="90" y="47"/>
                      <a:pt x="84" y="47"/>
                    </a:cubicBezTo>
                    <a:cubicBezTo>
                      <a:pt x="65" y="47"/>
                      <a:pt x="23" y="72"/>
                      <a:pt x="9" y="142"/>
                    </a:cubicBezTo>
                    <a:cubicBezTo>
                      <a:pt x="1" y="179"/>
                      <a:pt x="4" y="239"/>
                      <a:pt x="54" y="287"/>
                    </a:cubicBezTo>
                    <a:cubicBezTo>
                      <a:pt x="82" y="316"/>
                      <a:pt x="124" y="331"/>
                      <a:pt x="167" y="331"/>
                    </a:cubicBezTo>
                    <a:cubicBezTo>
                      <a:pt x="196" y="331"/>
                      <a:pt x="225" y="324"/>
                      <a:pt x="251" y="310"/>
                    </a:cubicBezTo>
                    <a:cubicBezTo>
                      <a:pt x="311" y="280"/>
                      <a:pt x="356" y="206"/>
                      <a:pt x="345" y="139"/>
                    </a:cubicBezTo>
                    <a:cubicBezTo>
                      <a:pt x="333" y="71"/>
                      <a:pt x="289" y="34"/>
                      <a:pt x="251" y="15"/>
                    </a:cubicBezTo>
                    <a:cubicBezTo>
                      <a:pt x="228" y="4"/>
                      <a:pt x="207" y="0"/>
                      <a:pt x="19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8" name="Google Shape;2754;p46">
                <a:extLst>
                  <a:ext uri="{FF2B5EF4-FFF2-40B4-BE49-F238E27FC236}">
                    <a16:creationId xmlns:a16="http://schemas.microsoft.com/office/drawing/2014/main" id="{854DA469-1FD7-C9CD-56FF-EC09B0C863E3}"/>
                  </a:ext>
                </a:extLst>
              </p:cNvPr>
              <p:cNvSpPr/>
              <p:nvPr/>
            </p:nvSpPr>
            <p:spPr>
              <a:xfrm>
                <a:off x="7498134" y="2571023"/>
                <a:ext cx="12132" cy="6517"/>
              </a:xfrm>
              <a:custGeom>
                <a:avLst/>
                <a:gdLst/>
                <a:ahLst/>
                <a:cxnLst/>
                <a:rect l="l" t="t" r="r" b="b"/>
                <a:pathLst>
                  <a:path w="296" h="159" extrusionOk="0">
                    <a:moveTo>
                      <a:pt x="68" y="1"/>
                    </a:moveTo>
                    <a:cubicBezTo>
                      <a:pt x="38" y="1"/>
                      <a:pt x="17" y="8"/>
                      <a:pt x="11" y="23"/>
                    </a:cubicBezTo>
                    <a:cubicBezTo>
                      <a:pt x="0" y="53"/>
                      <a:pt x="49" y="105"/>
                      <a:pt x="123" y="135"/>
                    </a:cubicBezTo>
                    <a:cubicBezTo>
                      <a:pt x="161" y="151"/>
                      <a:pt x="200" y="159"/>
                      <a:pt x="230" y="159"/>
                    </a:cubicBezTo>
                    <a:cubicBezTo>
                      <a:pt x="258" y="159"/>
                      <a:pt x="278" y="152"/>
                      <a:pt x="284" y="135"/>
                    </a:cubicBezTo>
                    <a:cubicBezTo>
                      <a:pt x="295" y="105"/>
                      <a:pt x="247" y="57"/>
                      <a:pt x="171" y="23"/>
                    </a:cubicBezTo>
                    <a:cubicBezTo>
                      <a:pt x="134" y="8"/>
                      <a:pt x="97" y="1"/>
                      <a:pt x="68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9" name="Google Shape;2755;p46">
                <a:extLst>
                  <a:ext uri="{FF2B5EF4-FFF2-40B4-BE49-F238E27FC236}">
                    <a16:creationId xmlns:a16="http://schemas.microsoft.com/office/drawing/2014/main" id="{669F13E9-870F-577D-F12B-1415D27B948D}"/>
                  </a:ext>
                </a:extLst>
              </p:cNvPr>
              <p:cNvSpPr/>
              <p:nvPr/>
            </p:nvSpPr>
            <p:spPr>
              <a:xfrm>
                <a:off x="7503913" y="2591311"/>
                <a:ext cx="9878" cy="5574"/>
              </a:xfrm>
              <a:custGeom>
                <a:avLst/>
                <a:gdLst/>
                <a:ahLst/>
                <a:cxnLst/>
                <a:rect l="l" t="t" r="r" b="b"/>
                <a:pathLst>
                  <a:path w="241" h="136" extrusionOk="0">
                    <a:moveTo>
                      <a:pt x="82" y="1"/>
                    </a:moveTo>
                    <a:cubicBezTo>
                      <a:pt x="47" y="1"/>
                      <a:pt x="19" y="12"/>
                      <a:pt x="12" y="32"/>
                    </a:cubicBezTo>
                    <a:cubicBezTo>
                      <a:pt x="1" y="66"/>
                      <a:pt x="42" y="107"/>
                      <a:pt x="101" y="125"/>
                    </a:cubicBezTo>
                    <a:cubicBezTo>
                      <a:pt x="123" y="132"/>
                      <a:pt x="144" y="136"/>
                      <a:pt x="163" y="136"/>
                    </a:cubicBezTo>
                    <a:cubicBezTo>
                      <a:pt x="196" y="136"/>
                      <a:pt x="222" y="125"/>
                      <a:pt x="229" y="103"/>
                    </a:cubicBezTo>
                    <a:cubicBezTo>
                      <a:pt x="240" y="73"/>
                      <a:pt x="199" y="32"/>
                      <a:pt x="139" y="10"/>
                    </a:cubicBezTo>
                    <a:cubicBezTo>
                      <a:pt x="119" y="4"/>
                      <a:pt x="100" y="1"/>
                      <a:pt x="82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0" name="Google Shape;2756;p46">
                <a:extLst>
                  <a:ext uri="{FF2B5EF4-FFF2-40B4-BE49-F238E27FC236}">
                    <a16:creationId xmlns:a16="http://schemas.microsoft.com/office/drawing/2014/main" id="{43200D29-B422-CD35-55A6-03E92E137B58}"/>
                  </a:ext>
                </a:extLst>
              </p:cNvPr>
              <p:cNvSpPr/>
              <p:nvPr/>
            </p:nvSpPr>
            <p:spPr>
              <a:xfrm>
                <a:off x="7512192" y="2608361"/>
                <a:ext cx="8034" cy="10042"/>
              </a:xfrm>
              <a:custGeom>
                <a:avLst/>
                <a:gdLst/>
                <a:ahLst/>
                <a:cxnLst/>
                <a:rect l="l" t="t" r="r" b="b"/>
                <a:pathLst>
                  <a:path w="196" h="245" extrusionOk="0">
                    <a:moveTo>
                      <a:pt x="152" y="0"/>
                    </a:moveTo>
                    <a:cubicBezTo>
                      <a:pt x="121" y="0"/>
                      <a:pt x="77" y="37"/>
                      <a:pt x="45" y="90"/>
                    </a:cubicBezTo>
                    <a:cubicBezTo>
                      <a:pt x="8" y="158"/>
                      <a:pt x="1" y="225"/>
                      <a:pt x="30" y="240"/>
                    </a:cubicBezTo>
                    <a:cubicBezTo>
                      <a:pt x="34" y="243"/>
                      <a:pt x="40" y="245"/>
                      <a:pt x="45" y="245"/>
                    </a:cubicBezTo>
                    <a:cubicBezTo>
                      <a:pt x="74" y="245"/>
                      <a:pt x="119" y="207"/>
                      <a:pt x="150" y="154"/>
                    </a:cubicBezTo>
                    <a:cubicBezTo>
                      <a:pt x="187" y="87"/>
                      <a:pt x="195" y="20"/>
                      <a:pt x="168" y="4"/>
                    </a:cubicBezTo>
                    <a:cubicBezTo>
                      <a:pt x="163" y="1"/>
                      <a:pt x="158" y="0"/>
                      <a:pt x="15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1" name="Google Shape;2757;p46">
                <a:extLst>
                  <a:ext uri="{FF2B5EF4-FFF2-40B4-BE49-F238E27FC236}">
                    <a16:creationId xmlns:a16="http://schemas.microsoft.com/office/drawing/2014/main" id="{793100BF-7C16-49DE-AD90-DD4464CAAB4E}"/>
                  </a:ext>
                </a:extLst>
              </p:cNvPr>
              <p:cNvSpPr/>
              <p:nvPr/>
            </p:nvSpPr>
            <p:spPr>
              <a:xfrm>
                <a:off x="7517398" y="2618977"/>
                <a:ext cx="18731" cy="16026"/>
              </a:xfrm>
              <a:custGeom>
                <a:avLst/>
                <a:gdLst/>
                <a:ahLst/>
                <a:cxnLst/>
                <a:rect l="l" t="t" r="r" b="b"/>
                <a:pathLst>
                  <a:path w="457" h="391" extrusionOk="0">
                    <a:moveTo>
                      <a:pt x="229" y="0"/>
                    </a:moveTo>
                    <a:cubicBezTo>
                      <a:pt x="146" y="0"/>
                      <a:pt x="111" y="57"/>
                      <a:pt x="124" y="64"/>
                    </a:cubicBezTo>
                    <a:cubicBezTo>
                      <a:pt x="126" y="66"/>
                      <a:pt x="130" y="66"/>
                      <a:pt x="135" y="66"/>
                    </a:cubicBezTo>
                    <a:cubicBezTo>
                      <a:pt x="143" y="66"/>
                      <a:pt x="153" y="65"/>
                      <a:pt x="166" y="65"/>
                    </a:cubicBezTo>
                    <a:cubicBezTo>
                      <a:pt x="188" y="65"/>
                      <a:pt x="216" y="69"/>
                      <a:pt x="247" y="90"/>
                    </a:cubicBezTo>
                    <a:cubicBezTo>
                      <a:pt x="318" y="123"/>
                      <a:pt x="355" y="228"/>
                      <a:pt x="262" y="261"/>
                    </a:cubicBezTo>
                    <a:cubicBezTo>
                      <a:pt x="244" y="268"/>
                      <a:pt x="225" y="272"/>
                      <a:pt x="207" y="272"/>
                    </a:cubicBezTo>
                    <a:cubicBezTo>
                      <a:pt x="180" y="272"/>
                      <a:pt x="155" y="264"/>
                      <a:pt x="139" y="250"/>
                    </a:cubicBezTo>
                    <a:cubicBezTo>
                      <a:pt x="113" y="228"/>
                      <a:pt x="108" y="183"/>
                      <a:pt x="120" y="164"/>
                    </a:cubicBezTo>
                    <a:cubicBezTo>
                      <a:pt x="123" y="149"/>
                      <a:pt x="141" y="144"/>
                      <a:pt x="157" y="144"/>
                    </a:cubicBezTo>
                    <a:cubicBezTo>
                      <a:pt x="161" y="144"/>
                      <a:pt x="165" y="144"/>
                      <a:pt x="169" y="145"/>
                    </a:cubicBezTo>
                    <a:cubicBezTo>
                      <a:pt x="187" y="149"/>
                      <a:pt x="195" y="160"/>
                      <a:pt x="203" y="160"/>
                    </a:cubicBezTo>
                    <a:cubicBezTo>
                      <a:pt x="210" y="160"/>
                      <a:pt x="220" y="138"/>
                      <a:pt x="198" y="108"/>
                    </a:cubicBezTo>
                    <a:cubicBezTo>
                      <a:pt x="185" y="95"/>
                      <a:pt x="159" y="80"/>
                      <a:pt x="127" y="80"/>
                    </a:cubicBezTo>
                    <a:cubicBezTo>
                      <a:pt x="104" y="80"/>
                      <a:pt x="78" y="88"/>
                      <a:pt x="53" y="112"/>
                    </a:cubicBezTo>
                    <a:cubicBezTo>
                      <a:pt x="4" y="164"/>
                      <a:pt x="1" y="257"/>
                      <a:pt x="60" y="324"/>
                    </a:cubicBezTo>
                    <a:cubicBezTo>
                      <a:pt x="100" y="369"/>
                      <a:pt x="156" y="390"/>
                      <a:pt x="215" y="390"/>
                    </a:cubicBezTo>
                    <a:cubicBezTo>
                      <a:pt x="246" y="390"/>
                      <a:pt x="277" y="384"/>
                      <a:pt x="307" y="373"/>
                    </a:cubicBezTo>
                    <a:cubicBezTo>
                      <a:pt x="396" y="347"/>
                      <a:pt x="456" y="231"/>
                      <a:pt x="427" y="149"/>
                    </a:cubicBezTo>
                    <a:cubicBezTo>
                      <a:pt x="396" y="64"/>
                      <a:pt x="333" y="26"/>
                      <a:pt x="281" y="7"/>
                    </a:cubicBezTo>
                    <a:cubicBezTo>
                      <a:pt x="262" y="2"/>
                      <a:pt x="245" y="0"/>
                      <a:pt x="22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2" name="Google Shape;2758;p46">
                <a:extLst>
                  <a:ext uri="{FF2B5EF4-FFF2-40B4-BE49-F238E27FC236}">
                    <a16:creationId xmlns:a16="http://schemas.microsoft.com/office/drawing/2014/main" id="{B62BEC77-9796-E335-B352-A44E92ADC03A}"/>
                  </a:ext>
                </a:extLst>
              </p:cNvPr>
              <p:cNvSpPr/>
              <p:nvPr/>
            </p:nvSpPr>
            <p:spPr>
              <a:xfrm>
                <a:off x="7528423" y="2645413"/>
                <a:ext cx="8607" cy="7050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72" extrusionOk="0">
                    <a:moveTo>
                      <a:pt x="156" y="1"/>
                    </a:moveTo>
                    <a:cubicBezTo>
                      <a:pt x="130" y="1"/>
                      <a:pt x="96" y="15"/>
                      <a:pt x="64" y="42"/>
                    </a:cubicBezTo>
                    <a:cubicBezTo>
                      <a:pt x="19" y="83"/>
                      <a:pt x="1" y="136"/>
                      <a:pt x="23" y="158"/>
                    </a:cubicBezTo>
                    <a:cubicBezTo>
                      <a:pt x="31" y="167"/>
                      <a:pt x="44" y="172"/>
                      <a:pt x="58" y="172"/>
                    </a:cubicBezTo>
                    <a:cubicBezTo>
                      <a:pt x="84" y="172"/>
                      <a:pt x="117" y="158"/>
                      <a:pt x="146" y="131"/>
                    </a:cubicBezTo>
                    <a:cubicBezTo>
                      <a:pt x="191" y="91"/>
                      <a:pt x="210" y="38"/>
                      <a:pt x="187" y="12"/>
                    </a:cubicBezTo>
                    <a:cubicBezTo>
                      <a:pt x="180" y="4"/>
                      <a:pt x="169" y="1"/>
                      <a:pt x="156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3" name="Google Shape;2759;p46">
                <a:extLst>
                  <a:ext uri="{FF2B5EF4-FFF2-40B4-BE49-F238E27FC236}">
                    <a16:creationId xmlns:a16="http://schemas.microsoft.com/office/drawing/2014/main" id="{342420B9-30AF-D023-C65F-B4FEF69581C9}"/>
                  </a:ext>
                </a:extLst>
              </p:cNvPr>
              <p:cNvSpPr/>
              <p:nvPr/>
            </p:nvSpPr>
            <p:spPr>
              <a:xfrm>
                <a:off x="7533628" y="2662053"/>
                <a:ext cx="8935" cy="8116"/>
              </a:xfrm>
              <a:custGeom>
                <a:avLst/>
                <a:gdLst/>
                <a:ahLst/>
                <a:cxnLst/>
                <a:rect l="l" t="t" r="r" b="b"/>
                <a:pathLst>
                  <a:path w="218" h="198" extrusionOk="0">
                    <a:moveTo>
                      <a:pt x="170" y="1"/>
                    </a:moveTo>
                    <a:cubicBezTo>
                      <a:pt x="142" y="1"/>
                      <a:pt x="100" y="22"/>
                      <a:pt x="67" y="58"/>
                    </a:cubicBezTo>
                    <a:cubicBezTo>
                      <a:pt x="19" y="106"/>
                      <a:pt x="0" y="166"/>
                      <a:pt x="26" y="189"/>
                    </a:cubicBezTo>
                    <a:cubicBezTo>
                      <a:pt x="32" y="195"/>
                      <a:pt x="41" y="197"/>
                      <a:pt x="51" y="197"/>
                    </a:cubicBezTo>
                    <a:cubicBezTo>
                      <a:pt x="79" y="197"/>
                      <a:pt x="121" y="176"/>
                      <a:pt x="153" y="140"/>
                    </a:cubicBezTo>
                    <a:cubicBezTo>
                      <a:pt x="202" y="92"/>
                      <a:pt x="217" y="32"/>
                      <a:pt x="195" y="9"/>
                    </a:cubicBezTo>
                    <a:cubicBezTo>
                      <a:pt x="189" y="3"/>
                      <a:pt x="180" y="1"/>
                      <a:pt x="17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4" name="Google Shape;2760;p46">
                <a:extLst>
                  <a:ext uri="{FF2B5EF4-FFF2-40B4-BE49-F238E27FC236}">
                    <a16:creationId xmlns:a16="http://schemas.microsoft.com/office/drawing/2014/main" id="{A419CACD-397C-A425-AB36-07532B081335}"/>
                  </a:ext>
                </a:extLst>
              </p:cNvPr>
              <p:cNvSpPr/>
              <p:nvPr/>
            </p:nvSpPr>
            <p:spPr>
              <a:xfrm>
                <a:off x="7630070" y="3071054"/>
                <a:ext cx="9222" cy="12501"/>
              </a:xfrm>
              <a:custGeom>
                <a:avLst/>
                <a:gdLst/>
                <a:ahLst/>
                <a:cxnLst/>
                <a:rect l="l" t="t" r="r" b="b"/>
                <a:pathLst>
                  <a:path w="225" h="305" extrusionOk="0">
                    <a:moveTo>
                      <a:pt x="42" y="1"/>
                    </a:moveTo>
                    <a:cubicBezTo>
                      <a:pt x="38" y="1"/>
                      <a:pt x="34" y="1"/>
                      <a:pt x="31" y="3"/>
                    </a:cubicBezTo>
                    <a:cubicBezTo>
                      <a:pt x="0" y="18"/>
                      <a:pt x="16" y="100"/>
                      <a:pt x="60" y="182"/>
                    </a:cubicBezTo>
                    <a:cubicBezTo>
                      <a:pt x="100" y="255"/>
                      <a:pt x="154" y="304"/>
                      <a:pt x="184" y="304"/>
                    </a:cubicBezTo>
                    <a:cubicBezTo>
                      <a:pt x="188" y="304"/>
                      <a:pt x="192" y="303"/>
                      <a:pt x="195" y="302"/>
                    </a:cubicBezTo>
                    <a:cubicBezTo>
                      <a:pt x="224" y="287"/>
                      <a:pt x="214" y="205"/>
                      <a:pt x="165" y="122"/>
                    </a:cubicBezTo>
                    <a:cubicBezTo>
                      <a:pt x="126" y="50"/>
                      <a:pt x="74" y="1"/>
                      <a:pt x="42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5" name="Google Shape;2761;p46">
                <a:extLst>
                  <a:ext uri="{FF2B5EF4-FFF2-40B4-BE49-F238E27FC236}">
                    <a16:creationId xmlns:a16="http://schemas.microsoft.com/office/drawing/2014/main" id="{AB0D3959-2164-1BDD-1CC2-EE0150D1E2C1}"/>
                  </a:ext>
                </a:extLst>
              </p:cNvPr>
              <p:cNvSpPr/>
              <p:nvPr/>
            </p:nvSpPr>
            <p:spPr>
              <a:xfrm>
                <a:off x="7639579" y="3071054"/>
                <a:ext cx="7993" cy="12501"/>
              </a:xfrm>
              <a:custGeom>
                <a:avLst/>
                <a:gdLst/>
                <a:ahLst/>
                <a:cxnLst/>
                <a:rect l="l" t="t" r="r" b="b"/>
                <a:pathLst>
                  <a:path w="195" h="305" extrusionOk="0">
                    <a:moveTo>
                      <a:pt x="41" y="1"/>
                    </a:moveTo>
                    <a:cubicBezTo>
                      <a:pt x="37" y="1"/>
                      <a:pt x="33" y="1"/>
                      <a:pt x="30" y="3"/>
                    </a:cubicBezTo>
                    <a:cubicBezTo>
                      <a:pt x="0" y="18"/>
                      <a:pt x="4" y="93"/>
                      <a:pt x="41" y="179"/>
                    </a:cubicBezTo>
                    <a:cubicBezTo>
                      <a:pt x="74" y="252"/>
                      <a:pt x="123" y="304"/>
                      <a:pt x="154" y="304"/>
                    </a:cubicBezTo>
                    <a:cubicBezTo>
                      <a:pt x="158" y="304"/>
                      <a:pt x="161" y="303"/>
                      <a:pt x="165" y="302"/>
                    </a:cubicBezTo>
                    <a:cubicBezTo>
                      <a:pt x="194" y="287"/>
                      <a:pt x="187" y="212"/>
                      <a:pt x="153" y="127"/>
                    </a:cubicBezTo>
                    <a:cubicBezTo>
                      <a:pt x="120" y="53"/>
                      <a:pt x="72" y="1"/>
                      <a:pt x="4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6" name="Google Shape;2762;p46">
                <a:extLst>
                  <a:ext uri="{FF2B5EF4-FFF2-40B4-BE49-F238E27FC236}">
                    <a16:creationId xmlns:a16="http://schemas.microsoft.com/office/drawing/2014/main" id="{E3B2058E-C7C7-01A7-0CD5-3C06EE704707}"/>
                  </a:ext>
                </a:extLst>
              </p:cNvPr>
              <p:cNvSpPr/>
              <p:nvPr/>
            </p:nvSpPr>
            <p:spPr>
              <a:xfrm>
                <a:off x="7654580" y="3087449"/>
                <a:ext cx="12583" cy="11558"/>
              </a:xfrm>
              <a:custGeom>
                <a:avLst/>
                <a:gdLst/>
                <a:ahLst/>
                <a:cxnLst/>
                <a:rect l="l" t="t" r="r" b="b"/>
                <a:pathLst>
                  <a:path w="307" h="282" extrusionOk="0">
                    <a:moveTo>
                      <a:pt x="159" y="0"/>
                    </a:moveTo>
                    <a:cubicBezTo>
                      <a:pt x="111" y="0"/>
                      <a:pt x="88" y="31"/>
                      <a:pt x="97" y="41"/>
                    </a:cubicBezTo>
                    <a:cubicBezTo>
                      <a:pt x="109" y="55"/>
                      <a:pt x="138" y="55"/>
                      <a:pt x="161" y="81"/>
                    </a:cubicBezTo>
                    <a:cubicBezTo>
                      <a:pt x="187" y="111"/>
                      <a:pt x="190" y="134"/>
                      <a:pt x="157" y="156"/>
                    </a:cubicBezTo>
                    <a:cubicBezTo>
                      <a:pt x="146" y="162"/>
                      <a:pt x="137" y="165"/>
                      <a:pt x="129" y="165"/>
                    </a:cubicBezTo>
                    <a:cubicBezTo>
                      <a:pt x="112" y="165"/>
                      <a:pt x="100" y="152"/>
                      <a:pt x="90" y="126"/>
                    </a:cubicBezTo>
                    <a:cubicBezTo>
                      <a:pt x="78" y="93"/>
                      <a:pt x="93" y="63"/>
                      <a:pt x="83" y="51"/>
                    </a:cubicBezTo>
                    <a:cubicBezTo>
                      <a:pt x="82" y="48"/>
                      <a:pt x="77" y="46"/>
                      <a:pt x="71" y="46"/>
                    </a:cubicBezTo>
                    <a:cubicBezTo>
                      <a:pt x="52" y="46"/>
                      <a:pt x="16" y="66"/>
                      <a:pt x="7" y="122"/>
                    </a:cubicBezTo>
                    <a:cubicBezTo>
                      <a:pt x="0" y="160"/>
                      <a:pt x="7" y="208"/>
                      <a:pt x="49" y="249"/>
                    </a:cubicBezTo>
                    <a:cubicBezTo>
                      <a:pt x="72" y="271"/>
                      <a:pt x="105" y="281"/>
                      <a:pt x="138" y="281"/>
                    </a:cubicBezTo>
                    <a:cubicBezTo>
                      <a:pt x="168" y="281"/>
                      <a:pt x="198" y="273"/>
                      <a:pt x="221" y="257"/>
                    </a:cubicBezTo>
                    <a:cubicBezTo>
                      <a:pt x="273" y="227"/>
                      <a:pt x="307" y="160"/>
                      <a:pt x="292" y="100"/>
                    </a:cubicBezTo>
                    <a:cubicBezTo>
                      <a:pt x="273" y="44"/>
                      <a:pt x="232" y="18"/>
                      <a:pt x="198" y="7"/>
                    </a:cubicBezTo>
                    <a:cubicBezTo>
                      <a:pt x="184" y="2"/>
                      <a:pt x="170" y="0"/>
                      <a:pt x="15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7" name="Google Shape;2763;p46">
                <a:extLst>
                  <a:ext uri="{FF2B5EF4-FFF2-40B4-BE49-F238E27FC236}">
                    <a16:creationId xmlns:a16="http://schemas.microsoft.com/office/drawing/2014/main" id="{C20F5DB4-B323-CCE8-DA3D-213FE6C3E5F8}"/>
                  </a:ext>
                </a:extLst>
              </p:cNvPr>
              <p:cNvSpPr/>
              <p:nvPr/>
            </p:nvSpPr>
            <p:spPr>
              <a:xfrm>
                <a:off x="7675401" y="3095236"/>
                <a:ext cx="12583" cy="9017"/>
              </a:xfrm>
              <a:custGeom>
                <a:avLst/>
                <a:gdLst/>
                <a:ahLst/>
                <a:cxnLst/>
                <a:rect l="l" t="t" r="r" b="b"/>
                <a:pathLst>
                  <a:path w="307" h="220" extrusionOk="0">
                    <a:moveTo>
                      <a:pt x="256" y="0"/>
                    </a:moveTo>
                    <a:cubicBezTo>
                      <a:pt x="223" y="0"/>
                      <a:pt x="170" y="23"/>
                      <a:pt x="116" y="63"/>
                    </a:cubicBezTo>
                    <a:cubicBezTo>
                      <a:pt x="41" y="115"/>
                      <a:pt x="1" y="182"/>
                      <a:pt x="18" y="209"/>
                    </a:cubicBezTo>
                    <a:cubicBezTo>
                      <a:pt x="25" y="216"/>
                      <a:pt x="35" y="220"/>
                      <a:pt x="48" y="220"/>
                    </a:cubicBezTo>
                    <a:cubicBezTo>
                      <a:pt x="83" y="220"/>
                      <a:pt x="136" y="197"/>
                      <a:pt x="187" y="156"/>
                    </a:cubicBezTo>
                    <a:cubicBezTo>
                      <a:pt x="261" y="104"/>
                      <a:pt x="306" y="37"/>
                      <a:pt x="284" y="11"/>
                    </a:cubicBezTo>
                    <a:cubicBezTo>
                      <a:pt x="278" y="4"/>
                      <a:pt x="269" y="0"/>
                      <a:pt x="25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8" name="Google Shape;2764;p46">
                <a:extLst>
                  <a:ext uri="{FF2B5EF4-FFF2-40B4-BE49-F238E27FC236}">
                    <a16:creationId xmlns:a16="http://schemas.microsoft.com/office/drawing/2014/main" id="{88CCD2A0-3BAD-CCBD-CBA7-398926DC3E49}"/>
                  </a:ext>
                </a:extLst>
              </p:cNvPr>
              <p:cNvSpPr/>
              <p:nvPr/>
            </p:nvSpPr>
            <p:spPr>
              <a:xfrm>
                <a:off x="7687779" y="3104212"/>
                <a:ext cx="9386" cy="6066"/>
              </a:xfrm>
              <a:custGeom>
                <a:avLst/>
                <a:gdLst/>
                <a:ahLst/>
                <a:cxnLst/>
                <a:rect l="l" t="t" r="r" b="b"/>
                <a:pathLst>
                  <a:path w="229" h="148" extrusionOk="0">
                    <a:moveTo>
                      <a:pt x="164" y="1"/>
                    </a:moveTo>
                    <a:cubicBezTo>
                      <a:pt x="142" y="1"/>
                      <a:pt x="115" y="7"/>
                      <a:pt x="90" y="20"/>
                    </a:cubicBezTo>
                    <a:cubicBezTo>
                      <a:pt x="35" y="46"/>
                      <a:pt x="1" y="94"/>
                      <a:pt x="16" y="125"/>
                    </a:cubicBezTo>
                    <a:cubicBezTo>
                      <a:pt x="23" y="140"/>
                      <a:pt x="42" y="147"/>
                      <a:pt x="66" y="147"/>
                    </a:cubicBezTo>
                    <a:cubicBezTo>
                      <a:pt x="88" y="147"/>
                      <a:pt x="115" y="141"/>
                      <a:pt x="142" y="128"/>
                    </a:cubicBezTo>
                    <a:cubicBezTo>
                      <a:pt x="199" y="98"/>
                      <a:pt x="228" y="53"/>
                      <a:pt x="214" y="23"/>
                    </a:cubicBezTo>
                    <a:cubicBezTo>
                      <a:pt x="206" y="8"/>
                      <a:pt x="187" y="1"/>
                      <a:pt x="16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9" name="Google Shape;2765;p46">
                <a:extLst>
                  <a:ext uri="{FF2B5EF4-FFF2-40B4-BE49-F238E27FC236}">
                    <a16:creationId xmlns:a16="http://schemas.microsoft.com/office/drawing/2014/main" id="{20A10183-B57B-3209-1607-13411C188534}"/>
                  </a:ext>
                </a:extLst>
              </p:cNvPr>
              <p:cNvSpPr/>
              <p:nvPr/>
            </p:nvSpPr>
            <p:spPr>
              <a:xfrm>
                <a:off x="7706428" y="3110647"/>
                <a:ext cx="5738" cy="9550"/>
              </a:xfrm>
              <a:custGeom>
                <a:avLst/>
                <a:gdLst/>
                <a:ahLst/>
                <a:cxnLst/>
                <a:rect l="l" t="t" r="r" b="b"/>
                <a:pathLst>
                  <a:path w="140" h="233" extrusionOk="0">
                    <a:moveTo>
                      <a:pt x="57" y="1"/>
                    </a:moveTo>
                    <a:cubicBezTo>
                      <a:pt x="56" y="1"/>
                      <a:pt x="55" y="1"/>
                      <a:pt x="54" y="1"/>
                    </a:cubicBezTo>
                    <a:cubicBezTo>
                      <a:pt x="20" y="4"/>
                      <a:pt x="1" y="61"/>
                      <a:pt x="9" y="125"/>
                    </a:cubicBezTo>
                    <a:cubicBezTo>
                      <a:pt x="19" y="185"/>
                      <a:pt x="51" y="232"/>
                      <a:pt x="83" y="232"/>
                    </a:cubicBezTo>
                    <a:cubicBezTo>
                      <a:pt x="84" y="232"/>
                      <a:pt x="86" y="232"/>
                      <a:pt x="87" y="232"/>
                    </a:cubicBezTo>
                    <a:cubicBezTo>
                      <a:pt x="121" y="229"/>
                      <a:pt x="140" y="173"/>
                      <a:pt x="128" y="109"/>
                    </a:cubicBezTo>
                    <a:cubicBezTo>
                      <a:pt x="121" y="48"/>
                      <a:pt x="89" y="1"/>
                      <a:pt x="57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0" name="Google Shape;2766;p46">
                <a:extLst>
                  <a:ext uri="{FF2B5EF4-FFF2-40B4-BE49-F238E27FC236}">
                    <a16:creationId xmlns:a16="http://schemas.microsoft.com/office/drawing/2014/main" id="{5FB5B6EC-E124-1E49-F738-8F4D9877B8E9}"/>
                  </a:ext>
                </a:extLst>
              </p:cNvPr>
              <p:cNvSpPr/>
              <p:nvPr/>
            </p:nvSpPr>
            <p:spPr>
              <a:xfrm>
                <a:off x="7727741" y="3117779"/>
                <a:ext cx="14264" cy="13157"/>
              </a:xfrm>
              <a:custGeom>
                <a:avLst/>
                <a:gdLst/>
                <a:ahLst/>
                <a:cxnLst/>
                <a:rect l="l" t="t" r="r" b="b"/>
                <a:pathLst>
                  <a:path w="348" h="321" extrusionOk="0">
                    <a:moveTo>
                      <a:pt x="177" y="1"/>
                    </a:moveTo>
                    <a:cubicBezTo>
                      <a:pt x="115" y="1"/>
                      <a:pt x="89" y="41"/>
                      <a:pt x="101" y="47"/>
                    </a:cubicBezTo>
                    <a:cubicBezTo>
                      <a:pt x="108" y="63"/>
                      <a:pt x="146" y="55"/>
                      <a:pt x="184" y="85"/>
                    </a:cubicBezTo>
                    <a:cubicBezTo>
                      <a:pt x="221" y="115"/>
                      <a:pt x="236" y="159"/>
                      <a:pt x="187" y="189"/>
                    </a:cubicBezTo>
                    <a:cubicBezTo>
                      <a:pt x="173" y="197"/>
                      <a:pt x="160" y="201"/>
                      <a:pt x="148" y="201"/>
                    </a:cubicBezTo>
                    <a:cubicBezTo>
                      <a:pt x="118" y="201"/>
                      <a:pt x="98" y="176"/>
                      <a:pt x="91" y="141"/>
                    </a:cubicBezTo>
                    <a:cubicBezTo>
                      <a:pt x="82" y="96"/>
                      <a:pt x="105" y="66"/>
                      <a:pt x="94" y="51"/>
                    </a:cubicBezTo>
                    <a:cubicBezTo>
                      <a:pt x="94" y="47"/>
                      <a:pt x="90" y="45"/>
                      <a:pt x="84" y="45"/>
                    </a:cubicBezTo>
                    <a:cubicBezTo>
                      <a:pt x="64" y="45"/>
                      <a:pt x="20" y="68"/>
                      <a:pt x="8" y="137"/>
                    </a:cubicBezTo>
                    <a:cubicBezTo>
                      <a:pt x="1" y="178"/>
                      <a:pt x="5" y="234"/>
                      <a:pt x="53" y="282"/>
                    </a:cubicBezTo>
                    <a:cubicBezTo>
                      <a:pt x="80" y="308"/>
                      <a:pt x="117" y="320"/>
                      <a:pt x="154" y="320"/>
                    </a:cubicBezTo>
                    <a:cubicBezTo>
                      <a:pt x="188" y="320"/>
                      <a:pt x="222" y="310"/>
                      <a:pt x="251" y="290"/>
                    </a:cubicBezTo>
                    <a:cubicBezTo>
                      <a:pt x="307" y="256"/>
                      <a:pt x="348" y="178"/>
                      <a:pt x="325" y="111"/>
                    </a:cubicBezTo>
                    <a:cubicBezTo>
                      <a:pt x="307" y="47"/>
                      <a:pt x="255" y="18"/>
                      <a:pt x="217" y="6"/>
                    </a:cubicBezTo>
                    <a:cubicBezTo>
                      <a:pt x="202" y="2"/>
                      <a:pt x="189" y="1"/>
                      <a:pt x="177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1" name="Google Shape;2767;p46">
                <a:extLst>
                  <a:ext uri="{FF2B5EF4-FFF2-40B4-BE49-F238E27FC236}">
                    <a16:creationId xmlns:a16="http://schemas.microsoft.com/office/drawing/2014/main" id="{6AE9358A-62AD-6094-BFD6-E7B6C186D776}"/>
                  </a:ext>
                </a:extLst>
              </p:cNvPr>
              <p:cNvSpPr/>
              <p:nvPr/>
            </p:nvSpPr>
            <p:spPr>
              <a:xfrm>
                <a:off x="7747045" y="3129378"/>
                <a:ext cx="11354" cy="9099"/>
              </a:xfrm>
              <a:custGeom>
                <a:avLst/>
                <a:gdLst/>
                <a:ahLst/>
                <a:cxnLst/>
                <a:rect l="l" t="t" r="r" b="b"/>
                <a:pathLst>
                  <a:path w="277" h="222" extrusionOk="0">
                    <a:moveTo>
                      <a:pt x="227" y="1"/>
                    </a:moveTo>
                    <a:cubicBezTo>
                      <a:pt x="195" y="1"/>
                      <a:pt x="144" y="26"/>
                      <a:pt x="97" y="66"/>
                    </a:cubicBezTo>
                    <a:cubicBezTo>
                      <a:pt x="34" y="119"/>
                      <a:pt x="1" y="187"/>
                      <a:pt x="23" y="213"/>
                    </a:cubicBezTo>
                    <a:cubicBezTo>
                      <a:pt x="28" y="218"/>
                      <a:pt x="36" y="221"/>
                      <a:pt x="46" y="221"/>
                    </a:cubicBezTo>
                    <a:cubicBezTo>
                      <a:pt x="77" y="221"/>
                      <a:pt x="129" y="198"/>
                      <a:pt x="175" y="156"/>
                    </a:cubicBezTo>
                    <a:cubicBezTo>
                      <a:pt x="239" y="100"/>
                      <a:pt x="277" y="37"/>
                      <a:pt x="254" y="11"/>
                    </a:cubicBezTo>
                    <a:cubicBezTo>
                      <a:pt x="248" y="4"/>
                      <a:pt x="239" y="1"/>
                      <a:pt x="227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2" name="Google Shape;2768;p46">
                <a:extLst>
                  <a:ext uri="{FF2B5EF4-FFF2-40B4-BE49-F238E27FC236}">
                    <a16:creationId xmlns:a16="http://schemas.microsoft.com/office/drawing/2014/main" id="{1D58D8F5-6067-284D-A3F8-E8BF144F6D98}"/>
                  </a:ext>
                </a:extLst>
              </p:cNvPr>
              <p:cNvSpPr/>
              <p:nvPr/>
            </p:nvSpPr>
            <p:spPr>
              <a:xfrm>
                <a:off x="7763399" y="3139419"/>
                <a:ext cx="11968" cy="6886"/>
              </a:xfrm>
              <a:custGeom>
                <a:avLst/>
                <a:gdLst/>
                <a:ahLst/>
                <a:cxnLst/>
                <a:rect l="l" t="t" r="r" b="b"/>
                <a:pathLst>
                  <a:path w="292" h="168" extrusionOk="0">
                    <a:moveTo>
                      <a:pt x="235" y="1"/>
                    </a:moveTo>
                    <a:cubicBezTo>
                      <a:pt x="206" y="1"/>
                      <a:pt x="164" y="17"/>
                      <a:pt x="121" y="35"/>
                    </a:cubicBezTo>
                    <a:cubicBezTo>
                      <a:pt x="53" y="64"/>
                      <a:pt x="0" y="98"/>
                      <a:pt x="0" y="132"/>
                    </a:cubicBezTo>
                    <a:cubicBezTo>
                      <a:pt x="3" y="152"/>
                      <a:pt x="33" y="168"/>
                      <a:pt x="76" y="168"/>
                    </a:cubicBezTo>
                    <a:cubicBezTo>
                      <a:pt x="103" y="168"/>
                      <a:pt x="136" y="161"/>
                      <a:pt x="169" y="147"/>
                    </a:cubicBezTo>
                    <a:cubicBezTo>
                      <a:pt x="255" y="109"/>
                      <a:pt x="292" y="35"/>
                      <a:pt x="266" y="12"/>
                    </a:cubicBezTo>
                    <a:cubicBezTo>
                      <a:pt x="259" y="4"/>
                      <a:pt x="248" y="1"/>
                      <a:pt x="235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3" name="Google Shape;2769;p46">
                <a:extLst>
                  <a:ext uri="{FF2B5EF4-FFF2-40B4-BE49-F238E27FC236}">
                    <a16:creationId xmlns:a16="http://schemas.microsoft.com/office/drawing/2014/main" id="{EC97A616-5559-5A36-61BC-402E0B4A7DA3}"/>
                  </a:ext>
                </a:extLst>
              </p:cNvPr>
              <p:cNvSpPr/>
              <p:nvPr/>
            </p:nvSpPr>
            <p:spPr>
              <a:xfrm>
                <a:off x="7782703" y="3150076"/>
                <a:ext cx="6312" cy="8484"/>
              </a:xfrm>
              <a:custGeom>
                <a:avLst/>
                <a:gdLst/>
                <a:ahLst/>
                <a:cxnLst/>
                <a:rect l="l" t="t" r="r" b="b"/>
                <a:pathLst>
                  <a:path w="154" h="207" extrusionOk="0">
                    <a:moveTo>
                      <a:pt x="54" y="1"/>
                    </a:moveTo>
                    <a:cubicBezTo>
                      <a:pt x="49" y="1"/>
                      <a:pt x="45" y="1"/>
                      <a:pt x="41" y="2"/>
                    </a:cubicBezTo>
                    <a:cubicBezTo>
                      <a:pt x="12" y="14"/>
                      <a:pt x="0" y="66"/>
                      <a:pt x="19" y="122"/>
                    </a:cubicBezTo>
                    <a:cubicBezTo>
                      <a:pt x="35" y="171"/>
                      <a:pt x="69" y="206"/>
                      <a:pt x="97" y="206"/>
                    </a:cubicBezTo>
                    <a:cubicBezTo>
                      <a:pt x="101" y="206"/>
                      <a:pt x="105" y="206"/>
                      <a:pt x="109" y="204"/>
                    </a:cubicBezTo>
                    <a:cubicBezTo>
                      <a:pt x="143" y="193"/>
                      <a:pt x="153" y="141"/>
                      <a:pt x="135" y="85"/>
                    </a:cubicBezTo>
                    <a:cubicBezTo>
                      <a:pt x="119" y="35"/>
                      <a:pt x="85" y="1"/>
                      <a:pt x="5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4" name="Google Shape;2770;p46">
                <a:extLst>
                  <a:ext uri="{FF2B5EF4-FFF2-40B4-BE49-F238E27FC236}">
                    <a16:creationId xmlns:a16="http://schemas.microsoft.com/office/drawing/2014/main" id="{74A24096-7FD7-743E-A18B-F51E086C04F1}"/>
                  </a:ext>
                </a:extLst>
              </p:cNvPr>
              <p:cNvSpPr/>
              <p:nvPr/>
            </p:nvSpPr>
            <p:spPr>
              <a:xfrm>
                <a:off x="7798647" y="3147084"/>
                <a:ext cx="13649" cy="12050"/>
              </a:xfrm>
              <a:custGeom>
                <a:avLst/>
                <a:gdLst/>
                <a:ahLst/>
                <a:cxnLst/>
                <a:rect l="l" t="t" r="r" b="b"/>
                <a:pathLst>
                  <a:path w="333" h="294" extrusionOk="0">
                    <a:moveTo>
                      <a:pt x="128" y="71"/>
                    </a:moveTo>
                    <a:lnTo>
                      <a:pt x="128" y="71"/>
                    </a:lnTo>
                    <a:cubicBezTo>
                      <a:pt x="138" y="73"/>
                      <a:pt x="149" y="76"/>
                      <a:pt x="161" y="83"/>
                    </a:cubicBezTo>
                    <a:cubicBezTo>
                      <a:pt x="202" y="110"/>
                      <a:pt x="216" y="139"/>
                      <a:pt x="171" y="165"/>
                    </a:cubicBezTo>
                    <a:cubicBezTo>
                      <a:pt x="160" y="173"/>
                      <a:pt x="150" y="176"/>
                      <a:pt x="142" y="176"/>
                    </a:cubicBezTo>
                    <a:cubicBezTo>
                      <a:pt x="122" y="176"/>
                      <a:pt x="112" y="155"/>
                      <a:pt x="112" y="120"/>
                    </a:cubicBezTo>
                    <a:cubicBezTo>
                      <a:pt x="112" y="98"/>
                      <a:pt x="121" y="83"/>
                      <a:pt x="128" y="71"/>
                    </a:cubicBezTo>
                    <a:close/>
                    <a:moveTo>
                      <a:pt x="164" y="0"/>
                    </a:moveTo>
                    <a:cubicBezTo>
                      <a:pt x="115" y="0"/>
                      <a:pt x="88" y="23"/>
                      <a:pt x="78" y="42"/>
                    </a:cubicBezTo>
                    <a:lnTo>
                      <a:pt x="78" y="42"/>
                    </a:lnTo>
                    <a:cubicBezTo>
                      <a:pt x="62" y="51"/>
                      <a:pt x="46" y="66"/>
                      <a:pt x="33" y="91"/>
                    </a:cubicBezTo>
                    <a:cubicBezTo>
                      <a:pt x="14" y="127"/>
                      <a:pt x="0" y="188"/>
                      <a:pt x="45" y="244"/>
                    </a:cubicBezTo>
                    <a:cubicBezTo>
                      <a:pt x="70" y="277"/>
                      <a:pt x="111" y="293"/>
                      <a:pt x="151" y="293"/>
                    </a:cubicBezTo>
                    <a:cubicBezTo>
                      <a:pt x="182" y="293"/>
                      <a:pt x="212" y="284"/>
                      <a:pt x="235" y="266"/>
                    </a:cubicBezTo>
                    <a:cubicBezTo>
                      <a:pt x="295" y="236"/>
                      <a:pt x="333" y="150"/>
                      <a:pt x="302" y="87"/>
                    </a:cubicBezTo>
                    <a:cubicBezTo>
                      <a:pt x="273" y="23"/>
                      <a:pt x="216" y="5"/>
                      <a:pt x="179" y="1"/>
                    </a:cubicBezTo>
                    <a:cubicBezTo>
                      <a:pt x="174" y="1"/>
                      <a:pt x="169" y="0"/>
                      <a:pt x="16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5" name="Google Shape;2771;p46">
                <a:extLst>
                  <a:ext uri="{FF2B5EF4-FFF2-40B4-BE49-F238E27FC236}">
                    <a16:creationId xmlns:a16="http://schemas.microsoft.com/office/drawing/2014/main" id="{E04F783D-E001-CD11-5647-AC217C9D520D}"/>
                  </a:ext>
                </a:extLst>
              </p:cNvPr>
              <p:cNvSpPr/>
              <p:nvPr/>
            </p:nvSpPr>
            <p:spPr>
              <a:xfrm>
                <a:off x="7809509" y="3129378"/>
                <a:ext cx="7050" cy="7337"/>
              </a:xfrm>
              <a:custGeom>
                <a:avLst/>
                <a:gdLst/>
                <a:ahLst/>
                <a:cxnLst/>
                <a:rect l="l" t="t" r="r" b="b"/>
                <a:pathLst>
                  <a:path w="172" h="179" extrusionOk="0">
                    <a:moveTo>
                      <a:pt x="50" y="1"/>
                    </a:moveTo>
                    <a:cubicBezTo>
                      <a:pt x="42" y="1"/>
                      <a:pt x="34" y="3"/>
                      <a:pt x="26" y="7"/>
                    </a:cubicBezTo>
                    <a:cubicBezTo>
                      <a:pt x="0" y="26"/>
                      <a:pt x="4" y="78"/>
                      <a:pt x="37" y="123"/>
                    </a:cubicBezTo>
                    <a:cubicBezTo>
                      <a:pt x="63" y="159"/>
                      <a:pt x="94" y="179"/>
                      <a:pt x="120" y="179"/>
                    </a:cubicBezTo>
                    <a:cubicBezTo>
                      <a:pt x="129" y="179"/>
                      <a:pt x="138" y="176"/>
                      <a:pt x="146" y="171"/>
                    </a:cubicBezTo>
                    <a:cubicBezTo>
                      <a:pt x="172" y="152"/>
                      <a:pt x="168" y="100"/>
                      <a:pt x="135" y="56"/>
                    </a:cubicBezTo>
                    <a:cubicBezTo>
                      <a:pt x="109" y="22"/>
                      <a:pt x="77" y="1"/>
                      <a:pt x="5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6" name="Google Shape;2772;p46">
                <a:extLst>
                  <a:ext uri="{FF2B5EF4-FFF2-40B4-BE49-F238E27FC236}">
                    <a16:creationId xmlns:a16="http://schemas.microsoft.com/office/drawing/2014/main" id="{8E0CDEF3-14C3-418F-7BFF-591CA4C51983}"/>
                  </a:ext>
                </a:extLst>
              </p:cNvPr>
              <p:cNvSpPr/>
              <p:nvPr/>
            </p:nvSpPr>
            <p:spPr>
              <a:xfrm>
                <a:off x="7815739" y="3119582"/>
                <a:ext cx="7419" cy="6558"/>
              </a:xfrm>
              <a:custGeom>
                <a:avLst/>
                <a:gdLst/>
                <a:ahLst/>
                <a:cxnLst/>
                <a:rect l="l" t="t" r="r" b="b"/>
                <a:pathLst>
                  <a:path w="181" h="160" extrusionOk="0">
                    <a:moveTo>
                      <a:pt x="57" y="0"/>
                    </a:moveTo>
                    <a:cubicBezTo>
                      <a:pt x="43" y="0"/>
                      <a:pt x="32" y="5"/>
                      <a:pt x="23" y="14"/>
                    </a:cubicBezTo>
                    <a:cubicBezTo>
                      <a:pt x="1" y="37"/>
                      <a:pt x="13" y="86"/>
                      <a:pt x="46" y="123"/>
                    </a:cubicBezTo>
                    <a:cubicBezTo>
                      <a:pt x="69" y="146"/>
                      <a:pt x="97" y="159"/>
                      <a:pt x="121" y="159"/>
                    </a:cubicBezTo>
                    <a:cubicBezTo>
                      <a:pt x="135" y="159"/>
                      <a:pt x="148" y="155"/>
                      <a:pt x="158" y="145"/>
                    </a:cubicBezTo>
                    <a:cubicBezTo>
                      <a:pt x="180" y="123"/>
                      <a:pt x="169" y="74"/>
                      <a:pt x="132" y="37"/>
                    </a:cubicBezTo>
                    <a:cubicBezTo>
                      <a:pt x="109" y="13"/>
                      <a:pt x="80" y="0"/>
                      <a:pt x="5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7" name="Google Shape;2773;p46">
                <a:extLst>
                  <a:ext uri="{FF2B5EF4-FFF2-40B4-BE49-F238E27FC236}">
                    <a16:creationId xmlns:a16="http://schemas.microsoft.com/office/drawing/2014/main" id="{B5C7FDBD-9105-82B2-F467-47F59DD61C92}"/>
                  </a:ext>
                </a:extLst>
              </p:cNvPr>
              <p:cNvSpPr/>
              <p:nvPr/>
            </p:nvSpPr>
            <p:spPr>
              <a:xfrm>
                <a:off x="7825288" y="3102901"/>
                <a:ext cx="11354" cy="9796"/>
              </a:xfrm>
              <a:custGeom>
                <a:avLst/>
                <a:gdLst/>
                <a:ahLst/>
                <a:cxnLst/>
                <a:rect l="l" t="t" r="r" b="b"/>
                <a:pathLst>
                  <a:path w="277" h="239" extrusionOk="0">
                    <a:moveTo>
                      <a:pt x="162" y="0"/>
                    </a:moveTo>
                    <a:cubicBezTo>
                      <a:pt x="116" y="0"/>
                      <a:pt x="96" y="38"/>
                      <a:pt x="109" y="45"/>
                    </a:cubicBezTo>
                    <a:cubicBezTo>
                      <a:pt x="119" y="55"/>
                      <a:pt x="142" y="59"/>
                      <a:pt x="157" y="81"/>
                    </a:cubicBezTo>
                    <a:cubicBezTo>
                      <a:pt x="164" y="93"/>
                      <a:pt x="168" y="107"/>
                      <a:pt x="164" y="107"/>
                    </a:cubicBezTo>
                    <a:cubicBezTo>
                      <a:pt x="161" y="107"/>
                      <a:pt x="157" y="112"/>
                      <a:pt x="142" y="115"/>
                    </a:cubicBezTo>
                    <a:cubicBezTo>
                      <a:pt x="134" y="117"/>
                      <a:pt x="129" y="118"/>
                      <a:pt x="126" y="118"/>
                    </a:cubicBezTo>
                    <a:cubicBezTo>
                      <a:pt x="122" y="118"/>
                      <a:pt x="119" y="117"/>
                      <a:pt x="116" y="115"/>
                    </a:cubicBezTo>
                    <a:cubicBezTo>
                      <a:pt x="109" y="107"/>
                      <a:pt x="104" y="93"/>
                      <a:pt x="100" y="78"/>
                    </a:cubicBezTo>
                    <a:cubicBezTo>
                      <a:pt x="97" y="48"/>
                      <a:pt x="112" y="26"/>
                      <a:pt x="100" y="11"/>
                    </a:cubicBezTo>
                    <a:cubicBezTo>
                      <a:pt x="99" y="5"/>
                      <a:pt x="93" y="2"/>
                      <a:pt x="84" y="2"/>
                    </a:cubicBezTo>
                    <a:cubicBezTo>
                      <a:pt x="67" y="2"/>
                      <a:pt x="39" y="15"/>
                      <a:pt x="19" y="55"/>
                    </a:cubicBezTo>
                    <a:cubicBezTo>
                      <a:pt x="7" y="85"/>
                      <a:pt x="0" y="130"/>
                      <a:pt x="26" y="175"/>
                    </a:cubicBezTo>
                    <a:cubicBezTo>
                      <a:pt x="44" y="214"/>
                      <a:pt x="94" y="239"/>
                      <a:pt x="140" y="239"/>
                    </a:cubicBezTo>
                    <a:cubicBezTo>
                      <a:pt x="151" y="239"/>
                      <a:pt x="161" y="238"/>
                      <a:pt x="171" y="235"/>
                    </a:cubicBezTo>
                    <a:cubicBezTo>
                      <a:pt x="224" y="224"/>
                      <a:pt x="276" y="171"/>
                      <a:pt x="273" y="107"/>
                    </a:cubicBezTo>
                    <a:cubicBezTo>
                      <a:pt x="269" y="48"/>
                      <a:pt x="228" y="18"/>
                      <a:pt x="198" y="7"/>
                    </a:cubicBezTo>
                    <a:cubicBezTo>
                      <a:pt x="185" y="2"/>
                      <a:pt x="173" y="0"/>
                      <a:pt x="16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8" name="Google Shape;2774;p46">
                <a:extLst>
                  <a:ext uri="{FF2B5EF4-FFF2-40B4-BE49-F238E27FC236}">
                    <a16:creationId xmlns:a16="http://schemas.microsoft.com/office/drawing/2014/main" id="{EA38679E-1FA2-6395-B7FE-FB8BD20D8D30}"/>
                  </a:ext>
                </a:extLst>
              </p:cNvPr>
              <p:cNvSpPr/>
              <p:nvPr/>
            </p:nvSpPr>
            <p:spPr>
              <a:xfrm>
                <a:off x="7842585" y="3113967"/>
                <a:ext cx="5533" cy="6271"/>
              </a:xfrm>
              <a:custGeom>
                <a:avLst/>
                <a:gdLst/>
                <a:ahLst/>
                <a:cxnLst/>
                <a:rect l="l" t="t" r="r" b="b"/>
                <a:pathLst>
                  <a:path w="135" h="153" extrusionOk="0">
                    <a:moveTo>
                      <a:pt x="74" y="1"/>
                    </a:moveTo>
                    <a:cubicBezTo>
                      <a:pt x="44" y="1"/>
                      <a:pt x="17" y="26"/>
                      <a:pt x="7" y="61"/>
                    </a:cubicBezTo>
                    <a:cubicBezTo>
                      <a:pt x="0" y="103"/>
                      <a:pt x="18" y="144"/>
                      <a:pt x="52" y="151"/>
                    </a:cubicBezTo>
                    <a:cubicBezTo>
                      <a:pt x="55" y="152"/>
                      <a:pt x="59" y="152"/>
                      <a:pt x="62" y="152"/>
                    </a:cubicBezTo>
                    <a:cubicBezTo>
                      <a:pt x="89" y="152"/>
                      <a:pt x="117" y="124"/>
                      <a:pt x="127" y="88"/>
                    </a:cubicBezTo>
                    <a:cubicBezTo>
                      <a:pt x="135" y="47"/>
                      <a:pt x="116" y="9"/>
                      <a:pt x="85" y="2"/>
                    </a:cubicBezTo>
                    <a:cubicBezTo>
                      <a:pt x="81" y="1"/>
                      <a:pt x="77" y="1"/>
                      <a:pt x="7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9" name="Google Shape;2775;p46">
                <a:extLst>
                  <a:ext uri="{FF2B5EF4-FFF2-40B4-BE49-F238E27FC236}">
                    <a16:creationId xmlns:a16="http://schemas.microsoft.com/office/drawing/2014/main" id="{F85BEACB-B1E0-CD5B-6F2F-55B794441B62}"/>
                  </a:ext>
                </a:extLst>
              </p:cNvPr>
              <p:cNvSpPr/>
              <p:nvPr/>
            </p:nvSpPr>
            <p:spPr>
              <a:xfrm>
                <a:off x="7850208" y="3120730"/>
                <a:ext cx="5533" cy="7788"/>
              </a:xfrm>
              <a:custGeom>
                <a:avLst/>
                <a:gdLst/>
                <a:ahLst/>
                <a:cxnLst/>
                <a:rect l="l" t="t" r="r" b="b"/>
                <a:pathLst>
                  <a:path w="135" h="190" extrusionOk="0">
                    <a:moveTo>
                      <a:pt x="71" y="1"/>
                    </a:moveTo>
                    <a:cubicBezTo>
                      <a:pt x="69" y="1"/>
                      <a:pt x="67" y="1"/>
                      <a:pt x="64" y="1"/>
                    </a:cubicBezTo>
                    <a:cubicBezTo>
                      <a:pt x="34" y="9"/>
                      <a:pt x="11" y="46"/>
                      <a:pt x="4" y="87"/>
                    </a:cubicBezTo>
                    <a:cubicBezTo>
                      <a:pt x="1" y="125"/>
                      <a:pt x="4" y="165"/>
                      <a:pt x="30" y="184"/>
                    </a:cubicBezTo>
                    <a:cubicBezTo>
                      <a:pt x="35" y="188"/>
                      <a:pt x="42" y="190"/>
                      <a:pt x="49" y="190"/>
                    </a:cubicBezTo>
                    <a:cubicBezTo>
                      <a:pt x="77" y="190"/>
                      <a:pt x="115" y="160"/>
                      <a:pt x="124" y="106"/>
                    </a:cubicBezTo>
                    <a:cubicBezTo>
                      <a:pt x="134" y="47"/>
                      <a:pt x="102" y="1"/>
                      <a:pt x="7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0" name="Google Shape;2776;p46">
                <a:extLst>
                  <a:ext uri="{FF2B5EF4-FFF2-40B4-BE49-F238E27FC236}">
                    <a16:creationId xmlns:a16="http://schemas.microsoft.com/office/drawing/2014/main" id="{5280B66A-338D-D4EE-F0D2-878B49B59170}"/>
                  </a:ext>
                </a:extLst>
              </p:cNvPr>
              <p:cNvSpPr/>
              <p:nvPr/>
            </p:nvSpPr>
            <p:spPr>
              <a:xfrm>
                <a:off x="7853323" y="3135362"/>
                <a:ext cx="8402" cy="5164"/>
              </a:xfrm>
              <a:custGeom>
                <a:avLst/>
                <a:gdLst/>
                <a:ahLst/>
                <a:cxnLst/>
                <a:rect l="l" t="t" r="r" b="b"/>
                <a:pathLst>
                  <a:path w="205" h="126" extrusionOk="0">
                    <a:moveTo>
                      <a:pt x="89" y="1"/>
                    </a:moveTo>
                    <a:cubicBezTo>
                      <a:pt x="37" y="1"/>
                      <a:pt x="0" y="33"/>
                      <a:pt x="7" y="63"/>
                    </a:cubicBezTo>
                    <a:cubicBezTo>
                      <a:pt x="11" y="93"/>
                      <a:pt x="48" y="115"/>
                      <a:pt x="89" y="122"/>
                    </a:cubicBezTo>
                    <a:cubicBezTo>
                      <a:pt x="99" y="124"/>
                      <a:pt x="109" y="125"/>
                      <a:pt x="119" y="125"/>
                    </a:cubicBezTo>
                    <a:cubicBezTo>
                      <a:pt x="149" y="125"/>
                      <a:pt x="176" y="116"/>
                      <a:pt x="190" y="96"/>
                    </a:cubicBezTo>
                    <a:cubicBezTo>
                      <a:pt x="204" y="67"/>
                      <a:pt x="175" y="15"/>
                      <a:pt x="111" y="3"/>
                    </a:cubicBezTo>
                    <a:cubicBezTo>
                      <a:pt x="103" y="2"/>
                      <a:pt x="96" y="1"/>
                      <a:pt x="89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1" name="Google Shape;2777;p46">
                <a:extLst>
                  <a:ext uri="{FF2B5EF4-FFF2-40B4-BE49-F238E27FC236}">
                    <a16:creationId xmlns:a16="http://schemas.microsoft.com/office/drawing/2014/main" id="{084F82FE-A95D-AE8A-CA8D-FC1BA5CCFC38}"/>
                  </a:ext>
                </a:extLst>
              </p:cNvPr>
              <p:cNvSpPr/>
              <p:nvPr/>
            </p:nvSpPr>
            <p:spPr>
              <a:xfrm>
                <a:off x="7865537" y="3146551"/>
                <a:ext cx="11968" cy="10821"/>
              </a:xfrm>
              <a:custGeom>
                <a:avLst/>
                <a:gdLst/>
                <a:ahLst/>
                <a:cxnLst/>
                <a:rect l="l" t="t" r="r" b="b"/>
                <a:pathLst>
                  <a:path w="292" h="264" extrusionOk="0">
                    <a:moveTo>
                      <a:pt x="121" y="70"/>
                    </a:moveTo>
                    <a:cubicBezTo>
                      <a:pt x="128" y="74"/>
                      <a:pt x="136" y="78"/>
                      <a:pt x="142" y="85"/>
                    </a:cubicBezTo>
                    <a:cubicBezTo>
                      <a:pt x="153" y="92"/>
                      <a:pt x="165" y="107"/>
                      <a:pt x="165" y="118"/>
                    </a:cubicBezTo>
                    <a:cubicBezTo>
                      <a:pt x="161" y="126"/>
                      <a:pt x="161" y="130"/>
                      <a:pt x="146" y="140"/>
                    </a:cubicBezTo>
                    <a:cubicBezTo>
                      <a:pt x="131" y="149"/>
                      <a:pt x="123" y="145"/>
                      <a:pt x="123" y="149"/>
                    </a:cubicBezTo>
                    <a:cubicBezTo>
                      <a:pt x="116" y="149"/>
                      <a:pt x="108" y="133"/>
                      <a:pt x="108" y="118"/>
                    </a:cubicBezTo>
                    <a:cubicBezTo>
                      <a:pt x="106" y="97"/>
                      <a:pt x="115" y="83"/>
                      <a:pt x="121" y="70"/>
                    </a:cubicBezTo>
                    <a:close/>
                    <a:moveTo>
                      <a:pt x="150" y="1"/>
                    </a:moveTo>
                    <a:cubicBezTo>
                      <a:pt x="97" y="1"/>
                      <a:pt x="74" y="31"/>
                      <a:pt x="79" y="44"/>
                    </a:cubicBezTo>
                    <a:lnTo>
                      <a:pt x="79" y="44"/>
                    </a:lnTo>
                    <a:cubicBezTo>
                      <a:pt x="63" y="49"/>
                      <a:pt x="45" y="63"/>
                      <a:pt x="30" y="88"/>
                    </a:cubicBezTo>
                    <a:cubicBezTo>
                      <a:pt x="11" y="118"/>
                      <a:pt x="1" y="171"/>
                      <a:pt x="41" y="223"/>
                    </a:cubicBezTo>
                    <a:cubicBezTo>
                      <a:pt x="62" y="250"/>
                      <a:pt x="98" y="264"/>
                      <a:pt x="134" y="264"/>
                    </a:cubicBezTo>
                    <a:cubicBezTo>
                      <a:pt x="161" y="264"/>
                      <a:pt x="189" y="256"/>
                      <a:pt x="209" y="242"/>
                    </a:cubicBezTo>
                    <a:cubicBezTo>
                      <a:pt x="258" y="216"/>
                      <a:pt x="292" y="140"/>
                      <a:pt x="269" y="85"/>
                    </a:cubicBezTo>
                    <a:cubicBezTo>
                      <a:pt x="247" y="33"/>
                      <a:pt x="206" y="10"/>
                      <a:pt x="172" y="2"/>
                    </a:cubicBezTo>
                    <a:cubicBezTo>
                      <a:pt x="164" y="1"/>
                      <a:pt x="157" y="1"/>
                      <a:pt x="15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2" name="Google Shape;2778;p46">
                <a:extLst>
                  <a:ext uri="{FF2B5EF4-FFF2-40B4-BE49-F238E27FC236}">
                    <a16:creationId xmlns:a16="http://schemas.microsoft.com/office/drawing/2014/main" id="{1061FB89-8B4D-B18D-1F8B-5F8E5F9EDDF2}"/>
                  </a:ext>
                </a:extLst>
              </p:cNvPr>
              <p:cNvSpPr/>
              <p:nvPr/>
            </p:nvSpPr>
            <p:spPr>
              <a:xfrm>
                <a:off x="7878694" y="3161019"/>
                <a:ext cx="5246" cy="6189"/>
              </a:xfrm>
              <a:custGeom>
                <a:avLst/>
                <a:gdLst/>
                <a:ahLst/>
                <a:cxnLst/>
                <a:rect l="l" t="t" r="r" b="b"/>
                <a:pathLst>
                  <a:path w="128" h="151" extrusionOk="0">
                    <a:moveTo>
                      <a:pt x="66" y="1"/>
                    </a:moveTo>
                    <a:cubicBezTo>
                      <a:pt x="35" y="1"/>
                      <a:pt x="7" y="32"/>
                      <a:pt x="4" y="72"/>
                    </a:cubicBezTo>
                    <a:cubicBezTo>
                      <a:pt x="0" y="113"/>
                      <a:pt x="23" y="146"/>
                      <a:pt x="56" y="151"/>
                    </a:cubicBezTo>
                    <a:cubicBezTo>
                      <a:pt x="58" y="151"/>
                      <a:pt x="60" y="151"/>
                      <a:pt x="61" y="151"/>
                    </a:cubicBezTo>
                    <a:cubicBezTo>
                      <a:pt x="93" y="151"/>
                      <a:pt x="120" y="121"/>
                      <a:pt x="123" y="83"/>
                    </a:cubicBezTo>
                    <a:cubicBezTo>
                      <a:pt x="128" y="42"/>
                      <a:pt x="105" y="4"/>
                      <a:pt x="71" y="1"/>
                    </a:cubicBezTo>
                    <a:cubicBezTo>
                      <a:pt x="70" y="1"/>
                      <a:pt x="68" y="1"/>
                      <a:pt x="66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3" name="Google Shape;2779;p46">
                <a:extLst>
                  <a:ext uri="{FF2B5EF4-FFF2-40B4-BE49-F238E27FC236}">
                    <a16:creationId xmlns:a16="http://schemas.microsoft.com/office/drawing/2014/main" id="{65793569-DA92-EE2F-BA7E-F4A0A413FA21}"/>
                  </a:ext>
                </a:extLst>
              </p:cNvPr>
              <p:cNvSpPr/>
              <p:nvPr/>
            </p:nvSpPr>
            <p:spPr>
              <a:xfrm>
                <a:off x="7889432" y="3153765"/>
                <a:ext cx="10288" cy="5410"/>
              </a:xfrm>
              <a:custGeom>
                <a:avLst/>
                <a:gdLst/>
                <a:ahLst/>
                <a:cxnLst/>
                <a:rect l="l" t="t" r="r" b="b"/>
                <a:pathLst>
                  <a:path w="251" h="132" extrusionOk="0">
                    <a:moveTo>
                      <a:pt x="90" y="0"/>
                    </a:moveTo>
                    <a:cubicBezTo>
                      <a:pt x="47" y="0"/>
                      <a:pt x="13" y="15"/>
                      <a:pt x="7" y="40"/>
                    </a:cubicBezTo>
                    <a:cubicBezTo>
                      <a:pt x="0" y="73"/>
                      <a:pt x="49" y="111"/>
                      <a:pt x="112" y="126"/>
                    </a:cubicBezTo>
                    <a:cubicBezTo>
                      <a:pt x="129" y="130"/>
                      <a:pt x="145" y="131"/>
                      <a:pt x="160" y="131"/>
                    </a:cubicBezTo>
                    <a:cubicBezTo>
                      <a:pt x="203" y="131"/>
                      <a:pt x="237" y="117"/>
                      <a:pt x="242" y="92"/>
                    </a:cubicBezTo>
                    <a:cubicBezTo>
                      <a:pt x="250" y="62"/>
                      <a:pt x="202" y="21"/>
                      <a:pt x="138" y="6"/>
                    </a:cubicBezTo>
                    <a:cubicBezTo>
                      <a:pt x="122" y="2"/>
                      <a:pt x="105" y="0"/>
                      <a:pt x="9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4" name="Google Shape;2780;p46">
                <a:extLst>
                  <a:ext uri="{FF2B5EF4-FFF2-40B4-BE49-F238E27FC236}">
                    <a16:creationId xmlns:a16="http://schemas.microsoft.com/office/drawing/2014/main" id="{5142E4B0-BDE5-372C-276B-4E9D3F7EC4B0}"/>
                  </a:ext>
                </a:extLst>
              </p:cNvPr>
              <p:cNvSpPr/>
              <p:nvPr/>
            </p:nvSpPr>
            <p:spPr>
              <a:xfrm>
                <a:off x="7903204" y="3147371"/>
                <a:ext cx="5369" cy="6968"/>
              </a:xfrm>
              <a:custGeom>
                <a:avLst/>
                <a:gdLst/>
                <a:ahLst/>
                <a:cxnLst/>
                <a:rect l="l" t="t" r="r" b="b"/>
                <a:pathLst>
                  <a:path w="131" h="170" extrusionOk="0">
                    <a:moveTo>
                      <a:pt x="61" y="1"/>
                    </a:moveTo>
                    <a:cubicBezTo>
                      <a:pt x="59" y="1"/>
                      <a:pt x="58" y="1"/>
                      <a:pt x="56" y="1"/>
                    </a:cubicBezTo>
                    <a:cubicBezTo>
                      <a:pt x="26" y="5"/>
                      <a:pt x="0" y="42"/>
                      <a:pt x="8" y="91"/>
                    </a:cubicBezTo>
                    <a:cubicBezTo>
                      <a:pt x="11" y="136"/>
                      <a:pt x="41" y="170"/>
                      <a:pt x="75" y="170"/>
                    </a:cubicBezTo>
                    <a:cubicBezTo>
                      <a:pt x="104" y="165"/>
                      <a:pt x="130" y="125"/>
                      <a:pt x="127" y="80"/>
                    </a:cubicBezTo>
                    <a:cubicBezTo>
                      <a:pt x="120" y="33"/>
                      <a:pt x="93" y="1"/>
                      <a:pt x="6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5" name="Google Shape;2781;p46">
                <a:extLst>
                  <a:ext uri="{FF2B5EF4-FFF2-40B4-BE49-F238E27FC236}">
                    <a16:creationId xmlns:a16="http://schemas.microsoft.com/office/drawing/2014/main" id="{F867E3D4-ABC0-E02C-9625-C61D8F11E073}"/>
                  </a:ext>
                </a:extLst>
              </p:cNvPr>
              <p:cNvSpPr/>
              <p:nvPr/>
            </p:nvSpPr>
            <p:spPr>
              <a:xfrm>
                <a:off x="7916647" y="3137165"/>
                <a:ext cx="4959" cy="6886"/>
              </a:xfrm>
              <a:custGeom>
                <a:avLst/>
                <a:gdLst/>
                <a:ahLst/>
                <a:cxnLst/>
                <a:rect l="l" t="t" r="r" b="b"/>
                <a:pathLst>
                  <a:path w="121" h="168" extrusionOk="0">
                    <a:moveTo>
                      <a:pt x="61" y="0"/>
                    </a:moveTo>
                    <a:cubicBezTo>
                      <a:pt x="26" y="0"/>
                      <a:pt x="0" y="38"/>
                      <a:pt x="0" y="86"/>
                    </a:cubicBezTo>
                    <a:cubicBezTo>
                      <a:pt x="0" y="131"/>
                      <a:pt x="26" y="168"/>
                      <a:pt x="61" y="168"/>
                    </a:cubicBezTo>
                    <a:cubicBezTo>
                      <a:pt x="90" y="168"/>
                      <a:pt x="121" y="131"/>
                      <a:pt x="121" y="86"/>
                    </a:cubicBezTo>
                    <a:cubicBezTo>
                      <a:pt x="121" y="38"/>
                      <a:pt x="90" y="0"/>
                      <a:pt x="6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6" name="Google Shape;2782;p46">
                <a:extLst>
                  <a:ext uri="{FF2B5EF4-FFF2-40B4-BE49-F238E27FC236}">
                    <a16:creationId xmlns:a16="http://schemas.microsoft.com/office/drawing/2014/main" id="{34AF8612-0502-A2B8-3C93-4FD1E62713DC}"/>
                  </a:ext>
                </a:extLst>
              </p:cNvPr>
              <p:cNvSpPr/>
              <p:nvPr/>
            </p:nvSpPr>
            <p:spPr>
              <a:xfrm>
                <a:off x="7924148" y="3128804"/>
                <a:ext cx="12583" cy="11190"/>
              </a:xfrm>
              <a:custGeom>
                <a:avLst/>
                <a:gdLst/>
                <a:ahLst/>
                <a:cxnLst/>
                <a:rect l="l" t="t" r="r" b="b"/>
                <a:pathLst>
                  <a:path w="307" h="273" extrusionOk="0">
                    <a:moveTo>
                      <a:pt x="155" y="60"/>
                    </a:moveTo>
                    <a:cubicBezTo>
                      <a:pt x="164" y="66"/>
                      <a:pt x="172" y="74"/>
                      <a:pt x="180" y="85"/>
                    </a:cubicBezTo>
                    <a:cubicBezTo>
                      <a:pt x="191" y="99"/>
                      <a:pt x="195" y="125"/>
                      <a:pt x="191" y="133"/>
                    </a:cubicBezTo>
                    <a:cubicBezTo>
                      <a:pt x="184" y="144"/>
                      <a:pt x="176" y="148"/>
                      <a:pt x="150" y="152"/>
                    </a:cubicBezTo>
                    <a:cubicBezTo>
                      <a:pt x="128" y="148"/>
                      <a:pt x="117" y="140"/>
                      <a:pt x="112" y="130"/>
                    </a:cubicBezTo>
                    <a:cubicBezTo>
                      <a:pt x="109" y="122"/>
                      <a:pt x="117" y="99"/>
                      <a:pt x="128" y="85"/>
                    </a:cubicBezTo>
                    <a:cubicBezTo>
                      <a:pt x="137" y="73"/>
                      <a:pt x="146" y="65"/>
                      <a:pt x="155" y="60"/>
                    </a:cubicBezTo>
                    <a:close/>
                    <a:moveTo>
                      <a:pt x="171" y="0"/>
                    </a:moveTo>
                    <a:cubicBezTo>
                      <a:pt x="165" y="0"/>
                      <a:pt x="159" y="1"/>
                      <a:pt x="153" y="2"/>
                    </a:cubicBezTo>
                    <a:lnTo>
                      <a:pt x="153" y="2"/>
                    </a:lnTo>
                    <a:cubicBezTo>
                      <a:pt x="148" y="1"/>
                      <a:pt x="142" y="0"/>
                      <a:pt x="135" y="0"/>
                    </a:cubicBezTo>
                    <a:cubicBezTo>
                      <a:pt x="119" y="0"/>
                      <a:pt x="100" y="4"/>
                      <a:pt x="79" y="13"/>
                    </a:cubicBezTo>
                    <a:cubicBezTo>
                      <a:pt x="45" y="32"/>
                      <a:pt x="0" y="70"/>
                      <a:pt x="5" y="140"/>
                    </a:cubicBezTo>
                    <a:cubicBezTo>
                      <a:pt x="5" y="215"/>
                      <a:pt x="79" y="271"/>
                      <a:pt x="146" y="271"/>
                    </a:cubicBezTo>
                    <a:cubicBezTo>
                      <a:pt x="150" y="272"/>
                      <a:pt x="154" y="272"/>
                      <a:pt x="158" y="272"/>
                    </a:cubicBezTo>
                    <a:cubicBezTo>
                      <a:pt x="220" y="272"/>
                      <a:pt x="292" y="222"/>
                      <a:pt x="300" y="156"/>
                    </a:cubicBezTo>
                    <a:cubicBezTo>
                      <a:pt x="307" y="85"/>
                      <a:pt x="266" y="40"/>
                      <a:pt x="236" y="21"/>
                    </a:cubicBezTo>
                    <a:cubicBezTo>
                      <a:pt x="212" y="6"/>
                      <a:pt x="190" y="0"/>
                      <a:pt x="17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7" name="Google Shape;2783;p46">
                <a:extLst>
                  <a:ext uri="{FF2B5EF4-FFF2-40B4-BE49-F238E27FC236}">
                    <a16:creationId xmlns:a16="http://schemas.microsoft.com/office/drawing/2014/main" id="{F0CBC007-46AB-BBF3-2F3F-D272D5F344C0}"/>
                  </a:ext>
                </a:extLst>
              </p:cNvPr>
              <p:cNvSpPr/>
              <p:nvPr/>
            </p:nvSpPr>
            <p:spPr>
              <a:xfrm>
                <a:off x="7945051" y="3117738"/>
                <a:ext cx="10534" cy="5205"/>
              </a:xfrm>
              <a:custGeom>
                <a:avLst/>
                <a:gdLst/>
                <a:ahLst/>
                <a:cxnLst/>
                <a:rect l="l" t="t" r="r" b="b"/>
                <a:pathLst>
                  <a:path w="257" h="127" extrusionOk="0">
                    <a:moveTo>
                      <a:pt x="109" y="1"/>
                    </a:moveTo>
                    <a:cubicBezTo>
                      <a:pt x="43" y="1"/>
                      <a:pt x="0" y="48"/>
                      <a:pt x="14" y="74"/>
                    </a:cubicBezTo>
                    <a:cubicBezTo>
                      <a:pt x="33" y="104"/>
                      <a:pt x="73" y="112"/>
                      <a:pt x="118" y="119"/>
                    </a:cubicBezTo>
                    <a:cubicBezTo>
                      <a:pt x="139" y="123"/>
                      <a:pt x="161" y="126"/>
                      <a:pt x="180" y="126"/>
                    </a:cubicBezTo>
                    <a:cubicBezTo>
                      <a:pt x="200" y="126"/>
                      <a:pt x="218" y="122"/>
                      <a:pt x="230" y="108"/>
                    </a:cubicBezTo>
                    <a:cubicBezTo>
                      <a:pt x="257" y="86"/>
                      <a:pt x="223" y="14"/>
                      <a:pt x="137" y="4"/>
                    </a:cubicBezTo>
                    <a:cubicBezTo>
                      <a:pt x="127" y="2"/>
                      <a:pt x="118" y="1"/>
                      <a:pt x="109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8" name="Google Shape;2784;p46">
                <a:extLst>
                  <a:ext uri="{FF2B5EF4-FFF2-40B4-BE49-F238E27FC236}">
                    <a16:creationId xmlns:a16="http://schemas.microsoft.com/office/drawing/2014/main" id="{DC31E060-CF7E-32C0-9FBD-AF484F5FBD21}"/>
                  </a:ext>
                </a:extLst>
              </p:cNvPr>
              <p:cNvSpPr/>
              <p:nvPr/>
            </p:nvSpPr>
            <p:spPr>
              <a:xfrm>
                <a:off x="7955708" y="3110975"/>
                <a:ext cx="12419" cy="5410"/>
              </a:xfrm>
              <a:custGeom>
                <a:avLst/>
                <a:gdLst/>
                <a:ahLst/>
                <a:cxnLst/>
                <a:rect l="l" t="t" r="r" b="b"/>
                <a:pathLst>
                  <a:path w="303" h="132" extrusionOk="0">
                    <a:moveTo>
                      <a:pt x="120" y="1"/>
                    </a:moveTo>
                    <a:cubicBezTo>
                      <a:pt x="51" y="1"/>
                      <a:pt x="1" y="32"/>
                      <a:pt x="4" y="56"/>
                    </a:cubicBezTo>
                    <a:cubicBezTo>
                      <a:pt x="11" y="90"/>
                      <a:pt x="71" y="108"/>
                      <a:pt x="138" y="124"/>
                    </a:cubicBezTo>
                    <a:cubicBezTo>
                      <a:pt x="169" y="128"/>
                      <a:pt x="198" y="132"/>
                      <a:pt x="223" y="132"/>
                    </a:cubicBezTo>
                    <a:cubicBezTo>
                      <a:pt x="255" y="132"/>
                      <a:pt x="279" y="126"/>
                      <a:pt x="288" y="108"/>
                    </a:cubicBezTo>
                    <a:cubicBezTo>
                      <a:pt x="302" y="79"/>
                      <a:pt x="250" y="19"/>
                      <a:pt x="161" y="4"/>
                    </a:cubicBezTo>
                    <a:cubicBezTo>
                      <a:pt x="147" y="2"/>
                      <a:pt x="133" y="1"/>
                      <a:pt x="12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9" name="Google Shape;2785;p46">
                <a:extLst>
                  <a:ext uri="{FF2B5EF4-FFF2-40B4-BE49-F238E27FC236}">
                    <a16:creationId xmlns:a16="http://schemas.microsoft.com/office/drawing/2014/main" id="{B23467F7-B02E-7A59-4354-E5A73E8B3964}"/>
                  </a:ext>
                </a:extLst>
              </p:cNvPr>
              <p:cNvSpPr/>
              <p:nvPr/>
            </p:nvSpPr>
            <p:spPr>
              <a:xfrm>
                <a:off x="7972512" y="3102368"/>
                <a:ext cx="5410" cy="6804"/>
              </a:xfrm>
              <a:custGeom>
                <a:avLst/>
                <a:gdLst/>
                <a:ahLst/>
                <a:cxnLst/>
                <a:rect l="l" t="t" r="r" b="b"/>
                <a:pathLst>
                  <a:path w="132" h="166" extrusionOk="0">
                    <a:moveTo>
                      <a:pt x="70" y="1"/>
                    </a:moveTo>
                    <a:cubicBezTo>
                      <a:pt x="39" y="1"/>
                      <a:pt x="12" y="33"/>
                      <a:pt x="8" y="80"/>
                    </a:cubicBezTo>
                    <a:cubicBezTo>
                      <a:pt x="1" y="125"/>
                      <a:pt x="27" y="165"/>
                      <a:pt x="57" y="165"/>
                    </a:cubicBezTo>
                    <a:cubicBezTo>
                      <a:pt x="59" y="165"/>
                      <a:pt x="61" y="166"/>
                      <a:pt x="63" y="166"/>
                    </a:cubicBezTo>
                    <a:cubicBezTo>
                      <a:pt x="94" y="166"/>
                      <a:pt x="121" y="133"/>
                      <a:pt x="128" y="91"/>
                    </a:cubicBezTo>
                    <a:cubicBezTo>
                      <a:pt x="132" y="42"/>
                      <a:pt x="106" y="5"/>
                      <a:pt x="75" y="1"/>
                    </a:cubicBezTo>
                    <a:cubicBezTo>
                      <a:pt x="74" y="1"/>
                      <a:pt x="72" y="1"/>
                      <a:pt x="7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0" name="Google Shape;2786;p46">
                <a:extLst>
                  <a:ext uri="{FF2B5EF4-FFF2-40B4-BE49-F238E27FC236}">
                    <a16:creationId xmlns:a16="http://schemas.microsoft.com/office/drawing/2014/main" id="{F9F5793F-56B7-4728-8B02-EEA35C7C19E1}"/>
                  </a:ext>
                </a:extLst>
              </p:cNvPr>
              <p:cNvSpPr/>
              <p:nvPr/>
            </p:nvSpPr>
            <p:spPr>
              <a:xfrm>
                <a:off x="7982021" y="3089908"/>
                <a:ext cx="12747" cy="11558"/>
              </a:xfrm>
              <a:custGeom>
                <a:avLst/>
                <a:gdLst/>
                <a:ahLst/>
                <a:cxnLst/>
                <a:rect l="l" t="t" r="r" b="b"/>
                <a:pathLst>
                  <a:path w="311" h="282" extrusionOk="0">
                    <a:moveTo>
                      <a:pt x="163" y="75"/>
                    </a:moveTo>
                    <a:cubicBezTo>
                      <a:pt x="166" y="77"/>
                      <a:pt x="169" y="79"/>
                      <a:pt x="172" y="81"/>
                    </a:cubicBezTo>
                    <a:cubicBezTo>
                      <a:pt x="191" y="96"/>
                      <a:pt x="195" y="111"/>
                      <a:pt x="195" y="122"/>
                    </a:cubicBezTo>
                    <a:cubicBezTo>
                      <a:pt x="191" y="141"/>
                      <a:pt x="179" y="160"/>
                      <a:pt x="169" y="160"/>
                    </a:cubicBezTo>
                    <a:cubicBezTo>
                      <a:pt x="167" y="162"/>
                      <a:pt x="164" y="163"/>
                      <a:pt x="160" y="163"/>
                    </a:cubicBezTo>
                    <a:cubicBezTo>
                      <a:pt x="150" y="163"/>
                      <a:pt x="137" y="157"/>
                      <a:pt x="131" y="148"/>
                    </a:cubicBezTo>
                    <a:cubicBezTo>
                      <a:pt x="124" y="137"/>
                      <a:pt x="120" y="129"/>
                      <a:pt x="127" y="111"/>
                    </a:cubicBezTo>
                    <a:cubicBezTo>
                      <a:pt x="136" y="92"/>
                      <a:pt x="151" y="82"/>
                      <a:pt x="163" y="75"/>
                    </a:cubicBezTo>
                    <a:close/>
                    <a:moveTo>
                      <a:pt x="176" y="0"/>
                    </a:moveTo>
                    <a:cubicBezTo>
                      <a:pt x="132" y="0"/>
                      <a:pt x="107" y="20"/>
                      <a:pt x="99" y="34"/>
                    </a:cubicBezTo>
                    <a:lnTo>
                      <a:pt x="99" y="34"/>
                    </a:lnTo>
                    <a:cubicBezTo>
                      <a:pt x="89" y="38"/>
                      <a:pt x="78" y="43"/>
                      <a:pt x="67" y="51"/>
                    </a:cubicBezTo>
                    <a:cubicBezTo>
                      <a:pt x="34" y="74"/>
                      <a:pt x="0" y="141"/>
                      <a:pt x="34" y="200"/>
                    </a:cubicBezTo>
                    <a:cubicBezTo>
                      <a:pt x="58" y="246"/>
                      <a:pt x="105" y="282"/>
                      <a:pt x="165" y="282"/>
                    </a:cubicBezTo>
                    <a:cubicBezTo>
                      <a:pt x="179" y="282"/>
                      <a:pt x="194" y="280"/>
                      <a:pt x="210" y="276"/>
                    </a:cubicBezTo>
                    <a:cubicBezTo>
                      <a:pt x="284" y="245"/>
                      <a:pt x="310" y="171"/>
                      <a:pt x="303" y="115"/>
                    </a:cubicBezTo>
                    <a:cubicBezTo>
                      <a:pt x="296" y="51"/>
                      <a:pt x="243" y="10"/>
                      <a:pt x="206" y="3"/>
                    </a:cubicBezTo>
                    <a:cubicBezTo>
                      <a:pt x="195" y="1"/>
                      <a:pt x="185" y="0"/>
                      <a:pt x="17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1" name="Google Shape;2787;p46">
                <a:extLst>
                  <a:ext uri="{FF2B5EF4-FFF2-40B4-BE49-F238E27FC236}">
                    <a16:creationId xmlns:a16="http://schemas.microsoft.com/office/drawing/2014/main" id="{A9C33B36-90B1-3554-BBF4-D07D095FC865}"/>
                  </a:ext>
                </a:extLst>
              </p:cNvPr>
              <p:cNvSpPr/>
              <p:nvPr/>
            </p:nvSpPr>
            <p:spPr>
              <a:xfrm>
                <a:off x="8000096" y="3084580"/>
                <a:ext cx="5533" cy="6886"/>
              </a:xfrm>
              <a:custGeom>
                <a:avLst/>
                <a:gdLst/>
                <a:ahLst/>
                <a:cxnLst/>
                <a:rect l="l" t="t" r="r" b="b"/>
                <a:pathLst>
                  <a:path w="135" h="168" extrusionOk="0">
                    <a:moveTo>
                      <a:pt x="74" y="1"/>
                    </a:moveTo>
                    <a:cubicBezTo>
                      <a:pt x="46" y="1"/>
                      <a:pt x="18" y="33"/>
                      <a:pt x="7" y="73"/>
                    </a:cubicBezTo>
                    <a:cubicBezTo>
                      <a:pt x="0" y="118"/>
                      <a:pt x="19" y="163"/>
                      <a:pt x="52" y="166"/>
                    </a:cubicBezTo>
                    <a:cubicBezTo>
                      <a:pt x="55" y="167"/>
                      <a:pt x="58" y="167"/>
                      <a:pt x="61" y="167"/>
                    </a:cubicBezTo>
                    <a:cubicBezTo>
                      <a:pt x="89" y="167"/>
                      <a:pt x="117" y="139"/>
                      <a:pt x="128" y="95"/>
                    </a:cubicBezTo>
                    <a:cubicBezTo>
                      <a:pt x="135" y="51"/>
                      <a:pt x="116" y="6"/>
                      <a:pt x="83" y="2"/>
                    </a:cubicBezTo>
                    <a:cubicBezTo>
                      <a:pt x="80" y="1"/>
                      <a:pt x="77" y="1"/>
                      <a:pt x="7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2" name="Google Shape;2788;p46">
                <a:extLst>
                  <a:ext uri="{FF2B5EF4-FFF2-40B4-BE49-F238E27FC236}">
                    <a16:creationId xmlns:a16="http://schemas.microsoft.com/office/drawing/2014/main" id="{8C365356-4EDF-8965-FC79-08D7D16929A4}"/>
                  </a:ext>
                </a:extLst>
              </p:cNvPr>
              <p:cNvSpPr/>
              <p:nvPr/>
            </p:nvSpPr>
            <p:spPr>
              <a:xfrm>
                <a:off x="8013703" y="3073759"/>
                <a:ext cx="5287" cy="6189"/>
              </a:xfrm>
              <a:custGeom>
                <a:avLst/>
                <a:gdLst/>
                <a:ahLst/>
                <a:cxnLst/>
                <a:rect l="l" t="t" r="r" b="b"/>
                <a:pathLst>
                  <a:path w="129" h="151" extrusionOk="0">
                    <a:moveTo>
                      <a:pt x="66" y="1"/>
                    </a:moveTo>
                    <a:cubicBezTo>
                      <a:pt x="35" y="1"/>
                      <a:pt x="8" y="29"/>
                      <a:pt x="4" y="68"/>
                    </a:cubicBezTo>
                    <a:cubicBezTo>
                      <a:pt x="1" y="109"/>
                      <a:pt x="23" y="146"/>
                      <a:pt x="56" y="151"/>
                    </a:cubicBezTo>
                    <a:cubicBezTo>
                      <a:pt x="58" y="151"/>
                      <a:pt x="60" y="151"/>
                      <a:pt x="61" y="151"/>
                    </a:cubicBezTo>
                    <a:cubicBezTo>
                      <a:pt x="90" y="151"/>
                      <a:pt x="120" y="121"/>
                      <a:pt x="124" y="79"/>
                    </a:cubicBezTo>
                    <a:cubicBezTo>
                      <a:pt x="128" y="38"/>
                      <a:pt x="106" y="4"/>
                      <a:pt x="72" y="1"/>
                    </a:cubicBezTo>
                    <a:cubicBezTo>
                      <a:pt x="70" y="1"/>
                      <a:pt x="68" y="1"/>
                      <a:pt x="66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3" name="Google Shape;2789;p46">
                <a:extLst>
                  <a:ext uri="{FF2B5EF4-FFF2-40B4-BE49-F238E27FC236}">
                    <a16:creationId xmlns:a16="http://schemas.microsoft.com/office/drawing/2014/main" id="{EF5EFB22-10D4-2CD6-232D-C8A5CB0353AF}"/>
                  </a:ext>
                </a:extLst>
              </p:cNvPr>
              <p:cNvSpPr/>
              <p:nvPr/>
            </p:nvSpPr>
            <p:spPr>
              <a:xfrm>
                <a:off x="8024647" y="3064087"/>
                <a:ext cx="11313" cy="5533"/>
              </a:xfrm>
              <a:custGeom>
                <a:avLst/>
                <a:gdLst/>
                <a:ahLst/>
                <a:cxnLst/>
                <a:rect l="l" t="t" r="r" b="b"/>
                <a:pathLst>
                  <a:path w="276" h="135" extrusionOk="0">
                    <a:moveTo>
                      <a:pt x="104" y="0"/>
                    </a:moveTo>
                    <a:cubicBezTo>
                      <a:pt x="44" y="0"/>
                      <a:pt x="1" y="29"/>
                      <a:pt x="6" y="54"/>
                    </a:cubicBezTo>
                    <a:cubicBezTo>
                      <a:pt x="10" y="87"/>
                      <a:pt x="63" y="110"/>
                      <a:pt x="122" y="125"/>
                    </a:cubicBezTo>
                    <a:cubicBezTo>
                      <a:pt x="151" y="130"/>
                      <a:pt x="178" y="134"/>
                      <a:pt x="201" y="134"/>
                    </a:cubicBezTo>
                    <a:cubicBezTo>
                      <a:pt x="227" y="134"/>
                      <a:pt x="247" y="129"/>
                      <a:pt x="256" y="113"/>
                    </a:cubicBezTo>
                    <a:cubicBezTo>
                      <a:pt x="275" y="87"/>
                      <a:pt x="230" y="23"/>
                      <a:pt x="148" y="6"/>
                    </a:cubicBezTo>
                    <a:cubicBezTo>
                      <a:pt x="133" y="2"/>
                      <a:pt x="118" y="0"/>
                      <a:pt x="10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4" name="Google Shape;2790;p46">
                <a:extLst>
                  <a:ext uri="{FF2B5EF4-FFF2-40B4-BE49-F238E27FC236}">
                    <a16:creationId xmlns:a16="http://schemas.microsoft.com/office/drawing/2014/main" id="{AF06817A-61C2-F132-EC3E-2DAC7C980BC9}"/>
                  </a:ext>
                </a:extLst>
              </p:cNvPr>
              <p:cNvSpPr/>
              <p:nvPr/>
            </p:nvSpPr>
            <p:spPr>
              <a:xfrm>
                <a:off x="8041369" y="3056135"/>
                <a:ext cx="5615" cy="6148"/>
              </a:xfrm>
              <a:custGeom>
                <a:avLst/>
                <a:gdLst/>
                <a:ahLst/>
                <a:cxnLst/>
                <a:rect l="l" t="t" r="r" b="b"/>
                <a:pathLst>
                  <a:path w="137" h="150" extrusionOk="0">
                    <a:moveTo>
                      <a:pt x="84" y="0"/>
                    </a:moveTo>
                    <a:cubicBezTo>
                      <a:pt x="60" y="0"/>
                      <a:pt x="29" y="18"/>
                      <a:pt x="17" y="57"/>
                    </a:cubicBezTo>
                    <a:cubicBezTo>
                      <a:pt x="1" y="112"/>
                      <a:pt x="34" y="150"/>
                      <a:pt x="63" y="150"/>
                    </a:cubicBezTo>
                    <a:cubicBezTo>
                      <a:pt x="67" y="150"/>
                      <a:pt x="72" y="149"/>
                      <a:pt x="76" y="147"/>
                    </a:cubicBezTo>
                    <a:cubicBezTo>
                      <a:pt x="107" y="136"/>
                      <a:pt x="125" y="110"/>
                      <a:pt x="133" y="95"/>
                    </a:cubicBezTo>
                    <a:cubicBezTo>
                      <a:pt x="136" y="72"/>
                      <a:pt x="133" y="43"/>
                      <a:pt x="114" y="16"/>
                    </a:cubicBezTo>
                    <a:cubicBezTo>
                      <a:pt x="108" y="5"/>
                      <a:pt x="97" y="0"/>
                      <a:pt x="8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5" name="Google Shape;2791;p46">
                <a:extLst>
                  <a:ext uri="{FF2B5EF4-FFF2-40B4-BE49-F238E27FC236}">
                    <a16:creationId xmlns:a16="http://schemas.microsoft.com/office/drawing/2014/main" id="{D9AAB947-3B47-CFA4-B88A-1BE5413A2426}"/>
                  </a:ext>
                </a:extLst>
              </p:cNvPr>
              <p:cNvSpPr/>
              <p:nvPr/>
            </p:nvSpPr>
            <p:spPr>
              <a:xfrm>
                <a:off x="8053378" y="3045110"/>
                <a:ext cx="5369" cy="6189"/>
              </a:xfrm>
              <a:custGeom>
                <a:avLst/>
                <a:gdLst/>
                <a:ahLst/>
                <a:cxnLst/>
                <a:rect l="l" t="t" r="r" b="b"/>
                <a:pathLst>
                  <a:path w="131" h="151" extrusionOk="0">
                    <a:moveTo>
                      <a:pt x="65" y="0"/>
                    </a:moveTo>
                    <a:cubicBezTo>
                      <a:pt x="36" y="0"/>
                      <a:pt x="11" y="32"/>
                      <a:pt x="4" y="69"/>
                    </a:cubicBezTo>
                    <a:cubicBezTo>
                      <a:pt x="0" y="110"/>
                      <a:pt x="22" y="147"/>
                      <a:pt x="57" y="150"/>
                    </a:cubicBezTo>
                    <a:cubicBezTo>
                      <a:pt x="59" y="151"/>
                      <a:pt x="61" y="151"/>
                      <a:pt x="63" y="151"/>
                    </a:cubicBezTo>
                    <a:cubicBezTo>
                      <a:pt x="93" y="151"/>
                      <a:pt x="120" y="122"/>
                      <a:pt x="124" y="83"/>
                    </a:cubicBezTo>
                    <a:cubicBezTo>
                      <a:pt x="131" y="43"/>
                      <a:pt x="109" y="5"/>
                      <a:pt x="74" y="1"/>
                    </a:cubicBezTo>
                    <a:cubicBezTo>
                      <a:pt x="71" y="1"/>
                      <a:pt x="68" y="0"/>
                      <a:pt x="6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6" name="Google Shape;2792;p46">
                <a:extLst>
                  <a:ext uri="{FF2B5EF4-FFF2-40B4-BE49-F238E27FC236}">
                    <a16:creationId xmlns:a16="http://schemas.microsoft.com/office/drawing/2014/main" id="{5AE9A54E-93C0-06CB-7117-348DC786F5CE}"/>
                  </a:ext>
                </a:extLst>
              </p:cNvPr>
              <p:cNvSpPr/>
              <p:nvPr/>
            </p:nvSpPr>
            <p:spPr>
              <a:xfrm>
                <a:off x="7856643" y="2547865"/>
                <a:ext cx="214734" cy="213668"/>
              </a:xfrm>
              <a:custGeom>
                <a:avLst/>
                <a:gdLst/>
                <a:ahLst/>
                <a:cxnLst/>
                <a:rect l="l" t="t" r="r" b="b"/>
                <a:pathLst>
                  <a:path w="5239" h="5213" extrusionOk="0">
                    <a:moveTo>
                      <a:pt x="2418" y="1"/>
                    </a:moveTo>
                    <a:cubicBezTo>
                      <a:pt x="1908" y="1"/>
                      <a:pt x="1528" y="32"/>
                      <a:pt x="1528" y="32"/>
                    </a:cubicBezTo>
                    <a:lnTo>
                      <a:pt x="1" y="1570"/>
                    </a:lnTo>
                    <a:lnTo>
                      <a:pt x="3702" y="5212"/>
                    </a:lnTo>
                    <a:cubicBezTo>
                      <a:pt x="3702" y="5212"/>
                      <a:pt x="4457" y="3016"/>
                      <a:pt x="4983" y="1081"/>
                    </a:cubicBezTo>
                    <a:cubicBezTo>
                      <a:pt x="5239" y="148"/>
                      <a:pt x="3524" y="1"/>
                      <a:pt x="2418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7" name="Google Shape;2793;p46">
                <a:extLst>
                  <a:ext uri="{FF2B5EF4-FFF2-40B4-BE49-F238E27FC236}">
                    <a16:creationId xmlns:a16="http://schemas.microsoft.com/office/drawing/2014/main" id="{AB4D00EE-2BAF-EE95-2656-6E9FCBDA6438}"/>
                  </a:ext>
                </a:extLst>
              </p:cNvPr>
              <p:cNvSpPr/>
              <p:nvPr/>
            </p:nvSpPr>
            <p:spPr>
              <a:xfrm>
                <a:off x="7891400" y="2604836"/>
                <a:ext cx="5574" cy="13239"/>
              </a:xfrm>
              <a:custGeom>
                <a:avLst/>
                <a:gdLst/>
                <a:ahLst/>
                <a:cxnLst/>
                <a:rect l="l" t="t" r="r" b="b"/>
                <a:pathLst>
                  <a:path w="136" h="323" extrusionOk="0">
                    <a:moveTo>
                      <a:pt x="53" y="1"/>
                    </a:moveTo>
                    <a:cubicBezTo>
                      <a:pt x="19" y="5"/>
                      <a:pt x="1" y="80"/>
                      <a:pt x="8" y="169"/>
                    </a:cubicBezTo>
                    <a:cubicBezTo>
                      <a:pt x="15" y="257"/>
                      <a:pt x="51" y="323"/>
                      <a:pt x="80" y="323"/>
                    </a:cubicBezTo>
                    <a:cubicBezTo>
                      <a:pt x="81" y="323"/>
                      <a:pt x="81" y="323"/>
                      <a:pt x="82" y="323"/>
                    </a:cubicBezTo>
                    <a:cubicBezTo>
                      <a:pt x="116" y="319"/>
                      <a:pt x="135" y="244"/>
                      <a:pt x="127" y="158"/>
                    </a:cubicBezTo>
                    <a:cubicBezTo>
                      <a:pt x="120" y="68"/>
                      <a:pt x="87" y="1"/>
                      <a:pt x="5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8" name="Google Shape;2794;p46">
                <a:extLst>
                  <a:ext uri="{FF2B5EF4-FFF2-40B4-BE49-F238E27FC236}">
                    <a16:creationId xmlns:a16="http://schemas.microsoft.com/office/drawing/2014/main" id="{AD7FE213-B375-C24D-CA11-8F0D329C8EAD}"/>
                  </a:ext>
                </a:extLst>
              </p:cNvPr>
              <p:cNvSpPr/>
              <p:nvPr/>
            </p:nvSpPr>
            <p:spPr>
              <a:xfrm>
                <a:off x="7898736" y="2618198"/>
                <a:ext cx="10616" cy="5041"/>
              </a:xfrm>
              <a:custGeom>
                <a:avLst/>
                <a:gdLst/>
                <a:ahLst/>
                <a:cxnLst/>
                <a:rect l="l" t="t" r="r" b="b"/>
                <a:pathLst>
                  <a:path w="259" h="123" extrusionOk="0">
                    <a:moveTo>
                      <a:pt x="127" y="0"/>
                    </a:moveTo>
                    <a:cubicBezTo>
                      <a:pt x="56" y="0"/>
                      <a:pt x="1" y="30"/>
                      <a:pt x="1" y="60"/>
                    </a:cubicBezTo>
                    <a:cubicBezTo>
                      <a:pt x="1" y="93"/>
                      <a:pt x="56" y="123"/>
                      <a:pt x="127" y="123"/>
                    </a:cubicBezTo>
                    <a:cubicBezTo>
                      <a:pt x="199" y="123"/>
                      <a:pt x="258" y="93"/>
                      <a:pt x="258" y="60"/>
                    </a:cubicBezTo>
                    <a:cubicBezTo>
                      <a:pt x="258" y="30"/>
                      <a:pt x="199" y="0"/>
                      <a:pt x="12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9" name="Google Shape;2795;p46">
                <a:extLst>
                  <a:ext uri="{FF2B5EF4-FFF2-40B4-BE49-F238E27FC236}">
                    <a16:creationId xmlns:a16="http://schemas.microsoft.com/office/drawing/2014/main" id="{D688C7A7-60AA-258B-ABB4-01054EE6E300}"/>
                  </a:ext>
                </a:extLst>
              </p:cNvPr>
              <p:cNvSpPr/>
              <p:nvPr/>
            </p:nvSpPr>
            <p:spPr>
              <a:xfrm>
                <a:off x="7912057" y="2631026"/>
                <a:ext cx="4959" cy="10944"/>
              </a:xfrm>
              <a:custGeom>
                <a:avLst/>
                <a:gdLst/>
                <a:ahLst/>
                <a:cxnLst/>
                <a:rect l="l" t="t" r="r" b="b"/>
                <a:pathLst>
                  <a:path w="121" h="267" extrusionOk="0">
                    <a:moveTo>
                      <a:pt x="40" y="1"/>
                    </a:moveTo>
                    <a:cubicBezTo>
                      <a:pt x="35" y="1"/>
                      <a:pt x="31" y="2"/>
                      <a:pt x="26" y="4"/>
                    </a:cubicBezTo>
                    <a:cubicBezTo>
                      <a:pt x="0" y="23"/>
                      <a:pt x="4" y="75"/>
                      <a:pt x="0" y="132"/>
                    </a:cubicBezTo>
                    <a:cubicBezTo>
                      <a:pt x="4" y="187"/>
                      <a:pt x="0" y="244"/>
                      <a:pt x="26" y="263"/>
                    </a:cubicBezTo>
                    <a:cubicBezTo>
                      <a:pt x="30" y="265"/>
                      <a:pt x="35" y="266"/>
                      <a:pt x="40" y="266"/>
                    </a:cubicBezTo>
                    <a:cubicBezTo>
                      <a:pt x="72" y="266"/>
                      <a:pt x="121" y="216"/>
                      <a:pt x="121" y="132"/>
                    </a:cubicBezTo>
                    <a:cubicBezTo>
                      <a:pt x="121" y="51"/>
                      <a:pt x="73" y="1"/>
                      <a:pt x="4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0" name="Google Shape;2796;p46">
                <a:extLst>
                  <a:ext uri="{FF2B5EF4-FFF2-40B4-BE49-F238E27FC236}">
                    <a16:creationId xmlns:a16="http://schemas.microsoft.com/office/drawing/2014/main" id="{E0B789D2-1E42-8222-3153-FDC07097C57C}"/>
                  </a:ext>
                </a:extLst>
              </p:cNvPr>
              <p:cNvSpPr/>
              <p:nvPr/>
            </p:nvSpPr>
            <p:spPr>
              <a:xfrm>
                <a:off x="7921238" y="2641724"/>
                <a:ext cx="15985" cy="14059"/>
              </a:xfrm>
              <a:custGeom>
                <a:avLst/>
                <a:gdLst/>
                <a:ahLst/>
                <a:cxnLst/>
                <a:rect l="l" t="t" r="r" b="b"/>
                <a:pathLst>
                  <a:path w="390" h="343" extrusionOk="0">
                    <a:moveTo>
                      <a:pt x="196" y="75"/>
                    </a:moveTo>
                    <a:cubicBezTo>
                      <a:pt x="202" y="78"/>
                      <a:pt x="208" y="82"/>
                      <a:pt x="214" y="87"/>
                    </a:cubicBezTo>
                    <a:cubicBezTo>
                      <a:pt x="266" y="124"/>
                      <a:pt x="285" y="195"/>
                      <a:pt x="206" y="218"/>
                    </a:cubicBezTo>
                    <a:cubicBezTo>
                      <a:pt x="194" y="221"/>
                      <a:pt x="184" y="222"/>
                      <a:pt x="175" y="222"/>
                    </a:cubicBezTo>
                    <a:cubicBezTo>
                      <a:pt x="122" y="222"/>
                      <a:pt x="110" y="172"/>
                      <a:pt x="139" y="124"/>
                    </a:cubicBezTo>
                    <a:cubicBezTo>
                      <a:pt x="156" y="94"/>
                      <a:pt x="178" y="83"/>
                      <a:pt x="196" y="75"/>
                    </a:cubicBezTo>
                    <a:close/>
                    <a:moveTo>
                      <a:pt x="199" y="1"/>
                    </a:moveTo>
                    <a:cubicBezTo>
                      <a:pt x="141" y="1"/>
                      <a:pt x="109" y="34"/>
                      <a:pt x="108" y="46"/>
                    </a:cubicBezTo>
                    <a:lnTo>
                      <a:pt x="108" y="46"/>
                    </a:lnTo>
                    <a:cubicBezTo>
                      <a:pt x="97" y="52"/>
                      <a:pt x="86" y="60"/>
                      <a:pt x="76" y="69"/>
                    </a:cubicBezTo>
                    <a:cubicBezTo>
                      <a:pt x="42" y="98"/>
                      <a:pt x="1" y="162"/>
                      <a:pt x="31" y="244"/>
                    </a:cubicBezTo>
                    <a:cubicBezTo>
                      <a:pt x="51" y="309"/>
                      <a:pt x="121" y="343"/>
                      <a:pt x="186" y="343"/>
                    </a:cubicBezTo>
                    <a:cubicBezTo>
                      <a:pt x="206" y="343"/>
                      <a:pt x="226" y="340"/>
                      <a:pt x="243" y="333"/>
                    </a:cubicBezTo>
                    <a:cubicBezTo>
                      <a:pt x="318" y="315"/>
                      <a:pt x="390" y="226"/>
                      <a:pt x="371" y="143"/>
                    </a:cubicBezTo>
                    <a:cubicBezTo>
                      <a:pt x="352" y="64"/>
                      <a:pt x="295" y="28"/>
                      <a:pt x="251" y="9"/>
                    </a:cubicBezTo>
                    <a:cubicBezTo>
                      <a:pt x="232" y="3"/>
                      <a:pt x="214" y="1"/>
                      <a:pt x="199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1" name="Google Shape;2797;p46">
                <a:extLst>
                  <a:ext uri="{FF2B5EF4-FFF2-40B4-BE49-F238E27FC236}">
                    <a16:creationId xmlns:a16="http://schemas.microsoft.com/office/drawing/2014/main" id="{70D7F7B2-FED0-2A77-BF86-6E6292767E7E}"/>
                  </a:ext>
                </a:extLst>
              </p:cNvPr>
              <p:cNvSpPr/>
              <p:nvPr/>
            </p:nvSpPr>
            <p:spPr>
              <a:xfrm>
                <a:off x="7940379" y="2661397"/>
                <a:ext cx="6189" cy="8034"/>
              </a:xfrm>
              <a:custGeom>
                <a:avLst/>
                <a:gdLst/>
                <a:ahLst/>
                <a:cxnLst/>
                <a:rect l="l" t="t" r="r" b="b"/>
                <a:pathLst>
                  <a:path w="151" h="196" extrusionOk="0">
                    <a:moveTo>
                      <a:pt x="93" y="1"/>
                    </a:moveTo>
                    <a:cubicBezTo>
                      <a:pt x="65" y="1"/>
                      <a:pt x="33" y="32"/>
                      <a:pt x="19" y="77"/>
                    </a:cubicBezTo>
                    <a:cubicBezTo>
                      <a:pt x="1" y="130"/>
                      <a:pt x="12" y="182"/>
                      <a:pt x="42" y="194"/>
                    </a:cubicBezTo>
                    <a:cubicBezTo>
                      <a:pt x="46" y="195"/>
                      <a:pt x="50" y="196"/>
                      <a:pt x="55" y="196"/>
                    </a:cubicBezTo>
                    <a:cubicBezTo>
                      <a:pt x="84" y="196"/>
                      <a:pt x="115" y="164"/>
                      <a:pt x="131" y="115"/>
                    </a:cubicBezTo>
                    <a:cubicBezTo>
                      <a:pt x="150" y="63"/>
                      <a:pt x="139" y="10"/>
                      <a:pt x="105" y="3"/>
                    </a:cubicBezTo>
                    <a:cubicBezTo>
                      <a:pt x="102" y="2"/>
                      <a:pt x="98" y="1"/>
                      <a:pt x="9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2" name="Google Shape;2798;p46">
                <a:extLst>
                  <a:ext uri="{FF2B5EF4-FFF2-40B4-BE49-F238E27FC236}">
                    <a16:creationId xmlns:a16="http://schemas.microsoft.com/office/drawing/2014/main" id="{20FDF6D0-C045-0756-E57F-7E2FEECC741B}"/>
                  </a:ext>
                </a:extLst>
              </p:cNvPr>
              <p:cNvSpPr/>
              <p:nvPr/>
            </p:nvSpPr>
            <p:spPr>
              <a:xfrm>
                <a:off x="7951691" y="2666562"/>
                <a:ext cx="6476" cy="15821"/>
              </a:xfrm>
              <a:custGeom>
                <a:avLst/>
                <a:gdLst/>
                <a:ahLst/>
                <a:cxnLst/>
                <a:rect l="l" t="t" r="r" b="b"/>
                <a:pathLst>
                  <a:path w="158" h="386" extrusionOk="0">
                    <a:moveTo>
                      <a:pt x="110" y="1"/>
                    </a:moveTo>
                    <a:cubicBezTo>
                      <a:pt x="77" y="1"/>
                      <a:pt x="38" y="81"/>
                      <a:pt x="19" y="184"/>
                    </a:cubicBezTo>
                    <a:cubicBezTo>
                      <a:pt x="1" y="292"/>
                      <a:pt x="12" y="382"/>
                      <a:pt x="45" y="385"/>
                    </a:cubicBezTo>
                    <a:cubicBezTo>
                      <a:pt x="47" y="386"/>
                      <a:pt x="48" y="386"/>
                      <a:pt x="50" y="386"/>
                    </a:cubicBezTo>
                    <a:cubicBezTo>
                      <a:pt x="83" y="386"/>
                      <a:pt x="122" y="306"/>
                      <a:pt x="140" y="206"/>
                    </a:cubicBezTo>
                    <a:cubicBezTo>
                      <a:pt x="158" y="97"/>
                      <a:pt x="143" y="8"/>
                      <a:pt x="113" y="1"/>
                    </a:cubicBezTo>
                    <a:cubicBezTo>
                      <a:pt x="112" y="1"/>
                      <a:pt x="111" y="1"/>
                      <a:pt x="11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3" name="Google Shape;2799;p46">
                <a:extLst>
                  <a:ext uri="{FF2B5EF4-FFF2-40B4-BE49-F238E27FC236}">
                    <a16:creationId xmlns:a16="http://schemas.microsoft.com/office/drawing/2014/main" id="{5F1FE91C-FA5B-6DA9-A3EC-6B748A18F7CC}"/>
                  </a:ext>
                </a:extLst>
              </p:cNvPr>
              <p:cNvSpPr/>
              <p:nvPr/>
            </p:nvSpPr>
            <p:spPr>
              <a:xfrm>
                <a:off x="7959027" y="2681890"/>
                <a:ext cx="12173" cy="5123"/>
              </a:xfrm>
              <a:custGeom>
                <a:avLst/>
                <a:gdLst/>
                <a:ahLst/>
                <a:cxnLst/>
                <a:rect l="l" t="t" r="r" b="b"/>
                <a:pathLst>
                  <a:path w="297" h="125" extrusionOk="0">
                    <a:moveTo>
                      <a:pt x="183" y="0"/>
                    </a:moveTo>
                    <a:cubicBezTo>
                      <a:pt x="170" y="0"/>
                      <a:pt x="157" y="1"/>
                      <a:pt x="143" y="3"/>
                    </a:cubicBezTo>
                    <a:cubicBezTo>
                      <a:pt x="61" y="11"/>
                      <a:pt x="1" y="44"/>
                      <a:pt x="5" y="78"/>
                    </a:cubicBezTo>
                    <a:cubicBezTo>
                      <a:pt x="8" y="107"/>
                      <a:pt x="58" y="125"/>
                      <a:pt x="122" y="125"/>
                    </a:cubicBezTo>
                    <a:cubicBezTo>
                      <a:pt x="132" y="125"/>
                      <a:pt x="143" y="124"/>
                      <a:pt x="154" y="123"/>
                    </a:cubicBezTo>
                    <a:cubicBezTo>
                      <a:pt x="237" y="112"/>
                      <a:pt x="297" y="78"/>
                      <a:pt x="292" y="44"/>
                    </a:cubicBezTo>
                    <a:cubicBezTo>
                      <a:pt x="289" y="20"/>
                      <a:pt x="243" y="0"/>
                      <a:pt x="183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4" name="Google Shape;2800;p46">
                <a:extLst>
                  <a:ext uri="{FF2B5EF4-FFF2-40B4-BE49-F238E27FC236}">
                    <a16:creationId xmlns:a16="http://schemas.microsoft.com/office/drawing/2014/main" id="{849B6B4A-1A69-03B1-E0BC-99A1E22F56A7}"/>
                  </a:ext>
                </a:extLst>
              </p:cNvPr>
              <p:cNvSpPr/>
              <p:nvPr/>
            </p:nvSpPr>
            <p:spPr>
              <a:xfrm>
                <a:off x="7972840" y="2689924"/>
                <a:ext cx="15493" cy="14837"/>
              </a:xfrm>
              <a:custGeom>
                <a:avLst/>
                <a:gdLst/>
                <a:ahLst/>
                <a:cxnLst/>
                <a:rect l="l" t="t" r="r" b="b"/>
                <a:pathLst>
                  <a:path w="378" h="362" extrusionOk="0">
                    <a:moveTo>
                      <a:pt x="176" y="1"/>
                    </a:moveTo>
                    <a:cubicBezTo>
                      <a:pt x="132" y="1"/>
                      <a:pt x="107" y="21"/>
                      <a:pt x="112" y="31"/>
                    </a:cubicBezTo>
                    <a:cubicBezTo>
                      <a:pt x="117" y="47"/>
                      <a:pt x="161" y="50"/>
                      <a:pt x="206" y="91"/>
                    </a:cubicBezTo>
                    <a:cubicBezTo>
                      <a:pt x="251" y="133"/>
                      <a:pt x="274" y="200"/>
                      <a:pt x="206" y="233"/>
                    </a:cubicBezTo>
                    <a:cubicBezTo>
                      <a:pt x="191" y="239"/>
                      <a:pt x="178" y="242"/>
                      <a:pt x="167" y="242"/>
                    </a:cubicBezTo>
                    <a:cubicBezTo>
                      <a:pt x="130" y="242"/>
                      <a:pt x="119" y="210"/>
                      <a:pt x="143" y="170"/>
                    </a:cubicBezTo>
                    <a:cubicBezTo>
                      <a:pt x="165" y="121"/>
                      <a:pt x="202" y="129"/>
                      <a:pt x="213" y="114"/>
                    </a:cubicBezTo>
                    <a:cubicBezTo>
                      <a:pt x="217" y="110"/>
                      <a:pt x="213" y="91"/>
                      <a:pt x="187" y="81"/>
                    </a:cubicBezTo>
                    <a:cubicBezTo>
                      <a:pt x="181" y="78"/>
                      <a:pt x="173" y="76"/>
                      <a:pt x="164" y="76"/>
                    </a:cubicBezTo>
                    <a:cubicBezTo>
                      <a:pt x="137" y="76"/>
                      <a:pt x="103" y="89"/>
                      <a:pt x="75" y="114"/>
                    </a:cubicBezTo>
                    <a:cubicBezTo>
                      <a:pt x="45" y="143"/>
                      <a:pt x="0" y="211"/>
                      <a:pt x="45" y="293"/>
                    </a:cubicBezTo>
                    <a:cubicBezTo>
                      <a:pt x="73" y="339"/>
                      <a:pt x="124" y="361"/>
                      <a:pt x="175" y="361"/>
                    </a:cubicBezTo>
                    <a:cubicBezTo>
                      <a:pt x="206" y="361"/>
                      <a:pt x="237" y="353"/>
                      <a:pt x="262" y="338"/>
                    </a:cubicBezTo>
                    <a:cubicBezTo>
                      <a:pt x="333" y="308"/>
                      <a:pt x="377" y="215"/>
                      <a:pt x="355" y="143"/>
                    </a:cubicBezTo>
                    <a:cubicBezTo>
                      <a:pt x="341" y="73"/>
                      <a:pt x="288" y="36"/>
                      <a:pt x="247" y="17"/>
                    </a:cubicBezTo>
                    <a:cubicBezTo>
                      <a:pt x="220" y="5"/>
                      <a:pt x="196" y="1"/>
                      <a:pt x="176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5" name="Google Shape;2801;p46">
                <a:extLst>
                  <a:ext uri="{FF2B5EF4-FFF2-40B4-BE49-F238E27FC236}">
                    <a16:creationId xmlns:a16="http://schemas.microsoft.com/office/drawing/2014/main" id="{355A9CCD-C330-147E-8FCB-0C4089E789D2}"/>
                  </a:ext>
                </a:extLst>
              </p:cNvPr>
              <p:cNvSpPr/>
              <p:nvPr/>
            </p:nvSpPr>
            <p:spPr>
              <a:xfrm>
                <a:off x="7990915" y="2708654"/>
                <a:ext cx="4918" cy="15821"/>
              </a:xfrm>
              <a:custGeom>
                <a:avLst/>
                <a:gdLst/>
                <a:ahLst/>
                <a:cxnLst/>
                <a:rect l="l" t="t" r="r" b="b"/>
                <a:pathLst>
                  <a:path w="120" h="386" extrusionOk="0">
                    <a:moveTo>
                      <a:pt x="60" y="0"/>
                    </a:moveTo>
                    <a:cubicBezTo>
                      <a:pt x="26" y="0"/>
                      <a:pt x="0" y="90"/>
                      <a:pt x="0" y="195"/>
                    </a:cubicBezTo>
                    <a:cubicBezTo>
                      <a:pt x="0" y="300"/>
                      <a:pt x="26" y="386"/>
                      <a:pt x="60" y="386"/>
                    </a:cubicBezTo>
                    <a:cubicBezTo>
                      <a:pt x="93" y="386"/>
                      <a:pt x="119" y="300"/>
                      <a:pt x="119" y="195"/>
                    </a:cubicBezTo>
                    <a:cubicBezTo>
                      <a:pt x="119" y="90"/>
                      <a:pt x="93" y="0"/>
                      <a:pt x="6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6" name="Google Shape;2802;p46">
                <a:extLst>
                  <a:ext uri="{FF2B5EF4-FFF2-40B4-BE49-F238E27FC236}">
                    <a16:creationId xmlns:a16="http://schemas.microsoft.com/office/drawing/2014/main" id="{E11A2E07-1C94-6396-8741-B47748996D68}"/>
                  </a:ext>
                </a:extLst>
              </p:cNvPr>
              <p:cNvSpPr/>
              <p:nvPr/>
            </p:nvSpPr>
            <p:spPr>
              <a:xfrm>
                <a:off x="7861521" y="2484337"/>
                <a:ext cx="109519" cy="126078"/>
              </a:xfrm>
              <a:custGeom>
                <a:avLst/>
                <a:gdLst/>
                <a:ahLst/>
                <a:cxnLst/>
                <a:rect l="l" t="t" r="r" b="b"/>
                <a:pathLst>
                  <a:path w="2672" h="3076" extrusionOk="0">
                    <a:moveTo>
                      <a:pt x="2656" y="1"/>
                    </a:moveTo>
                    <a:cubicBezTo>
                      <a:pt x="2637" y="1"/>
                      <a:pt x="2497" y="178"/>
                      <a:pt x="2261" y="442"/>
                    </a:cubicBezTo>
                    <a:cubicBezTo>
                      <a:pt x="1992" y="753"/>
                      <a:pt x="1671" y="1115"/>
                      <a:pt x="1316" y="1522"/>
                    </a:cubicBezTo>
                    <a:cubicBezTo>
                      <a:pt x="946" y="1940"/>
                      <a:pt x="614" y="2321"/>
                      <a:pt x="375" y="2601"/>
                    </a:cubicBezTo>
                    <a:cubicBezTo>
                      <a:pt x="139" y="2885"/>
                      <a:pt x="1" y="3064"/>
                      <a:pt x="12" y="3075"/>
                    </a:cubicBezTo>
                    <a:cubicBezTo>
                      <a:pt x="13" y="3076"/>
                      <a:pt x="13" y="3076"/>
                      <a:pt x="14" y="3076"/>
                    </a:cubicBezTo>
                    <a:cubicBezTo>
                      <a:pt x="35" y="3076"/>
                      <a:pt x="197" y="2917"/>
                      <a:pt x="438" y="2661"/>
                    </a:cubicBezTo>
                    <a:cubicBezTo>
                      <a:pt x="692" y="2392"/>
                      <a:pt x="1035" y="2018"/>
                      <a:pt x="1406" y="1601"/>
                    </a:cubicBezTo>
                    <a:cubicBezTo>
                      <a:pt x="1775" y="1178"/>
                      <a:pt x="2104" y="789"/>
                      <a:pt x="2328" y="498"/>
                    </a:cubicBezTo>
                    <a:cubicBezTo>
                      <a:pt x="2552" y="207"/>
                      <a:pt x="2671" y="9"/>
                      <a:pt x="2657" y="1"/>
                    </a:cubicBezTo>
                    <a:cubicBezTo>
                      <a:pt x="2657" y="1"/>
                      <a:pt x="2656" y="1"/>
                      <a:pt x="2656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7" name="Google Shape;2803;p46">
                <a:extLst>
                  <a:ext uri="{FF2B5EF4-FFF2-40B4-BE49-F238E27FC236}">
                    <a16:creationId xmlns:a16="http://schemas.microsoft.com/office/drawing/2014/main" id="{FD636C93-AF5D-FC48-48EC-B82B7AE17A57}"/>
                  </a:ext>
                </a:extLst>
              </p:cNvPr>
              <p:cNvSpPr/>
              <p:nvPr/>
            </p:nvSpPr>
            <p:spPr>
              <a:xfrm>
                <a:off x="8066084" y="3046135"/>
                <a:ext cx="10903" cy="5451"/>
              </a:xfrm>
              <a:custGeom>
                <a:avLst/>
                <a:gdLst/>
                <a:ahLst/>
                <a:cxnLst/>
                <a:rect l="l" t="t" r="r" b="b"/>
                <a:pathLst>
                  <a:path w="266" h="133" extrusionOk="0">
                    <a:moveTo>
                      <a:pt x="84" y="1"/>
                    </a:moveTo>
                    <a:cubicBezTo>
                      <a:pt x="45" y="1"/>
                      <a:pt x="15" y="13"/>
                      <a:pt x="7" y="36"/>
                    </a:cubicBezTo>
                    <a:cubicBezTo>
                      <a:pt x="0" y="70"/>
                      <a:pt x="49" y="107"/>
                      <a:pt x="119" y="125"/>
                    </a:cubicBezTo>
                    <a:cubicBezTo>
                      <a:pt x="140" y="130"/>
                      <a:pt x="160" y="132"/>
                      <a:pt x="178" y="132"/>
                    </a:cubicBezTo>
                    <a:cubicBezTo>
                      <a:pt x="220" y="132"/>
                      <a:pt x="253" y="120"/>
                      <a:pt x="258" y="99"/>
                    </a:cubicBezTo>
                    <a:cubicBezTo>
                      <a:pt x="266" y="66"/>
                      <a:pt x="217" y="25"/>
                      <a:pt x="145" y="10"/>
                    </a:cubicBezTo>
                    <a:cubicBezTo>
                      <a:pt x="124" y="4"/>
                      <a:pt x="103" y="1"/>
                      <a:pt x="8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8" name="Google Shape;2804;p46">
                <a:extLst>
                  <a:ext uri="{FF2B5EF4-FFF2-40B4-BE49-F238E27FC236}">
                    <a16:creationId xmlns:a16="http://schemas.microsoft.com/office/drawing/2014/main" id="{4671696F-3CFE-2433-35D8-97BFB3502666}"/>
                  </a:ext>
                </a:extLst>
              </p:cNvPr>
              <p:cNvSpPr/>
              <p:nvPr/>
            </p:nvSpPr>
            <p:spPr>
              <a:xfrm>
                <a:off x="8079774" y="3036421"/>
                <a:ext cx="12214" cy="9427"/>
              </a:xfrm>
              <a:custGeom>
                <a:avLst/>
                <a:gdLst/>
                <a:ahLst/>
                <a:cxnLst/>
                <a:rect l="l" t="t" r="r" b="b"/>
                <a:pathLst>
                  <a:path w="298" h="230" extrusionOk="0">
                    <a:moveTo>
                      <a:pt x="126" y="68"/>
                    </a:moveTo>
                    <a:cubicBezTo>
                      <a:pt x="138" y="72"/>
                      <a:pt x="152" y="77"/>
                      <a:pt x="163" y="86"/>
                    </a:cubicBezTo>
                    <a:cubicBezTo>
                      <a:pt x="178" y="93"/>
                      <a:pt x="178" y="101"/>
                      <a:pt x="178" y="109"/>
                    </a:cubicBezTo>
                    <a:cubicBezTo>
                      <a:pt x="178" y="108"/>
                      <a:pt x="178" y="108"/>
                      <a:pt x="178" y="108"/>
                    </a:cubicBezTo>
                    <a:lnTo>
                      <a:pt x="178" y="108"/>
                    </a:lnTo>
                    <a:cubicBezTo>
                      <a:pt x="177" y="108"/>
                      <a:pt x="178" y="108"/>
                      <a:pt x="178" y="109"/>
                    </a:cubicBezTo>
                    <a:lnTo>
                      <a:pt x="178" y="109"/>
                    </a:lnTo>
                    <a:cubicBezTo>
                      <a:pt x="178" y="109"/>
                      <a:pt x="178" y="109"/>
                      <a:pt x="178" y="109"/>
                    </a:cubicBezTo>
                    <a:lnTo>
                      <a:pt x="178" y="109"/>
                    </a:lnTo>
                    <a:cubicBezTo>
                      <a:pt x="178" y="109"/>
                      <a:pt x="178" y="109"/>
                      <a:pt x="178" y="109"/>
                    </a:cubicBezTo>
                    <a:lnTo>
                      <a:pt x="178" y="109"/>
                    </a:lnTo>
                    <a:cubicBezTo>
                      <a:pt x="178" y="109"/>
                      <a:pt x="178" y="109"/>
                      <a:pt x="178" y="109"/>
                    </a:cubicBezTo>
                    <a:lnTo>
                      <a:pt x="178" y="109"/>
                    </a:lnTo>
                    <a:cubicBezTo>
                      <a:pt x="175" y="109"/>
                      <a:pt x="172" y="110"/>
                      <a:pt x="170" y="110"/>
                    </a:cubicBezTo>
                    <a:cubicBezTo>
                      <a:pt x="148" y="110"/>
                      <a:pt x="122" y="90"/>
                      <a:pt x="122" y="90"/>
                    </a:cubicBezTo>
                    <a:cubicBezTo>
                      <a:pt x="120" y="82"/>
                      <a:pt x="122" y="74"/>
                      <a:pt x="126" y="68"/>
                    </a:cubicBezTo>
                    <a:close/>
                    <a:moveTo>
                      <a:pt x="183" y="115"/>
                    </a:moveTo>
                    <a:cubicBezTo>
                      <a:pt x="184" y="115"/>
                      <a:pt x="184" y="116"/>
                      <a:pt x="185" y="116"/>
                    </a:cubicBezTo>
                    <a:cubicBezTo>
                      <a:pt x="186" y="117"/>
                      <a:pt x="186" y="118"/>
                      <a:pt x="186" y="118"/>
                    </a:cubicBezTo>
                    <a:cubicBezTo>
                      <a:pt x="185" y="118"/>
                      <a:pt x="184" y="117"/>
                      <a:pt x="183" y="115"/>
                    </a:cubicBezTo>
                    <a:close/>
                    <a:moveTo>
                      <a:pt x="178" y="0"/>
                    </a:moveTo>
                    <a:cubicBezTo>
                      <a:pt x="153" y="1"/>
                      <a:pt x="134" y="8"/>
                      <a:pt x="122" y="15"/>
                    </a:cubicBezTo>
                    <a:lnTo>
                      <a:pt x="122" y="15"/>
                    </a:lnTo>
                    <a:cubicBezTo>
                      <a:pt x="122" y="15"/>
                      <a:pt x="122" y="15"/>
                      <a:pt x="122" y="15"/>
                    </a:cubicBezTo>
                    <a:cubicBezTo>
                      <a:pt x="118" y="15"/>
                      <a:pt x="115" y="15"/>
                      <a:pt x="111" y="15"/>
                    </a:cubicBezTo>
                    <a:cubicBezTo>
                      <a:pt x="90" y="15"/>
                      <a:pt x="63" y="24"/>
                      <a:pt x="44" y="53"/>
                    </a:cubicBezTo>
                    <a:cubicBezTo>
                      <a:pt x="1" y="132"/>
                      <a:pt x="72" y="229"/>
                      <a:pt x="169" y="229"/>
                    </a:cubicBezTo>
                    <a:cubicBezTo>
                      <a:pt x="181" y="229"/>
                      <a:pt x="194" y="228"/>
                      <a:pt x="208" y="224"/>
                    </a:cubicBezTo>
                    <a:cubicBezTo>
                      <a:pt x="242" y="217"/>
                      <a:pt x="271" y="191"/>
                      <a:pt x="287" y="157"/>
                    </a:cubicBezTo>
                    <a:cubicBezTo>
                      <a:pt x="297" y="124"/>
                      <a:pt x="294" y="93"/>
                      <a:pt x="282" y="71"/>
                    </a:cubicBezTo>
                    <a:cubicBezTo>
                      <a:pt x="260" y="23"/>
                      <a:pt x="208" y="0"/>
                      <a:pt x="178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9" name="Google Shape;2805;p46">
                <a:extLst>
                  <a:ext uri="{FF2B5EF4-FFF2-40B4-BE49-F238E27FC236}">
                    <a16:creationId xmlns:a16="http://schemas.microsoft.com/office/drawing/2014/main" id="{6E0702E5-9E8F-732D-60D5-27F957F66745}"/>
                  </a:ext>
                </a:extLst>
              </p:cNvPr>
              <p:cNvSpPr/>
              <p:nvPr/>
            </p:nvSpPr>
            <p:spPr>
              <a:xfrm>
                <a:off x="7206023" y="2581187"/>
                <a:ext cx="779418" cy="357001"/>
              </a:xfrm>
              <a:custGeom>
                <a:avLst/>
                <a:gdLst/>
                <a:ahLst/>
                <a:cxnLst/>
                <a:rect l="l" t="t" r="r" b="b"/>
                <a:pathLst>
                  <a:path w="19016" h="8710" extrusionOk="0">
                    <a:moveTo>
                      <a:pt x="4381" y="1"/>
                    </a:moveTo>
                    <a:cubicBezTo>
                      <a:pt x="4332" y="1"/>
                      <a:pt x="4282" y="19"/>
                      <a:pt x="4240" y="59"/>
                    </a:cubicBezTo>
                    <a:cubicBezTo>
                      <a:pt x="4087" y="197"/>
                      <a:pt x="3952" y="772"/>
                      <a:pt x="4075" y="1467"/>
                    </a:cubicBezTo>
                    <a:cubicBezTo>
                      <a:pt x="4079" y="1479"/>
                      <a:pt x="4079" y="1489"/>
                      <a:pt x="4079" y="1501"/>
                    </a:cubicBezTo>
                    <a:cubicBezTo>
                      <a:pt x="4112" y="1714"/>
                      <a:pt x="4060" y="1793"/>
                      <a:pt x="3964" y="1793"/>
                    </a:cubicBezTo>
                    <a:cubicBezTo>
                      <a:pt x="3742" y="1793"/>
                      <a:pt x="3282" y="1367"/>
                      <a:pt x="3071" y="1179"/>
                    </a:cubicBezTo>
                    <a:cubicBezTo>
                      <a:pt x="2773" y="912"/>
                      <a:pt x="1832" y="144"/>
                      <a:pt x="1653" y="144"/>
                    </a:cubicBezTo>
                    <a:cubicBezTo>
                      <a:pt x="1650" y="144"/>
                      <a:pt x="1647" y="144"/>
                      <a:pt x="1644" y="145"/>
                    </a:cubicBezTo>
                    <a:cubicBezTo>
                      <a:pt x="1416" y="186"/>
                      <a:pt x="1420" y="443"/>
                      <a:pt x="1726" y="705"/>
                    </a:cubicBezTo>
                    <a:cubicBezTo>
                      <a:pt x="2040" y="974"/>
                      <a:pt x="2902" y="1826"/>
                      <a:pt x="2757" y="1982"/>
                    </a:cubicBezTo>
                    <a:cubicBezTo>
                      <a:pt x="2750" y="1990"/>
                      <a:pt x="2738" y="1994"/>
                      <a:pt x="2724" y="1994"/>
                    </a:cubicBezTo>
                    <a:cubicBezTo>
                      <a:pt x="2458" y="1994"/>
                      <a:pt x="1094" y="735"/>
                      <a:pt x="1094" y="735"/>
                    </a:cubicBezTo>
                    <a:cubicBezTo>
                      <a:pt x="1094" y="735"/>
                      <a:pt x="917" y="507"/>
                      <a:pt x="756" y="507"/>
                    </a:cubicBezTo>
                    <a:cubicBezTo>
                      <a:pt x="716" y="507"/>
                      <a:pt x="677" y="521"/>
                      <a:pt x="642" y="555"/>
                    </a:cubicBezTo>
                    <a:cubicBezTo>
                      <a:pt x="325" y="869"/>
                      <a:pt x="2047" y="2236"/>
                      <a:pt x="2211" y="2363"/>
                    </a:cubicBezTo>
                    <a:cubicBezTo>
                      <a:pt x="2302" y="2431"/>
                      <a:pt x="2227" y="2554"/>
                      <a:pt x="2133" y="2554"/>
                    </a:cubicBezTo>
                    <a:cubicBezTo>
                      <a:pt x="2107" y="2554"/>
                      <a:pt x="2080" y="2545"/>
                      <a:pt x="2054" y="2524"/>
                    </a:cubicBezTo>
                    <a:cubicBezTo>
                      <a:pt x="1945" y="2434"/>
                      <a:pt x="847" y="1362"/>
                      <a:pt x="386" y="1362"/>
                    </a:cubicBezTo>
                    <a:cubicBezTo>
                      <a:pt x="331" y="1362"/>
                      <a:pt x="285" y="1378"/>
                      <a:pt x="251" y="1411"/>
                    </a:cubicBezTo>
                    <a:cubicBezTo>
                      <a:pt x="1" y="1653"/>
                      <a:pt x="1655" y="2546"/>
                      <a:pt x="1785" y="2984"/>
                    </a:cubicBezTo>
                    <a:cubicBezTo>
                      <a:pt x="1806" y="3050"/>
                      <a:pt x="1793" y="3077"/>
                      <a:pt x="1755" y="3077"/>
                    </a:cubicBezTo>
                    <a:cubicBezTo>
                      <a:pt x="1567" y="3077"/>
                      <a:pt x="763" y="2384"/>
                      <a:pt x="456" y="2384"/>
                    </a:cubicBezTo>
                    <a:cubicBezTo>
                      <a:pt x="420" y="2384"/>
                      <a:pt x="390" y="2394"/>
                      <a:pt x="370" y="2415"/>
                    </a:cubicBezTo>
                    <a:cubicBezTo>
                      <a:pt x="287" y="2509"/>
                      <a:pt x="236" y="2587"/>
                      <a:pt x="1094" y="3189"/>
                    </a:cubicBezTo>
                    <a:cubicBezTo>
                      <a:pt x="1554" y="3513"/>
                      <a:pt x="2503" y="4018"/>
                      <a:pt x="3299" y="4425"/>
                    </a:cubicBezTo>
                    <a:lnTo>
                      <a:pt x="3392" y="4470"/>
                    </a:lnTo>
                    <a:cubicBezTo>
                      <a:pt x="3392" y="4470"/>
                      <a:pt x="9281" y="8709"/>
                      <a:pt x="13450" y="8709"/>
                    </a:cubicBezTo>
                    <a:cubicBezTo>
                      <a:pt x="14709" y="8709"/>
                      <a:pt x="15811" y="8323"/>
                      <a:pt x="16547" y="7316"/>
                    </a:cubicBezTo>
                    <a:cubicBezTo>
                      <a:pt x="18493" y="4656"/>
                      <a:pt x="18628" y="4508"/>
                      <a:pt x="19016" y="3842"/>
                    </a:cubicBezTo>
                    <a:lnTo>
                      <a:pt x="16154" y="1034"/>
                    </a:lnTo>
                    <a:cubicBezTo>
                      <a:pt x="16154" y="1034"/>
                      <a:pt x="13268" y="4762"/>
                      <a:pt x="12669" y="4762"/>
                    </a:cubicBezTo>
                    <a:cubicBezTo>
                      <a:pt x="12665" y="4762"/>
                      <a:pt x="12662" y="4762"/>
                      <a:pt x="12658" y="4761"/>
                    </a:cubicBezTo>
                    <a:cubicBezTo>
                      <a:pt x="9472" y="4518"/>
                      <a:pt x="6294" y="2908"/>
                      <a:pt x="5188" y="2300"/>
                    </a:cubicBezTo>
                    <a:cubicBezTo>
                      <a:pt x="5091" y="2146"/>
                      <a:pt x="4983" y="1960"/>
                      <a:pt x="4864" y="1739"/>
                    </a:cubicBezTo>
                    <a:cubicBezTo>
                      <a:pt x="4762" y="1549"/>
                      <a:pt x="4695" y="1340"/>
                      <a:pt x="4666" y="1127"/>
                    </a:cubicBezTo>
                    <a:cubicBezTo>
                      <a:pt x="4632" y="900"/>
                      <a:pt x="4598" y="608"/>
                      <a:pt x="4617" y="406"/>
                    </a:cubicBezTo>
                    <a:cubicBezTo>
                      <a:pt x="4621" y="388"/>
                      <a:pt x="4621" y="369"/>
                      <a:pt x="4624" y="354"/>
                    </a:cubicBezTo>
                    <a:cubicBezTo>
                      <a:pt x="4635" y="317"/>
                      <a:pt x="4635" y="283"/>
                      <a:pt x="4632" y="250"/>
                    </a:cubicBezTo>
                    <a:cubicBezTo>
                      <a:pt x="4621" y="106"/>
                      <a:pt x="4502" y="1"/>
                      <a:pt x="4381" y="1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0" name="Google Shape;2806;p46">
                <a:extLst>
                  <a:ext uri="{FF2B5EF4-FFF2-40B4-BE49-F238E27FC236}">
                    <a16:creationId xmlns:a16="http://schemas.microsoft.com/office/drawing/2014/main" id="{E6539FE2-2739-F692-676C-4AB5129B525E}"/>
                  </a:ext>
                </a:extLst>
              </p:cNvPr>
              <p:cNvSpPr/>
              <p:nvPr/>
            </p:nvSpPr>
            <p:spPr>
              <a:xfrm flipH="1">
                <a:off x="7744211" y="2144852"/>
                <a:ext cx="28500" cy="81600"/>
              </a:xfrm>
              <a:prstGeom prst="rtTriangle">
                <a:avLst/>
              </a:pr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49" name="Google Shape;2807;p46">
              <a:extLst>
                <a:ext uri="{FF2B5EF4-FFF2-40B4-BE49-F238E27FC236}">
                  <a16:creationId xmlns:a16="http://schemas.microsoft.com/office/drawing/2014/main" id="{6AA7B943-9E14-6C2C-6837-797FBB584969}"/>
                </a:ext>
              </a:extLst>
            </p:cNvPr>
            <p:cNvGrpSpPr/>
            <p:nvPr/>
          </p:nvGrpSpPr>
          <p:grpSpPr>
            <a:xfrm rot="756199">
              <a:off x="5892235" y="4165295"/>
              <a:ext cx="502396" cy="423275"/>
              <a:chOff x="2681574" y="1237063"/>
              <a:chExt cx="340338" cy="314998"/>
            </a:xfrm>
          </p:grpSpPr>
          <p:sp>
            <p:nvSpPr>
              <p:cNvPr id="550" name="Google Shape;2808;p46">
                <a:extLst>
                  <a:ext uri="{FF2B5EF4-FFF2-40B4-BE49-F238E27FC236}">
                    <a16:creationId xmlns:a16="http://schemas.microsoft.com/office/drawing/2014/main" id="{F2C1CD2E-B52A-025E-569E-7997381C3755}"/>
                  </a:ext>
                </a:extLst>
              </p:cNvPr>
              <p:cNvSpPr/>
              <p:nvPr/>
            </p:nvSpPr>
            <p:spPr>
              <a:xfrm>
                <a:off x="2681574" y="1237063"/>
                <a:ext cx="340338" cy="314998"/>
              </a:xfrm>
              <a:custGeom>
                <a:avLst/>
                <a:gdLst/>
                <a:ahLst/>
                <a:cxnLst/>
                <a:rect l="l" t="t" r="r" b="b"/>
                <a:pathLst>
                  <a:path w="9227" h="8540" extrusionOk="0">
                    <a:moveTo>
                      <a:pt x="6425" y="0"/>
                    </a:moveTo>
                    <a:cubicBezTo>
                      <a:pt x="6425" y="0"/>
                      <a:pt x="6228" y="2011"/>
                      <a:pt x="3964" y="2884"/>
                    </a:cubicBezTo>
                    <a:cubicBezTo>
                      <a:pt x="2562" y="3427"/>
                      <a:pt x="1" y="4855"/>
                      <a:pt x="254" y="5974"/>
                    </a:cubicBezTo>
                    <a:lnTo>
                      <a:pt x="2369" y="8540"/>
                    </a:lnTo>
                    <a:cubicBezTo>
                      <a:pt x="2369" y="8540"/>
                      <a:pt x="3746" y="7084"/>
                      <a:pt x="5677" y="6442"/>
                    </a:cubicBezTo>
                    <a:cubicBezTo>
                      <a:pt x="7574" y="5813"/>
                      <a:pt x="9226" y="3160"/>
                      <a:pt x="9226" y="3160"/>
                    </a:cubicBezTo>
                    <a:lnTo>
                      <a:pt x="6425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1" name="Google Shape;2809;p46">
                <a:extLst>
                  <a:ext uri="{FF2B5EF4-FFF2-40B4-BE49-F238E27FC236}">
                    <a16:creationId xmlns:a16="http://schemas.microsoft.com/office/drawing/2014/main" id="{69A1E3B2-2A6C-5C1D-DE53-0FEA61B33E6B}"/>
                  </a:ext>
                </a:extLst>
              </p:cNvPr>
              <p:cNvSpPr/>
              <p:nvPr/>
            </p:nvSpPr>
            <p:spPr>
              <a:xfrm>
                <a:off x="2798758" y="1347238"/>
                <a:ext cx="136733" cy="114897"/>
              </a:xfrm>
              <a:custGeom>
                <a:avLst/>
                <a:gdLst/>
                <a:ahLst/>
                <a:cxnLst/>
                <a:rect l="l" t="t" r="r" b="b"/>
                <a:pathLst>
                  <a:path w="3707" h="3115" extrusionOk="0">
                    <a:moveTo>
                      <a:pt x="2035" y="1"/>
                    </a:moveTo>
                    <a:cubicBezTo>
                      <a:pt x="1894" y="1"/>
                      <a:pt x="1751" y="21"/>
                      <a:pt x="1608" y="63"/>
                    </a:cubicBezTo>
                    <a:cubicBezTo>
                      <a:pt x="813" y="299"/>
                      <a:pt x="1" y="1239"/>
                      <a:pt x="232" y="2035"/>
                    </a:cubicBezTo>
                    <a:cubicBezTo>
                      <a:pt x="409" y="2631"/>
                      <a:pt x="1028" y="3114"/>
                      <a:pt x="1736" y="3114"/>
                    </a:cubicBezTo>
                    <a:cubicBezTo>
                      <a:pt x="1972" y="3114"/>
                      <a:pt x="2218" y="3061"/>
                      <a:pt x="2461" y="2939"/>
                    </a:cubicBezTo>
                    <a:cubicBezTo>
                      <a:pt x="3200" y="2568"/>
                      <a:pt x="3706" y="1868"/>
                      <a:pt x="3470" y="1077"/>
                    </a:cubicBezTo>
                    <a:cubicBezTo>
                      <a:pt x="3276" y="424"/>
                      <a:pt x="2682" y="1"/>
                      <a:pt x="2035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2" name="Google Shape;2810;p46">
                <a:extLst>
                  <a:ext uri="{FF2B5EF4-FFF2-40B4-BE49-F238E27FC236}">
                    <a16:creationId xmlns:a16="http://schemas.microsoft.com/office/drawing/2014/main" id="{65040EA3-498A-5E90-00BF-AC0E865B73E4}"/>
                  </a:ext>
                </a:extLst>
              </p:cNvPr>
              <p:cNvSpPr/>
              <p:nvPr/>
            </p:nvSpPr>
            <p:spPr>
              <a:xfrm>
                <a:off x="2831807" y="1370734"/>
                <a:ext cx="68385" cy="74950"/>
              </a:xfrm>
              <a:custGeom>
                <a:avLst/>
                <a:gdLst/>
                <a:ahLst/>
                <a:cxnLst/>
                <a:rect l="l" t="t" r="r" b="b"/>
                <a:pathLst>
                  <a:path w="1854" h="2032" extrusionOk="0">
                    <a:moveTo>
                      <a:pt x="529" y="422"/>
                    </a:moveTo>
                    <a:cubicBezTo>
                      <a:pt x="613" y="541"/>
                      <a:pt x="712" y="676"/>
                      <a:pt x="827" y="825"/>
                    </a:cubicBezTo>
                    <a:cubicBezTo>
                      <a:pt x="796" y="842"/>
                      <a:pt x="770" y="856"/>
                      <a:pt x="744" y="873"/>
                    </a:cubicBezTo>
                    <a:cubicBezTo>
                      <a:pt x="630" y="737"/>
                      <a:pt x="525" y="615"/>
                      <a:pt x="433" y="523"/>
                    </a:cubicBezTo>
                    <a:cubicBezTo>
                      <a:pt x="442" y="515"/>
                      <a:pt x="446" y="501"/>
                      <a:pt x="450" y="493"/>
                    </a:cubicBezTo>
                    <a:cubicBezTo>
                      <a:pt x="476" y="467"/>
                      <a:pt x="503" y="445"/>
                      <a:pt x="529" y="422"/>
                    </a:cubicBezTo>
                    <a:close/>
                    <a:moveTo>
                      <a:pt x="363" y="642"/>
                    </a:moveTo>
                    <a:cubicBezTo>
                      <a:pt x="424" y="733"/>
                      <a:pt x="503" y="838"/>
                      <a:pt x="587" y="952"/>
                    </a:cubicBezTo>
                    <a:cubicBezTo>
                      <a:pt x="569" y="956"/>
                      <a:pt x="547" y="969"/>
                      <a:pt x="534" y="973"/>
                    </a:cubicBezTo>
                    <a:cubicBezTo>
                      <a:pt x="512" y="978"/>
                      <a:pt x="494" y="978"/>
                      <a:pt x="476" y="978"/>
                    </a:cubicBezTo>
                    <a:cubicBezTo>
                      <a:pt x="460" y="978"/>
                      <a:pt x="446" y="973"/>
                      <a:pt x="433" y="969"/>
                    </a:cubicBezTo>
                    <a:cubicBezTo>
                      <a:pt x="407" y="961"/>
                      <a:pt x="377" y="939"/>
                      <a:pt x="359" y="908"/>
                    </a:cubicBezTo>
                    <a:cubicBezTo>
                      <a:pt x="315" y="851"/>
                      <a:pt x="302" y="785"/>
                      <a:pt x="329" y="707"/>
                    </a:cubicBezTo>
                    <a:cubicBezTo>
                      <a:pt x="333" y="685"/>
                      <a:pt x="355" y="664"/>
                      <a:pt x="363" y="642"/>
                    </a:cubicBezTo>
                    <a:close/>
                    <a:moveTo>
                      <a:pt x="1286" y="1027"/>
                    </a:moveTo>
                    <a:cubicBezTo>
                      <a:pt x="1295" y="1027"/>
                      <a:pt x="1303" y="1028"/>
                      <a:pt x="1311" y="1031"/>
                    </a:cubicBezTo>
                    <a:cubicBezTo>
                      <a:pt x="1382" y="1039"/>
                      <a:pt x="1456" y="1100"/>
                      <a:pt x="1482" y="1170"/>
                    </a:cubicBezTo>
                    <a:cubicBezTo>
                      <a:pt x="1513" y="1227"/>
                      <a:pt x="1509" y="1310"/>
                      <a:pt x="1486" y="1384"/>
                    </a:cubicBezTo>
                    <a:cubicBezTo>
                      <a:pt x="1408" y="1279"/>
                      <a:pt x="1321" y="1162"/>
                      <a:pt x="1224" y="1035"/>
                    </a:cubicBezTo>
                    <a:cubicBezTo>
                      <a:pt x="1245" y="1032"/>
                      <a:pt x="1266" y="1027"/>
                      <a:pt x="1286" y="1027"/>
                    </a:cubicBezTo>
                    <a:close/>
                    <a:moveTo>
                      <a:pt x="1053" y="1104"/>
                    </a:moveTo>
                    <a:cubicBezTo>
                      <a:pt x="1180" y="1262"/>
                      <a:pt x="1303" y="1406"/>
                      <a:pt x="1408" y="1524"/>
                    </a:cubicBezTo>
                    <a:cubicBezTo>
                      <a:pt x="1386" y="1555"/>
                      <a:pt x="1373" y="1594"/>
                      <a:pt x="1347" y="1620"/>
                    </a:cubicBezTo>
                    <a:cubicBezTo>
                      <a:pt x="1342" y="1624"/>
                      <a:pt x="1338" y="1629"/>
                      <a:pt x="1333" y="1638"/>
                    </a:cubicBezTo>
                    <a:cubicBezTo>
                      <a:pt x="1233" y="1498"/>
                      <a:pt x="1111" y="1332"/>
                      <a:pt x="970" y="1152"/>
                    </a:cubicBezTo>
                    <a:cubicBezTo>
                      <a:pt x="992" y="1140"/>
                      <a:pt x="1015" y="1126"/>
                      <a:pt x="1037" y="1114"/>
                    </a:cubicBezTo>
                    <a:cubicBezTo>
                      <a:pt x="1041" y="1109"/>
                      <a:pt x="1045" y="1109"/>
                      <a:pt x="1053" y="1104"/>
                    </a:cubicBezTo>
                    <a:close/>
                    <a:moveTo>
                      <a:pt x="290" y="1"/>
                    </a:moveTo>
                    <a:cubicBezTo>
                      <a:pt x="288" y="1"/>
                      <a:pt x="286" y="1"/>
                      <a:pt x="285" y="3"/>
                    </a:cubicBezTo>
                    <a:cubicBezTo>
                      <a:pt x="267" y="12"/>
                      <a:pt x="315" y="104"/>
                      <a:pt x="403" y="235"/>
                    </a:cubicBezTo>
                    <a:cubicBezTo>
                      <a:pt x="363" y="261"/>
                      <a:pt x="324" y="275"/>
                      <a:pt x="280" y="305"/>
                    </a:cubicBezTo>
                    <a:cubicBezTo>
                      <a:pt x="272" y="313"/>
                      <a:pt x="258" y="327"/>
                      <a:pt x="250" y="340"/>
                    </a:cubicBezTo>
                    <a:cubicBezTo>
                      <a:pt x="217" y="311"/>
                      <a:pt x="194" y="294"/>
                      <a:pt x="179" y="294"/>
                    </a:cubicBezTo>
                    <a:cubicBezTo>
                      <a:pt x="176" y="294"/>
                      <a:pt x="173" y="295"/>
                      <a:pt x="171" y="297"/>
                    </a:cubicBezTo>
                    <a:cubicBezTo>
                      <a:pt x="162" y="305"/>
                      <a:pt x="175" y="335"/>
                      <a:pt x="202" y="388"/>
                    </a:cubicBezTo>
                    <a:cubicBezTo>
                      <a:pt x="145" y="445"/>
                      <a:pt x="88" y="511"/>
                      <a:pt x="49" y="602"/>
                    </a:cubicBezTo>
                    <a:cubicBezTo>
                      <a:pt x="22" y="672"/>
                      <a:pt x="0" y="747"/>
                      <a:pt x="4" y="838"/>
                    </a:cubicBezTo>
                    <a:cubicBezTo>
                      <a:pt x="10" y="926"/>
                      <a:pt x="36" y="1013"/>
                      <a:pt x="79" y="1092"/>
                    </a:cubicBezTo>
                    <a:cubicBezTo>
                      <a:pt x="131" y="1166"/>
                      <a:pt x="202" y="1235"/>
                      <a:pt x="298" y="1279"/>
                    </a:cubicBezTo>
                    <a:cubicBezTo>
                      <a:pt x="341" y="1301"/>
                      <a:pt x="394" y="1314"/>
                      <a:pt x="446" y="1323"/>
                    </a:cubicBezTo>
                    <a:cubicBezTo>
                      <a:pt x="466" y="1325"/>
                      <a:pt x="487" y="1326"/>
                      <a:pt x="508" y="1326"/>
                    </a:cubicBezTo>
                    <a:cubicBezTo>
                      <a:pt x="537" y="1326"/>
                      <a:pt x="567" y="1324"/>
                      <a:pt x="595" y="1319"/>
                    </a:cubicBezTo>
                    <a:cubicBezTo>
                      <a:pt x="678" y="1301"/>
                      <a:pt x="748" y="1271"/>
                      <a:pt x="809" y="1241"/>
                    </a:cubicBezTo>
                    <a:cubicBezTo>
                      <a:pt x="962" y="1428"/>
                      <a:pt x="1106" y="1598"/>
                      <a:pt x="1228" y="1729"/>
                    </a:cubicBezTo>
                    <a:cubicBezTo>
                      <a:pt x="1150" y="1791"/>
                      <a:pt x="1075" y="1848"/>
                      <a:pt x="1023" y="1887"/>
                    </a:cubicBezTo>
                    <a:cubicBezTo>
                      <a:pt x="932" y="1949"/>
                      <a:pt x="883" y="1987"/>
                      <a:pt x="892" y="2009"/>
                    </a:cubicBezTo>
                    <a:cubicBezTo>
                      <a:pt x="897" y="2024"/>
                      <a:pt x="918" y="2031"/>
                      <a:pt x="954" y="2031"/>
                    </a:cubicBezTo>
                    <a:cubicBezTo>
                      <a:pt x="984" y="2031"/>
                      <a:pt x="1025" y="2026"/>
                      <a:pt x="1075" y="2014"/>
                    </a:cubicBezTo>
                    <a:cubicBezTo>
                      <a:pt x="1154" y="1996"/>
                      <a:pt x="1263" y="1953"/>
                      <a:pt x="1377" y="1891"/>
                    </a:cubicBezTo>
                    <a:cubicBezTo>
                      <a:pt x="1461" y="1972"/>
                      <a:pt x="1516" y="2015"/>
                      <a:pt x="1538" y="2015"/>
                    </a:cubicBezTo>
                    <a:cubicBezTo>
                      <a:pt x="1540" y="2015"/>
                      <a:pt x="1542" y="2014"/>
                      <a:pt x="1543" y="2014"/>
                    </a:cubicBezTo>
                    <a:cubicBezTo>
                      <a:pt x="1557" y="2001"/>
                      <a:pt x="1525" y="1939"/>
                      <a:pt x="1464" y="1838"/>
                    </a:cubicBezTo>
                    <a:cubicBezTo>
                      <a:pt x="1486" y="1826"/>
                      <a:pt x="1499" y="1822"/>
                      <a:pt x="1521" y="1808"/>
                    </a:cubicBezTo>
                    <a:cubicBezTo>
                      <a:pt x="1547" y="1786"/>
                      <a:pt x="1569" y="1756"/>
                      <a:pt x="1596" y="1729"/>
                    </a:cubicBezTo>
                    <a:cubicBezTo>
                      <a:pt x="1695" y="1833"/>
                      <a:pt x="1762" y="1893"/>
                      <a:pt x="1786" y="1893"/>
                    </a:cubicBezTo>
                    <a:cubicBezTo>
                      <a:pt x="1789" y="1893"/>
                      <a:pt x="1791" y="1892"/>
                      <a:pt x="1793" y="1891"/>
                    </a:cubicBezTo>
                    <a:cubicBezTo>
                      <a:pt x="1810" y="1878"/>
                      <a:pt x="1761" y="1786"/>
                      <a:pt x="1670" y="1646"/>
                    </a:cubicBezTo>
                    <a:cubicBezTo>
                      <a:pt x="1700" y="1608"/>
                      <a:pt x="1727" y="1568"/>
                      <a:pt x="1753" y="1520"/>
                    </a:cubicBezTo>
                    <a:cubicBezTo>
                      <a:pt x="1814" y="1398"/>
                      <a:pt x="1854" y="1231"/>
                      <a:pt x="1793" y="1052"/>
                    </a:cubicBezTo>
                    <a:cubicBezTo>
                      <a:pt x="1731" y="882"/>
                      <a:pt x="1587" y="737"/>
                      <a:pt x="1390" y="690"/>
                    </a:cubicBezTo>
                    <a:cubicBezTo>
                      <a:pt x="1338" y="676"/>
                      <a:pt x="1285" y="672"/>
                      <a:pt x="1237" y="672"/>
                    </a:cubicBezTo>
                    <a:cubicBezTo>
                      <a:pt x="1184" y="676"/>
                      <a:pt x="1137" y="685"/>
                      <a:pt x="1093" y="698"/>
                    </a:cubicBezTo>
                    <a:cubicBezTo>
                      <a:pt x="1053" y="711"/>
                      <a:pt x="1023" y="729"/>
                      <a:pt x="988" y="747"/>
                    </a:cubicBezTo>
                    <a:cubicBezTo>
                      <a:pt x="861" y="589"/>
                      <a:pt x="739" y="449"/>
                      <a:pt x="639" y="331"/>
                    </a:cubicBezTo>
                    <a:cubicBezTo>
                      <a:pt x="691" y="291"/>
                      <a:pt x="739" y="257"/>
                      <a:pt x="783" y="231"/>
                    </a:cubicBezTo>
                    <a:cubicBezTo>
                      <a:pt x="870" y="166"/>
                      <a:pt x="914" y="121"/>
                      <a:pt x="905" y="99"/>
                    </a:cubicBezTo>
                    <a:cubicBezTo>
                      <a:pt x="901" y="88"/>
                      <a:pt x="883" y="83"/>
                      <a:pt x="853" y="83"/>
                    </a:cubicBezTo>
                    <a:cubicBezTo>
                      <a:pt x="823" y="83"/>
                      <a:pt x="781" y="88"/>
                      <a:pt x="726" y="99"/>
                    </a:cubicBezTo>
                    <a:cubicBezTo>
                      <a:pt x="669" y="113"/>
                      <a:pt x="603" y="134"/>
                      <a:pt x="529" y="166"/>
                    </a:cubicBezTo>
                    <a:cubicBezTo>
                      <a:pt x="521" y="170"/>
                      <a:pt x="508" y="178"/>
                      <a:pt x="498" y="182"/>
                    </a:cubicBezTo>
                    <a:cubicBezTo>
                      <a:pt x="392" y="72"/>
                      <a:pt x="314" y="1"/>
                      <a:pt x="290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3" name="Google Shape;2811;p46">
                <a:extLst>
                  <a:ext uri="{FF2B5EF4-FFF2-40B4-BE49-F238E27FC236}">
                    <a16:creationId xmlns:a16="http://schemas.microsoft.com/office/drawing/2014/main" id="{730EC19B-C4C8-8AEF-E303-A9C75373D1F4}"/>
                  </a:ext>
                </a:extLst>
              </p:cNvPr>
              <p:cNvSpPr/>
              <p:nvPr/>
            </p:nvSpPr>
            <p:spPr>
              <a:xfrm>
                <a:off x="2700128" y="1258825"/>
                <a:ext cx="302900" cy="276785"/>
              </a:xfrm>
              <a:custGeom>
                <a:avLst/>
                <a:gdLst/>
                <a:ahLst/>
                <a:cxnLst/>
                <a:rect l="l" t="t" r="r" b="b"/>
                <a:pathLst>
                  <a:path w="8212" h="7504" extrusionOk="0">
                    <a:moveTo>
                      <a:pt x="6123" y="179"/>
                    </a:moveTo>
                    <a:lnTo>
                      <a:pt x="8090" y="2504"/>
                    </a:lnTo>
                    <a:cubicBezTo>
                      <a:pt x="7251" y="4309"/>
                      <a:pt x="5573" y="5340"/>
                      <a:pt x="4379" y="5673"/>
                    </a:cubicBezTo>
                    <a:cubicBezTo>
                      <a:pt x="3318" y="5974"/>
                      <a:pt x="2159" y="7106"/>
                      <a:pt x="1923" y="7347"/>
                    </a:cubicBezTo>
                    <a:lnTo>
                      <a:pt x="123" y="5144"/>
                    </a:lnTo>
                    <a:cubicBezTo>
                      <a:pt x="660" y="3859"/>
                      <a:pt x="2636" y="3046"/>
                      <a:pt x="3942" y="2508"/>
                    </a:cubicBezTo>
                    <a:cubicBezTo>
                      <a:pt x="4173" y="2413"/>
                      <a:pt x="4393" y="2321"/>
                      <a:pt x="4580" y="2238"/>
                    </a:cubicBezTo>
                    <a:cubicBezTo>
                      <a:pt x="4803" y="2141"/>
                      <a:pt x="4996" y="2014"/>
                      <a:pt x="5157" y="1875"/>
                    </a:cubicBezTo>
                    <a:cubicBezTo>
                      <a:pt x="5742" y="1377"/>
                      <a:pt x="5983" y="709"/>
                      <a:pt x="6053" y="477"/>
                    </a:cubicBezTo>
                    <a:cubicBezTo>
                      <a:pt x="6065" y="437"/>
                      <a:pt x="6105" y="302"/>
                      <a:pt x="6123" y="179"/>
                    </a:cubicBezTo>
                    <a:close/>
                    <a:moveTo>
                      <a:pt x="6105" y="1"/>
                    </a:moveTo>
                    <a:lnTo>
                      <a:pt x="6018" y="57"/>
                    </a:lnTo>
                    <a:cubicBezTo>
                      <a:pt x="6061" y="175"/>
                      <a:pt x="5769" y="1595"/>
                      <a:pt x="4536" y="2141"/>
                    </a:cubicBezTo>
                    <a:cubicBezTo>
                      <a:pt x="4353" y="2224"/>
                      <a:pt x="4135" y="2316"/>
                      <a:pt x="3903" y="2408"/>
                    </a:cubicBezTo>
                    <a:cubicBezTo>
                      <a:pt x="2977" y="2793"/>
                      <a:pt x="1718" y="3309"/>
                      <a:pt x="857" y="4043"/>
                    </a:cubicBezTo>
                    <a:cubicBezTo>
                      <a:pt x="476" y="4362"/>
                      <a:pt x="175" y="4725"/>
                      <a:pt x="14" y="5135"/>
                    </a:cubicBezTo>
                    <a:lnTo>
                      <a:pt x="0" y="5166"/>
                    </a:lnTo>
                    <a:lnTo>
                      <a:pt x="1914" y="7504"/>
                    </a:lnTo>
                    <a:lnTo>
                      <a:pt x="1958" y="7460"/>
                    </a:lnTo>
                    <a:cubicBezTo>
                      <a:pt x="1971" y="7447"/>
                      <a:pt x="3273" y="6096"/>
                      <a:pt x="4409" y="5778"/>
                    </a:cubicBezTo>
                    <a:cubicBezTo>
                      <a:pt x="5629" y="5432"/>
                      <a:pt x="7350" y="4374"/>
                      <a:pt x="8199" y="2518"/>
                    </a:cubicBezTo>
                    <a:lnTo>
                      <a:pt x="8211" y="2486"/>
                    </a:lnTo>
                    <a:lnTo>
                      <a:pt x="6105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089121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687EA8D-194D-283C-8624-7A5A9BCA65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987" y="396340"/>
            <a:ext cx="7216878" cy="481200"/>
          </a:xfrm>
        </p:spPr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IDENTIFYING THE MISSING VALUES AND REPLACING WITH THE MEDIAN</a:t>
            </a:r>
          </a:p>
        </p:txBody>
      </p:sp>
      <p:pic>
        <p:nvPicPr>
          <p:cNvPr id="6" name="Picture 5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DBD9F9D-AE85-2BF8-35D7-704DF81428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780"/>
          <a:stretch/>
        </p:blipFill>
        <p:spPr>
          <a:xfrm>
            <a:off x="539752" y="1064353"/>
            <a:ext cx="7581694" cy="3810126"/>
          </a:xfrm>
          <a:prstGeom prst="rect">
            <a:avLst/>
          </a:prstGeom>
          <a:ln w="15875">
            <a:solidFill>
              <a:schemeClr val="accent6">
                <a:lumMod val="10000"/>
                <a:alpha val="99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9775570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21EE401-7C74-BAC3-18D6-ABD410C542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67075" y="366844"/>
            <a:ext cx="4688410" cy="481200"/>
          </a:xfrm>
        </p:spPr>
        <p:txBody>
          <a:bodyPr/>
          <a:lstStyle/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ONE HOT ENCOD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1CCC11-4F3A-7DE4-8153-93F685777F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031" y="1067412"/>
            <a:ext cx="4247245" cy="2098573"/>
          </a:xfrm>
          <a:prstGeom prst="rect">
            <a:avLst/>
          </a:prstGeom>
          <a:ln w="12700">
            <a:solidFill>
              <a:schemeClr val="accent6">
                <a:lumMod val="10000"/>
              </a:schemeClr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FADAA58-3709-9156-BC03-E76DD78AF9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5021" y="2864323"/>
            <a:ext cx="4721942" cy="2068956"/>
          </a:xfrm>
          <a:prstGeom prst="rect">
            <a:avLst/>
          </a:prstGeom>
          <a:ln w="12700">
            <a:solidFill>
              <a:schemeClr val="accent6">
                <a:lumMod val="10000"/>
              </a:schemeClr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7D8CC19-E748-908D-662B-C9B535361383}"/>
              </a:ext>
            </a:extLst>
          </p:cNvPr>
          <p:cNvSpPr/>
          <p:nvPr/>
        </p:nvSpPr>
        <p:spPr>
          <a:xfrm>
            <a:off x="5515897" y="2874155"/>
            <a:ext cx="2202426" cy="85227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88592AE-00CD-5D91-53DD-8313AFF62949}"/>
              </a:ext>
            </a:extLst>
          </p:cNvPr>
          <p:cNvSpPr txBox="1"/>
          <p:nvPr/>
        </p:nvSpPr>
        <p:spPr>
          <a:xfrm>
            <a:off x="4616250" y="1386160"/>
            <a:ext cx="435077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b="1" dirty="0"/>
              <a:t>One hot encoding transforms categorical data into numerical -</a:t>
            </a:r>
            <a:r>
              <a:rPr lang="en-US" sz="1500" dirty="0"/>
              <a:t> it transforms strings into numbers so that we can apply our Machine Learning algorithms without any problems.</a:t>
            </a:r>
          </a:p>
        </p:txBody>
      </p:sp>
      <p:sp>
        <p:nvSpPr>
          <p:cNvPr id="16" name="Bent-Up Arrow 15">
            <a:extLst>
              <a:ext uri="{FF2B5EF4-FFF2-40B4-BE49-F238E27FC236}">
                <a16:creationId xmlns:a16="http://schemas.microsoft.com/office/drawing/2014/main" id="{0E529F6E-6EB1-45E0-879B-B5BB54874AE7}"/>
              </a:ext>
            </a:extLst>
          </p:cNvPr>
          <p:cNvSpPr/>
          <p:nvPr/>
        </p:nvSpPr>
        <p:spPr>
          <a:xfrm rot="5400000">
            <a:off x="2007093" y="3357973"/>
            <a:ext cx="842951" cy="1340536"/>
          </a:xfrm>
          <a:prstGeom prst="bentUpArrow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0172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679F5A1-455D-097F-AE91-1119A3C3E4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4015" y="474998"/>
            <a:ext cx="6218396" cy="481200"/>
          </a:xfrm>
        </p:spPr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CREATING DUMMY COLUMNS USING FASTDUMMIES PACKAGE</a:t>
            </a:r>
            <a:b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E0AAB2-C223-1A95-77D2-2C3CF564D1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1578"/>
          <a:stretch/>
        </p:blipFill>
        <p:spPr>
          <a:xfrm>
            <a:off x="243756" y="950658"/>
            <a:ext cx="4269250" cy="1821135"/>
          </a:xfrm>
          <a:prstGeom prst="rect">
            <a:avLst/>
          </a:prstGeom>
          <a:ln w="12700">
            <a:solidFill>
              <a:schemeClr val="accent6">
                <a:lumMod val="10000"/>
              </a:schemeClr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ACE97F7-2F18-4CC3-78C4-7403BC8F47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843" y="2939845"/>
            <a:ext cx="7769942" cy="1981557"/>
          </a:xfrm>
          <a:prstGeom prst="rect">
            <a:avLst/>
          </a:prstGeom>
          <a:ln w="12700">
            <a:solidFill>
              <a:schemeClr val="accent6">
                <a:lumMod val="10000"/>
              </a:schemeClr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17F74F9-5655-68C9-40A6-4821C53DEC1E}"/>
              </a:ext>
            </a:extLst>
          </p:cNvPr>
          <p:cNvSpPr txBox="1"/>
          <p:nvPr/>
        </p:nvSpPr>
        <p:spPr>
          <a:xfrm>
            <a:off x="4630997" y="924512"/>
            <a:ext cx="3765752" cy="19236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Created dummy columns for </a:t>
            </a:r>
            <a:r>
              <a:rPr lang="en-US" sz="1000" dirty="0"/>
              <a:t>NAME_INCOME_TYPE,</a:t>
            </a:r>
            <a:br>
              <a:rPr lang="en-US" sz="1000" dirty="0"/>
            </a:br>
            <a:r>
              <a:rPr lang="en-US" sz="1000" dirty="0"/>
              <a:t>NAME_EDUCATION_TYPE, NAME_FAMILY_STATUS,</a:t>
            </a:r>
            <a:br>
              <a:rPr lang="en-US" sz="1000" dirty="0"/>
            </a:br>
            <a:r>
              <a:rPr lang="en-US" sz="1000" dirty="0"/>
              <a:t>NAME_HOUSING_TYPE, OCCUPATION_TYP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using the </a:t>
            </a:r>
            <a:r>
              <a:rPr lang="en-US" sz="1100" dirty="0">
                <a:solidFill>
                  <a:srgbClr val="C00000"/>
                </a:solidFill>
              </a:rPr>
              <a:t>fast Dummies </a:t>
            </a:r>
            <a:r>
              <a:rPr lang="en-US" sz="1100" dirty="0"/>
              <a:t>packa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This is done for columns with more than two categori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After the dummy columns are created, the original columns are deleted.</a:t>
            </a:r>
          </a:p>
        </p:txBody>
      </p:sp>
    </p:spTree>
    <p:extLst>
      <p:ext uri="{BB962C8B-B14F-4D97-AF65-F5344CB8AC3E}">
        <p14:creationId xmlns:p14="http://schemas.microsoft.com/office/powerpoint/2010/main" val="15598152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BC2BB19-1420-0832-5E93-A0ED454972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BC2BB19-1420-0832-5E93-A0ED45497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8" name="Google Shape;698;p31"/>
          <p:cNvSpPr txBox="1">
            <a:spLocks noGrp="1"/>
          </p:cNvSpPr>
          <p:nvPr>
            <p:ph type="ctrTitle"/>
          </p:nvPr>
        </p:nvSpPr>
        <p:spPr>
          <a:xfrm>
            <a:off x="1462202" y="1855049"/>
            <a:ext cx="1745100" cy="1104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>
              <a:buClr>
                <a:srgbClr val="000000"/>
              </a:buClr>
            </a:pPr>
            <a:r>
              <a:rPr lang="en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03. </a:t>
            </a:r>
            <a:br>
              <a:rPr lang="en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lang="en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ATA VISUALIZATION</a:t>
            </a:r>
            <a:endParaRPr sz="18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120EA2A-437B-5829-D7E4-3F6B567549A0}"/>
              </a:ext>
            </a:extLst>
          </p:cNvPr>
          <p:cNvGrpSpPr/>
          <p:nvPr/>
        </p:nvGrpSpPr>
        <p:grpSpPr>
          <a:xfrm>
            <a:off x="4572000" y="1002230"/>
            <a:ext cx="4288736" cy="3139040"/>
            <a:chOff x="4394088" y="1329593"/>
            <a:chExt cx="4740975" cy="3379253"/>
          </a:xfrm>
        </p:grpSpPr>
        <p:grpSp>
          <p:nvGrpSpPr>
            <p:cNvPr id="700" name="Google Shape;700;p31"/>
            <p:cNvGrpSpPr/>
            <p:nvPr/>
          </p:nvGrpSpPr>
          <p:grpSpPr>
            <a:xfrm>
              <a:off x="4394088" y="3149994"/>
              <a:ext cx="1221060" cy="1220197"/>
              <a:chOff x="4394088" y="3299519"/>
              <a:chExt cx="1221060" cy="1220197"/>
            </a:xfrm>
          </p:grpSpPr>
          <p:sp>
            <p:nvSpPr>
              <p:cNvPr id="701" name="Google Shape;701;p31"/>
              <p:cNvSpPr/>
              <p:nvPr/>
            </p:nvSpPr>
            <p:spPr>
              <a:xfrm>
                <a:off x="5004504" y="3380350"/>
                <a:ext cx="610644" cy="1139359"/>
              </a:xfrm>
              <a:custGeom>
                <a:avLst/>
                <a:gdLst/>
                <a:ahLst/>
                <a:cxnLst/>
                <a:rect l="l" t="t" r="r" b="b"/>
                <a:pathLst>
                  <a:path w="15540" h="28995" extrusionOk="0">
                    <a:moveTo>
                      <a:pt x="7768" y="1"/>
                    </a:moveTo>
                    <a:lnTo>
                      <a:pt x="5740" y="3515"/>
                    </a:lnTo>
                    <a:cubicBezTo>
                      <a:pt x="9175" y="5492"/>
                      <a:pt x="11486" y="9203"/>
                      <a:pt x="11486" y="13457"/>
                    </a:cubicBezTo>
                    <a:cubicBezTo>
                      <a:pt x="11486" y="19799"/>
                      <a:pt x="6343" y="24939"/>
                      <a:pt x="1" y="24939"/>
                    </a:cubicBezTo>
                    <a:lnTo>
                      <a:pt x="1" y="28995"/>
                    </a:lnTo>
                    <a:cubicBezTo>
                      <a:pt x="8579" y="28995"/>
                      <a:pt x="15539" y="22035"/>
                      <a:pt x="15539" y="13457"/>
                    </a:cubicBezTo>
                    <a:cubicBezTo>
                      <a:pt x="15539" y="7707"/>
                      <a:pt x="12412" y="2685"/>
                      <a:pt x="776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2" name="Google Shape;702;p31"/>
              <p:cNvSpPr/>
              <p:nvPr/>
            </p:nvSpPr>
            <p:spPr>
              <a:xfrm>
                <a:off x="4394088" y="3909150"/>
                <a:ext cx="610448" cy="610566"/>
              </a:xfrm>
              <a:custGeom>
                <a:avLst/>
                <a:gdLst/>
                <a:ahLst/>
                <a:cxnLst/>
                <a:rect l="l" t="t" r="r" b="b"/>
                <a:pathLst>
                  <a:path w="15535" h="15538" extrusionOk="0">
                    <a:moveTo>
                      <a:pt x="0" y="0"/>
                    </a:moveTo>
                    <a:cubicBezTo>
                      <a:pt x="0" y="4117"/>
                      <a:pt x="1641" y="8076"/>
                      <a:pt x="4551" y="10984"/>
                    </a:cubicBezTo>
                    <a:cubicBezTo>
                      <a:pt x="7462" y="13894"/>
                      <a:pt x="11418" y="15538"/>
                      <a:pt x="15535" y="15538"/>
                    </a:cubicBezTo>
                    <a:lnTo>
                      <a:pt x="15535" y="11482"/>
                    </a:lnTo>
                    <a:cubicBezTo>
                      <a:pt x="9196" y="11482"/>
                      <a:pt x="4053" y="6342"/>
                      <a:pt x="4053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3" name="Google Shape;703;p31"/>
              <p:cNvSpPr/>
              <p:nvPr/>
            </p:nvSpPr>
            <p:spPr>
              <a:xfrm>
                <a:off x="4394088" y="3299519"/>
                <a:ext cx="915691" cy="609662"/>
              </a:xfrm>
              <a:custGeom>
                <a:avLst/>
                <a:gdLst/>
                <a:ahLst/>
                <a:cxnLst/>
                <a:rect l="l" t="t" r="r" b="b"/>
                <a:pathLst>
                  <a:path w="23303" h="15515" extrusionOk="0">
                    <a:moveTo>
                      <a:pt x="15601" y="0"/>
                    </a:moveTo>
                    <a:cubicBezTo>
                      <a:pt x="10214" y="0"/>
                      <a:pt x="4947" y="2787"/>
                      <a:pt x="2078" y="7750"/>
                    </a:cubicBezTo>
                    <a:cubicBezTo>
                      <a:pt x="721" y="10104"/>
                      <a:pt x="0" y="12790"/>
                      <a:pt x="0" y="15514"/>
                    </a:cubicBezTo>
                    <a:lnTo>
                      <a:pt x="4053" y="15514"/>
                    </a:lnTo>
                    <a:cubicBezTo>
                      <a:pt x="4053" y="9168"/>
                      <a:pt x="9196" y="4031"/>
                      <a:pt x="15535" y="4031"/>
                    </a:cubicBezTo>
                    <a:cubicBezTo>
                      <a:pt x="17627" y="4031"/>
                      <a:pt x="19590" y="4588"/>
                      <a:pt x="21274" y="5572"/>
                    </a:cubicBezTo>
                    <a:lnTo>
                      <a:pt x="23302" y="2058"/>
                    </a:lnTo>
                    <a:cubicBezTo>
                      <a:pt x="20882" y="662"/>
                      <a:pt x="18227" y="0"/>
                      <a:pt x="1560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682" name="Google Shape;682;p31"/>
            <p:cNvGrpSpPr/>
            <p:nvPr/>
          </p:nvGrpSpPr>
          <p:grpSpPr>
            <a:xfrm>
              <a:off x="4534350" y="4313399"/>
              <a:ext cx="4600713" cy="150450"/>
              <a:chOff x="0" y="4397412"/>
              <a:chExt cx="4600713" cy="150450"/>
            </a:xfrm>
          </p:grpSpPr>
          <p:sp>
            <p:nvSpPr>
              <p:cNvPr id="683" name="Google Shape;683;p31"/>
              <p:cNvSpPr/>
              <p:nvPr/>
            </p:nvSpPr>
            <p:spPr>
              <a:xfrm>
                <a:off x="0" y="4397412"/>
                <a:ext cx="4600713" cy="2416"/>
              </a:xfrm>
              <a:custGeom>
                <a:avLst/>
                <a:gdLst/>
                <a:ahLst/>
                <a:cxnLst/>
                <a:rect l="l" t="t" r="r" b="b"/>
                <a:pathLst>
                  <a:path w="131402" h="69" extrusionOk="0">
                    <a:moveTo>
                      <a:pt x="0" y="1"/>
                    </a:moveTo>
                    <a:lnTo>
                      <a:pt x="0" y="69"/>
                    </a:lnTo>
                    <a:lnTo>
                      <a:pt x="131401" y="69"/>
                    </a:lnTo>
                    <a:lnTo>
                      <a:pt x="131401" y="1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4" name="Google Shape;684;p31"/>
              <p:cNvSpPr/>
              <p:nvPr/>
            </p:nvSpPr>
            <p:spPr>
              <a:xfrm>
                <a:off x="755786" y="4545586"/>
                <a:ext cx="305519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8726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8726" y="65"/>
                    </a:lnTo>
                    <a:lnTo>
                      <a:pt x="8726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5" name="Google Shape;685;p31"/>
              <p:cNvSpPr/>
              <p:nvPr/>
            </p:nvSpPr>
            <p:spPr>
              <a:xfrm>
                <a:off x="1619552" y="4536412"/>
                <a:ext cx="497808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14218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14217" y="65"/>
                    </a:lnTo>
                    <a:lnTo>
                      <a:pt x="14217" y="0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6" name="Google Shape;686;p31"/>
              <p:cNvSpPr/>
              <p:nvPr/>
            </p:nvSpPr>
            <p:spPr>
              <a:xfrm>
                <a:off x="1070481" y="4460119"/>
                <a:ext cx="175833" cy="2311"/>
              </a:xfrm>
              <a:custGeom>
                <a:avLst/>
                <a:gdLst/>
                <a:ahLst/>
                <a:cxnLst/>
                <a:rect l="l" t="t" r="r" b="b"/>
                <a:pathLst>
                  <a:path w="5022" h="66" extrusionOk="0">
                    <a:moveTo>
                      <a:pt x="1" y="1"/>
                    </a:moveTo>
                    <a:lnTo>
                      <a:pt x="1" y="65"/>
                    </a:lnTo>
                    <a:lnTo>
                      <a:pt x="5022" y="65"/>
                    </a:lnTo>
                    <a:lnTo>
                      <a:pt x="5022" y="1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7" name="Google Shape;687;p31"/>
              <p:cNvSpPr/>
              <p:nvPr/>
            </p:nvSpPr>
            <p:spPr>
              <a:xfrm>
                <a:off x="2732853" y="4514424"/>
                <a:ext cx="418259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11946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11946" y="65"/>
                    </a:lnTo>
                    <a:lnTo>
                      <a:pt x="11946" y="0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688" name="Google Shape;688;p31"/>
            <p:cNvGrpSpPr/>
            <p:nvPr/>
          </p:nvGrpSpPr>
          <p:grpSpPr>
            <a:xfrm>
              <a:off x="5215723" y="1329593"/>
              <a:ext cx="3081703" cy="2757573"/>
              <a:chOff x="5215723" y="1479118"/>
              <a:chExt cx="3081703" cy="2757573"/>
            </a:xfrm>
          </p:grpSpPr>
          <p:grpSp>
            <p:nvGrpSpPr>
              <p:cNvPr id="689" name="Google Shape;689;p31"/>
              <p:cNvGrpSpPr/>
              <p:nvPr/>
            </p:nvGrpSpPr>
            <p:grpSpPr>
              <a:xfrm>
                <a:off x="5215723" y="1707350"/>
                <a:ext cx="3081703" cy="2529341"/>
                <a:chOff x="5150194" y="1591500"/>
                <a:chExt cx="3081703" cy="2529341"/>
              </a:xfrm>
            </p:grpSpPr>
            <p:sp>
              <p:nvSpPr>
                <p:cNvPr id="690" name="Google Shape;690;p31"/>
                <p:cNvSpPr/>
                <p:nvPr/>
              </p:nvSpPr>
              <p:spPr>
                <a:xfrm>
                  <a:off x="5150194" y="1591500"/>
                  <a:ext cx="1147444" cy="25293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540" h="64368" extrusionOk="0">
                      <a:moveTo>
                        <a:pt x="45240" y="58"/>
                      </a:moveTo>
                      <a:cubicBezTo>
                        <a:pt x="45926" y="58"/>
                        <a:pt x="46482" y="614"/>
                        <a:pt x="46482" y="1299"/>
                      </a:cubicBezTo>
                      <a:lnTo>
                        <a:pt x="46482" y="63068"/>
                      </a:lnTo>
                      <a:cubicBezTo>
                        <a:pt x="46482" y="63753"/>
                        <a:pt x="45926" y="64310"/>
                        <a:pt x="45240" y="64310"/>
                      </a:cubicBezTo>
                      <a:lnTo>
                        <a:pt x="1299" y="64310"/>
                      </a:lnTo>
                      <a:cubicBezTo>
                        <a:pt x="615" y="64310"/>
                        <a:pt x="58" y="63753"/>
                        <a:pt x="58" y="63068"/>
                      </a:cubicBezTo>
                      <a:lnTo>
                        <a:pt x="58" y="1299"/>
                      </a:lnTo>
                      <a:cubicBezTo>
                        <a:pt x="58" y="614"/>
                        <a:pt x="615" y="58"/>
                        <a:pt x="1299" y="58"/>
                      </a:cubicBezTo>
                      <a:close/>
                      <a:moveTo>
                        <a:pt x="1299" y="0"/>
                      </a:moveTo>
                      <a:cubicBezTo>
                        <a:pt x="582" y="0"/>
                        <a:pt x="0" y="582"/>
                        <a:pt x="0" y="1299"/>
                      </a:cubicBezTo>
                      <a:lnTo>
                        <a:pt x="0" y="63068"/>
                      </a:lnTo>
                      <a:cubicBezTo>
                        <a:pt x="0" y="63786"/>
                        <a:pt x="582" y="64368"/>
                        <a:pt x="1299" y="64368"/>
                      </a:cubicBezTo>
                      <a:lnTo>
                        <a:pt x="45240" y="64368"/>
                      </a:lnTo>
                      <a:cubicBezTo>
                        <a:pt x="45958" y="64368"/>
                        <a:pt x="46539" y="63786"/>
                        <a:pt x="46539" y="63068"/>
                      </a:cubicBezTo>
                      <a:lnTo>
                        <a:pt x="46539" y="1299"/>
                      </a:lnTo>
                      <a:cubicBezTo>
                        <a:pt x="46539" y="582"/>
                        <a:pt x="45958" y="0"/>
                        <a:pt x="45240" y="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1" name="Google Shape;691;p31"/>
                <p:cNvSpPr/>
                <p:nvPr/>
              </p:nvSpPr>
              <p:spPr>
                <a:xfrm>
                  <a:off x="6402990" y="1591500"/>
                  <a:ext cx="1828907" cy="25293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543" h="64368" extrusionOk="0">
                      <a:moveTo>
                        <a:pt x="45243" y="58"/>
                      </a:moveTo>
                      <a:cubicBezTo>
                        <a:pt x="45928" y="58"/>
                        <a:pt x="46485" y="614"/>
                        <a:pt x="46485" y="1299"/>
                      </a:cubicBezTo>
                      <a:lnTo>
                        <a:pt x="46485" y="63068"/>
                      </a:lnTo>
                      <a:cubicBezTo>
                        <a:pt x="46485" y="63753"/>
                        <a:pt x="45928" y="64310"/>
                        <a:pt x="45243" y="64310"/>
                      </a:cubicBezTo>
                      <a:lnTo>
                        <a:pt x="1299" y="64310"/>
                      </a:lnTo>
                      <a:cubicBezTo>
                        <a:pt x="617" y="64310"/>
                        <a:pt x="57" y="63753"/>
                        <a:pt x="57" y="63068"/>
                      </a:cubicBezTo>
                      <a:lnTo>
                        <a:pt x="57" y="1299"/>
                      </a:lnTo>
                      <a:cubicBezTo>
                        <a:pt x="57" y="614"/>
                        <a:pt x="617" y="58"/>
                        <a:pt x="1299" y="58"/>
                      </a:cubicBezTo>
                      <a:close/>
                      <a:moveTo>
                        <a:pt x="1299" y="0"/>
                      </a:moveTo>
                      <a:cubicBezTo>
                        <a:pt x="585" y="0"/>
                        <a:pt x="0" y="582"/>
                        <a:pt x="0" y="1299"/>
                      </a:cubicBezTo>
                      <a:lnTo>
                        <a:pt x="0" y="63068"/>
                      </a:lnTo>
                      <a:cubicBezTo>
                        <a:pt x="0" y="63786"/>
                        <a:pt x="585" y="64368"/>
                        <a:pt x="1299" y="64368"/>
                      </a:cubicBezTo>
                      <a:lnTo>
                        <a:pt x="45243" y="64368"/>
                      </a:lnTo>
                      <a:cubicBezTo>
                        <a:pt x="45961" y="64368"/>
                        <a:pt x="46542" y="63786"/>
                        <a:pt x="46542" y="63068"/>
                      </a:cubicBezTo>
                      <a:lnTo>
                        <a:pt x="46542" y="1299"/>
                      </a:lnTo>
                      <a:cubicBezTo>
                        <a:pt x="46542" y="582"/>
                        <a:pt x="45961" y="0"/>
                        <a:pt x="45243" y="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692" name="Google Shape;692;p31"/>
              <p:cNvGrpSpPr/>
              <p:nvPr/>
            </p:nvGrpSpPr>
            <p:grpSpPr>
              <a:xfrm>
                <a:off x="5723516" y="1479118"/>
                <a:ext cx="2288423" cy="1787926"/>
                <a:chOff x="5723516" y="1479118"/>
                <a:chExt cx="2288423" cy="1787926"/>
              </a:xfrm>
            </p:grpSpPr>
            <p:sp>
              <p:nvSpPr>
                <p:cNvPr id="693" name="Google Shape;693;p31"/>
                <p:cNvSpPr/>
                <p:nvPr/>
              </p:nvSpPr>
              <p:spPr>
                <a:xfrm>
                  <a:off x="5723516" y="1479118"/>
                  <a:ext cx="2288423" cy="2912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237" h="7413" extrusionOk="0">
                      <a:moveTo>
                        <a:pt x="1756" y="1"/>
                      </a:moveTo>
                      <a:cubicBezTo>
                        <a:pt x="791" y="1"/>
                        <a:pt x="1" y="794"/>
                        <a:pt x="1" y="1760"/>
                      </a:cubicBezTo>
                      <a:lnTo>
                        <a:pt x="1" y="7413"/>
                      </a:lnTo>
                      <a:lnTo>
                        <a:pt x="58237" y="7413"/>
                      </a:lnTo>
                      <a:lnTo>
                        <a:pt x="58237" y="1760"/>
                      </a:lnTo>
                      <a:cubicBezTo>
                        <a:pt x="58237" y="794"/>
                        <a:pt x="57448" y="1"/>
                        <a:pt x="56482" y="1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4" name="Google Shape;694;p31"/>
                <p:cNvSpPr/>
                <p:nvPr/>
              </p:nvSpPr>
              <p:spPr>
                <a:xfrm>
                  <a:off x="6229445" y="1572681"/>
                  <a:ext cx="104407" cy="1043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7" h="2656" extrusionOk="0">
                      <a:moveTo>
                        <a:pt x="1329" y="0"/>
                      </a:moveTo>
                      <a:cubicBezTo>
                        <a:pt x="597" y="0"/>
                        <a:pt x="1" y="595"/>
                        <a:pt x="1" y="1328"/>
                      </a:cubicBezTo>
                      <a:cubicBezTo>
                        <a:pt x="1" y="2060"/>
                        <a:pt x="597" y="2656"/>
                        <a:pt x="1329" y="2656"/>
                      </a:cubicBezTo>
                      <a:cubicBezTo>
                        <a:pt x="2065" y="2656"/>
                        <a:pt x="2656" y="2060"/>
                        <a:pt x="2656" y="1328"/>
                      </a:cubicBezTo>
                      <a:cubicBezTo>
                        <a:pt x="2656" y="595"/>
                        <a:pt x="2065" y="0"/>
                        <a:pt x="1329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5" name="Google Shape;695;p31"/>
                <p:cNvSpPr/>
                <p:nvPr/>
              </p:nvSpPr>
              <p:spPr>
                <a:xfrm>
                  <a:off x="6044560" y="1572681"/>
                  <a:ext cx="104407" cy="1043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7" h="2656" extrusionOk="0">
                      <a:moveTo>
                        <a:pt x="1328" y="0"/>
                      </a:moveTo>
                      <a:cubicBezTo>
                        <a:pt x="596" y="0"/>
                        <a:pt x="0" y="595"/>
                        <a:pt x="0" y="1328"/>
                      </a:cubicBezTo>
                      <a:cubicBezTo>
                        <a:pt x="0" y="2060"/>
                        <a:pt x="596" y="2656"/>
                        <a:pt x="1328" y="2656"/>
                      </a:cubicBezTo>
                      <a:cubicBezTo>
                        <a:pt x="2060" y="2656"/>
                        <a:pt x="2656" y="2060"/>
                        <a:pt x="2656" y="1328"/>
                      </a:cubicBezTo>
                      <a:cubicBezTo>
                        <a:pt x="2656" y="595"/>
                        <a:pt x="2060" y="0"/>
                        <a:pt x="1328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6" name="Google Shape;696;p31"/>
                <p:cNvSpPr/>
                <p:nvPr/>
              </p:nvSpPr>
              <p:spPr>
                <a:xfrm>
                  <a:off x="5859635" y="1572681"/>
                  <a:ext cx="104407" cy="1043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7" h="2656" extrusionOk="0">
                      <a:moveTo>
                        <a:pt x="1329" y="0"/>
                      </a:moveTo>
                      <a:cubicBezTo>
                        <a:pt x="593" y="0"/>
                        <a:pt x="0" y="595"/>
                        <a:pt x="0" y="1328"/>
                      </a:cubicBezTo>
                      <a:cubicBezTo>
                        <a:pt x="0" y="2060"/>
                        <a:pt x="593" y="2656"/>
                        <a:pt x="1329" y="2656"/>
                      </a:cubicBezTo>
                      <a:cubicBezTo>
                        <a:pt x="2061" y="2656"/>
                        <a:pt x="2656" y="2060"/>
                        <a:pt x="2656" y="1328"/>
                      </a:cubicBezTo>
                      <a:cubicBezTo>
                        <a:pt x="2656" y="595"/>
                        <a:pt x="2061" y="0"/>
                        <a:pt x="1329" y="0"/>
                      </a:cubicBezTo>
                      <a:close/>
                    </a:path>
                  </a:pathLst>
                </a:custGeom>
                <a:solidFill>
                  <a:schemeClr val="lt1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7" name="Google Shape;697;p31"/>
                <p:cNvSpPr/>
                <p:nvPr/>
              </p:nvSpPr>
              <p:spPr>
                <a:xfrm>
                  <a:off x="5723516" y="1770377"/>
                  <a:ext cx="2288423" cy="149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237" h="38088" extrusionOk="0">
                      <a:moveTo>
                        <a:pt x="1" y="1"/>
                      </a:moveTo>
                      <a:lnTo>
                        <a:pt x="1" y="36332"/>
                      </a:lnTo>
                      <a:cubicBezTo>
                        <a:pt x="1" y="37297"/>
                        <a:pt x="791" y="38087"/>
                        <a:pt x="1756" y="38087"/>
                      </a:cubicBezTo>
                      <a:lnTo>
                        <a:pt x="56482" y="38087"/>
                      </a:lnTo>
                      <a:cubicBezTo>
                        <a:pt x="57448" y="38087"/>
                        <a:pt x="58237" y="37297"/>
                        <a:pt x="58237" y="36332"/>
                      </a:cubicBezTo>
                      <a:lnTo>
                        <a:pt x="58237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sp>
          <p:nvSpPr>
            <p:cNvPr id="704" name="Google Shape;704;p31"/>
            <p:cNvSpPr/>
            <p:nvPr/>
          </p:nvSpPr>
          <p:spPr>
            <a:xfrm>
              <a:off x="4670099" y="3237152"/>
              <a:ext cx="2593" cy="5973"/>
            </a:xfrm>
            <a:custGeom>
              <a:avLst/>
              <a:gdLst/>
              <a:ahLst/>
              <a:cxnLst/>
              <a:rect l="l" t="t" r="r" b="b"/>
              <a:pathLst>
                <a:path w="66" h="152" extrusionOk="0">
                  <a:moveTo>
                    <a:pt x="65" y="1"/>
                  </a:moveTo>
                  <a:cubicBezTo>
                    <a:pt x="54" y="1"/>
                    <a:pt x="40" y="4"/>
                    <a:pt x="29" y="12"/>
                  </a:cubicBezTo>
                  <a:cubicBezTo>
                    <a:pt x="4" y="30"/>
                    <a:pt x="0" y="65"/>
                    <a:pt x="19" y="90"/>
                  </a:cubicBezTo>
                  <a:cubicBezTo>
                    <a:pt x="32" y="112"/>
                    <a:pt x="50" y="130"/>
                    <a:pt x="65" y="152"/>
                  </a:cubicBezTo>
                  <a:lnTo>
                    <a:pt x="6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" name="Google Shape;705;p31"/>
            <p:cNvSpPr/>
            <p:nvPr/>
          </p:nvSpPr>
          <p:spPr>
            <a:xfrm>
              <a:off x="8052890" y="3127164"/>
              <a:ext cx="2554" cy="4951"/>
            </a:xfrm>
            <a:custGeom>
              <a:avLst/>
              <a:gdLst/>
              <a:ahLst/>
              <a:cxnLst/>
              <a:rect l="l" t="t" r="r" b="b"/>
              <a:pathLst>
                <a:path w="65" h="126" extrusionOk="0">
                  <a:moveTo>
                    <a:pt x="0" y="0"/>
                  </a:moveTo>
                  <a:lnTo>
                    <a:pt x="0" y="126"/>
                  </a:lnTo>
                  <a:cubicBezTo>
                    <a:pt x="18" y="126"/>
                    <a:pt x="36" y="116"/>
                    <a:pt x="47" y="98"/>
                  </a:cubicBezTo>
                  <a:cubicBezTo>
                    <a:pt x="65" y="73"/>
                    <a:pt x="58" y="36"/>
                    <a:pt x="29" y="18"/>
                  </a:cubicBezTo>
                  <a:cubicBezTo>
                    <a:pt x="18" y="15"/>
                    <a:pt x="11" y="8"/>
                    <a:pt x="0" y="0"/>
                  </a:cubicBezTo>
                  <a:close/>
                </a:path>
              </a:pathLst>
            </a:custGeom>
            <a:solidFill>
              <a:srgbClr val="FEFE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" name="Google Shape;706;p31"/>
            <p:cNvSpPr/>
            <p:nvPr/>
          </p:nvSpPr>
          <p:spPr>
            <a:xfrm>
              <a:off x="4670099" y="2168078"/>
              <a:ext cx="2593" cy="4833"/>
            </a:xfrm>
            <a:custGeom>
              <a:avLst/>
              <a:gdLst/>
              <a:ahLst/>
              <a:cxnLst/>
              <a:rect l="l" t="t" r="r" b="b"/>
              <a:pathLst>
                <a:path w="66" h="123" extrusionOk="0">
                  <a:moveTo>
                    <a:pt x="65" y="0"/>
                  </a:moveTo>
                  <a:cubicBezTo>
                    <a:pt x="54" y="4"/>
                    <a:pt x="47" y="7"/>
                    <a:pt x="37" y="15"/>
                  </a:cubicBezTo>
                  <a:cubicBezTo>
                    <a:pt x="11" y="29"/>
                    <a:pt x="0" y="65"/>
                    <a:pt x="15" y="90"/>
                  </a:cubicBezTo>
                  <a:cubicBezTo>
                    <a:pt x="25" y="111"/>
                    <a:pt x="44" y="122"/>
                    <a:pt x="65" y="122"/>
                  </a:cubicBezTo>
                  <a:lnTo>
                    <a:pt x="65" y="0"/>
                  </a:lnTo>
                  <a:close/>
                </a:path>
              </a:pathLst>
            </a:custGeom>
            <a:solidFill>
              <a:srgbClr val="D6E4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" name="Google Shape;707;p31"/>
            <p:cNvSpPr/>
            <p:nvPr/>
          </p:nvSpPr>
          <p:spPr>
            <a:xfrm>
              <a:off x="8052890" y="2518830"/>
              <a:ext cx="2554" cy="5973"/>
            </a:xfrm>
            <a:custGeom>
              <a:avLst/>
              <a:gdLst/>
              <a:ahLst/>
              <a:cxnLst/>
              <a:rect l="l" t="t" r="r" b="b"/>
              <a:pathLst>
                <a:path w="65" h="152" extrusionOk="0">
                  <a:moveTo>
                    <a:pt x="0" y="0"/>
                  </a:moveTo>
                  <a:lnTo>
                    <a:pt x="0" y="151"/>
                  </a:lnTo>
                  <a:cubicBezTo>
                    <a:pt x="15" y="134"/>
                    <a:pt x="29" y="112"/>
                    <a:pt x="43" y="94"/>
                  </a:cubicBezTo>
                  <a:cubicBezTo>
                    <a:pt x="65" y="69"/>
                    <a:pt x="58" y="33"/>
                    <a:pt x="36" y="15"/>
                  </a:cubicBezTo>
                  <a:cubicBezTo>
                    <a:pt x="25" y="8"/>
                    <a:pt x="11" y="0"/>
                    <a:pt x="0" y="0"/>
                  </a:cubicBezTo>
                  <a:close/>
                </a:path>
              </a:pathLst>
            </a:custGeom>
            <a:solidFill>
              <a:srgbClr val="CCD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708" name="Google Shape;708;p31"/>
            <p:cNvGrpSpPr/>
            <p:nvPr/>
          </p:nvGrpSpPr>
          <p:grpSpPr>
            <a:xfrm>
              <a:off x="4710406" y="1665960"/>
              <a:ext cx="3380414" cy="2313100"/>
              <a:chOff x="4710406" y="1815485"/>
              <a:chExt cx="3380414" cy="2313100"/>
            </a:xfrm>
          </p:grpSpPr>
          <p:sp>
            <p:nvSpPr>
              <p:cNvPr id="709" name="Google Shape;709;p31"/>
              <p:cNvSpPr/>
              <p:nvPr/>
            </p:nvSpPr>
            <p:spPr>
              <a:xfrm>
                <a:off x="4710406" y="1815485"/>
                <a:ext cx="3380234" cy="2313100"/>
              </a:xfrm>
              <a:custGeom>
                <a:avLst/>
                <a:gdLst/>
                <a:ahLst/>
                <a:cxnLst/>
                <a:rect l="l" t="t" r="r" b="b"/>
                <a:pathLst>
                  <a:path w="86022" h="58865" extrusionOk="0">
                    <a:moveTo>
                      <a:pt x="2190" y="1"/>
                    </a:moveTo>
                    <a:cubicBezTo>
                      <a:pt x="987" y="1"/>
                      <a:pt x="0" y="983"/>
                      <a:pt x="0" y="2186"/>
                    </a:cubicBezTo>
                    <a:lnTo>
                      <a:pt x="0" y="56679"/>
                    </a:lnTo>
                    <a:cubicBezTo>
                      <a:pt x="0" y="57881"/>
                      <a:pt x="987" y="58865"/>
                      <a:pt x="2190" y="58865"/>
                    </a:cubicBezTo>
                    <a:lnTo>
                      <a:pt x="83832" y="58865"/>
                    </a:lnTo>
                    <a:cubicBezTo>
                      <a:pt x="85034" y="58865"/>
                      <a:pt x="86021" y="57881"/>
                      <a:pt x="86021" y="56679"/>
                    </a:cubicBezTo>
                    <a:lnTo>
                      <a:pt x="86021" y="2186"/>
                    </a:lnTo>
                    <a:cubicBezTo>
                      <a:pt x="86021" y="983"/>
                      <a:pt x="85034" y="1"/>
                      <a:pt x="83832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0" name="Google Shape;710;p31"/>
              <p:cNvSpPr/>
              <p:nvPr/>
            </p:nvSpPr>
            <p:spPr>
              <a:xfrm>
                <a:off x="4710425" y="2037750"/>
                <a:ext cx="3380234" cy="1927813"/>
              </a:xfrm>
              <a:custGeom>
                <a:avLst/>
                <a:gdLst/>
                <a:ahLst/>
                <a:cxnLst/>
                <a:rect l="l" t="t" r="r" b="b"/>
                <a:pathLst>
                  <a:path w="86022" h="49060" extrusionOk="0">
                    <a:moveTo>
                      <a:pt x="0" y="1"/>
                    </a:moveTo>
                    <a:lnTo>
                      <a:pt x="0" y="49059"/>
                    </a:lnTo>
                    <a:lnTo>
                      <a:pt x="86021" y="49059"/>
                    </a:lnTo>
                    <a:lnTo>
                      <a:pt x="86021" y="1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11" name="Google Shape;711;p31"/>
              <p:cNvGrpSpPr/>
              <p:nvPr/>
            </p:nvGrpSpPr>
            <p:grpSpPr>
              <a:xfrm>
                <a:off x="4710585" y="2281922"/>
                <a:ext cx="3380235" cy="1683652"/>
                <a:chOff x="4710585" y="2281922"/>
                <a:chExt cx="3380235" cy="1683652"/>
              </a:xfrm>
            </p:grpSpPr>
            <p:sp>
              <p:nvSpPr>
                <p:cNvPr id="712" name="Google Shape;712;p31"/>
                <p:cNvSpPr/>
                <p:nvPr/>
              </p:nvSpPr>
              <p:spPr>
                <a:xfrm>
                  <a:off x="4710585" y="3230006"/>
                  <a:ext cx="3380234" cy="447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022" h="11383" extrusionOk="0">
                      <a:moveTo>
                        <a:pt x="84485" y="464"/>
                      </a:moveTo>
                      <a:lnTo>
                        <a:pt x="84485" y="582"/>
                      </a:lnTo>
                      <a:cubicBezTo>
                        <a:pt x="85006" y="769"/>
                        <a:pt x="85512" y="1009"/>
                        <a:pt x="85989" y="1304"/>
                      </a:cubicBezTo>
                      <a:cubicBezTo>
                        <a:pt x="86000" y="1311"/>
                        <a:pt x="86011" y="1314"/>
                        <a:pt x="86021" y="1314"/>
                      </a:cubicBezTo>
                      <a:lnTo>
                        <a:pt x="86021" y="1188"/>
                      </a:lnTo>
                      <a:cubicBezTo>
                        <a:pt x="85534" y="890"/>
                        <a:pt x="85017" y="650"/>
                        <a:pt x="84485" y="464"/>
                      </a:cubicBezTo>
                      <a:close/>
                      <a:moveTo>
                        <a:pt x="0" y="3988"/>
                      </a:moveTo>
                      <a:lnTo>
                        <a:pt x="0" y="4139"/>
                      </a:lnTo>
                      <a:cubicBezTo>
                        <a:pt x="467" y="4760"/>
                        <a:pt x="980" y="5348"/>
                        <a:pt x="1536" y="5898"/>
                      </a:cubicBezTo>
                      <a:lnTo>
                        <a:pt x="1536" y="5740"/>
                      </a:lnTo>
                      <a:cubicBezTo>
                        <a:pt x="994" y="5194"/>
                        <a:pt x="499" y="4620"/>
                        <a:pt x="47" y="4009"/>
                      </a:cubicBezTo>
                      <a:cubicBezTo>
                        <a:pt x="36" y="3996"/>
                        <a:pt x="18" y="3988"/>
                        <a:pt x="0" y="3988"/>
                      </a:cubicBezTo>
                      <a:close/>
                      <a:moveTo>
                        <a:pt x="81772" y="0"/>
                      </a:moveTo>
                      <a:cubicBezTo>
                        <a:pt x="80738" y="0"/>
                        <a:pt x="79708" y="201"/>
                        <a:pt x="78764" y="603"/>
                      </a:cubicBezTo>
                      <a:cubicBezTo>
                        <a:pt x="77540" y="1131"/>
                        <a:pt x="76470" y="1971"/>
                        <a:pt x="75437" y="2785"/>
                      </a:cubicBezTo>
                      <a:cubicBezTo>
                        <a:pt x="74690" y="3375"/>
                        <a:pt x="73918" y="3984"/>
                        <a:pt x="73093" y="4469"/>
                      </a:cubicBezTo>
                      <a:cubicBezTo>
                        <a:pt x="71201" y="5578"/>
                        <a:pt x="68918" y="6128"/>
                        <a:pt x="66183" y="6128"/>
                      </a:cubicBezTo>
                      <a:cubicBezTo>
                        <a:pt x="64687" y="6128"/>
                        <a:pt x="63054" y="5966"/>
                        <a:pt x="61276" y="5636"/>
                      </a:cubicBezTo>
                      <a:cubicBezTo>
                        <a:pt x="59949" y="5388"/>
                        <a:pt x="58603" y="5076"/>
                        <a:pt x="57304" y="4774"/>
                      </a:cubicBezTo>
                      <a:cubicBezTo>
                        <a:pt x="54662" y="4160"/>
                        <a:pt x="51930" y="3525"/>
                        <a:pt x="49203" y="3418"/>
                      </a:cubicBezTo>
                      <a:cubicBezTo>
                        <a:pt x="48911" y="3406"/>
                        <a:pt x="48625" y="3399"/>
                        <a:pt x="48337" y="3399"/>
                      </a:cubicBezTo>
                      <a:cubicBezTo>
                        <a:pt x="46183" y="3399"/>
                        <a:pt x="44066" y="3711"/>
                        <a:pt x="41980" y="4207"/>
                      </a:cubicBezTo>
                      <a:lnTo>
                        <a:pt x="41980" y="4326"/>
                      </a:lnTo>
                      <a:cubicBezTo>
                        <a:pt x="44066" y="3827"/>
                        <a:pt x="46183" y="3514"/>
                        <a:pt x="48337" y="3514"/>
                      </a:cubicBezTo>
                      <a:cubicBezTo>
                        <a:pt x="48625" y="3514"/>
                        <a:pt x="48911" y="3518"/>
                        <a:pt x="49195" y="3532"/>
                      </a:cubicBezTo>
                      <a:cubicBezTo>
                        <a:pt x="51916" y="3636"/>
                        <a:pt x="54640" y="4271"/>
                        <a:pt x="57274" y="4885"/>
                      </a:cubicBezTo>
                      <a:cubicBezTo>
                        <a:pt x="58578" y="5187"/>
                        <a:pt x="59927" y="5499"/>
                        <a:pt x="61255" y="5747"/>
                      </a:cubicBezTo>
                      <a:cubicBezTo>
                        <a:pt x="63039" y="6077"/>
                        <a:pt x="64679" y="6242"/>
                        <a:pt x="66183" y="6242"/>
                      </a:cubicBezTo>
                      <a:cubicBezTo>
                        <a:pt x="68940" y="6242"/>
                        <a:pt x="71241" y="5686"/>
                        <a:pt x="73151" y="4566"/>
                      </a:cubicBezTo>
                      <a:cubicBezTo>
                        <a:pt x="73983" y="4077"/>
                        <a:pt x="74758" y="3468"/>
                        <a:pt x="75508" y="2876"/>
                      </a:cubicBezTo>
                      <a:cubicBezTo>
                        <a:pt x="76535" y="2064"/>
                        <a:pt x="77597" y="1228"/>
                        <a:pt x="78810" y="708"/>
                      </a:cubicBezTo>
                      <a:cubicBezTo>
                        <a:pt x="79740" y="309"/>
                        <a:pt x="80753" y="115"/>
                        <a:pt x="81772" y="115"/>
                      </a:cubicBezTo>
                      <a:cubicBezTo>
                        <a:pt x="82648" y="115"/>
                        <a:pt x="83531" y="259"/>
                        <a:pt x="84371" y="542"/>
                      </a:cubicBezTo>
                      <a:lnTo>
                        <a:pt x="84371" y="424"/>
                      </a:lnTo>
                      <a:cubicBezTo>
                        <a:pt x="83531" y="144"/>
                        <a:pt x="82648" y="0"/>
                        <a:pt x="81772" y="0"/>
                      </a:cubicBezTo>
                      <a:close/>
                      <a:moveTo>
                        <a:pt x="37756" y="5439"/>
                      </a:moveTo>
                      <a:cubicBezTo>
                        <a:pt x="36091" y="5994"/>
                        <a:pt x="34446" y="6619"/>
                        <a:pt x="32817" y="7233"/>
                      </a:cubicBezTo>
                      <a:cubicBezTo>
                        <a:pt x="31177" y="7854"/>
                        <a:pt x="29483" y="8497"/>
                        <a:pt x="27806" y="9057"/>
                      </a:cubicBezTo>
                      <a:cubicBezTo>
                        <a:pt x="23360" y="10546"/>
                        <a:pt x="19530" y="11267"/>
                        <a:pt x="15983" y="11267"/>
                      </a:cubicBezTo>
                      <a:cubicBezTo>
                        <a:pt x="15014" y="11267"/>
                        <a:pt x="14066" y="11214"/>
                        <a:pt x="13137" y="11106"/>
                      </a:cubicBezTo>
                      <a:cubicBezTo>
                        <a:pt x="8614" y="10589"/>
                        <a:pt x="4551" y="8708"/>
                        <a:pt x="1651" y="5851"/>
                      </a:cubicBezTo>
                      <a:lnTo>
                        <a:pt x="1651" y="6009"/>
                      </a:lnTo>
                      <a:cubicBezTo>
                        <a:pt x="4562" y="8841"/>
                        <a:pt x="8618" y="10704"/>
                        <a:pt x="13122" y="11220"/>
                      </a:cubicBezTo>
                      <a:cubicBezTo>
                        <a:pt x="14060" y="11328"/>
                        <a:pt x="15011" y="11382"/>
                        <a:pt x="15983" y="11382"/>
                      </a:cubicBezTo>
                      <a:cubicBezTo>
                        <a:pt x="19540" y="11382"/>
                        <a:pt x="23381" y="10657"/>
                        <a:pt x="27843" y="9164"/>
                      </a:cubicBezTo>
                      <a:cubicBezTo>
                        <a:pt x="29522" y="8604"/>
                        <a:pt x="31216" y="7962"/>
                        <a:pt x="32860" y="7341"/>
                      </a:cubicBezTo>
                      <a:cubicBezTo>
                        <a:pt x="34472" y="6731"/>
                        <a:pt x="36105" y="6113"/>
                        <a:pt x="37756" y="5557"/>
                      </a:cubicBezTo>
                      <a:lnTo>
                        <a:pt x="37756" y="5439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13" name="Google Shape;713;p31"/>
                <p:cNvGrpSpPr/>
                <p:nvPr/>
              </p:nvGrpSpPr>
              <p:grpSpPr>
                <a:xfrm>
                  <a:off x="4710585" y="2281922"/>
                  <a:ext cx="3380235" cy="634850"/>
                  <a:chOff x="4672653" y="2281922"/>
                  <a:chExt cx="3380235" cy="634850"/>
                </a:xfrm>
              </p:grpSpPr>
              <p:sp>
                <p:nvSpPr>
                  <p:cNvPr id="714" name="Google Shape;714;p31"/>
                  <p:cNvSpPr/>
                  <p:nvPr/>
                </p:nvSpPr>
                <p:spPr>
                  <a:xfrm>
                    <a:off x="4672653" y="2293200"/>
                    <a:ext cx="60514" cy="29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40" h="744" extrusionOk="0">
                        <a:moveTo>
                          <a:pt x="1539" y="0"/>
                        </a:moveTo>
                        <a:lnTo>
                          <a:pt x="1539" y="0"/>
                        </a:lnTo>
                        <a:cubicBezTo>
                          <a:pt x="1005" y="151"/>
                          <a:pt x="489" y="356"/>
                          <a:pt x="0" y="621"/>
                        </a:cubicBezTo>
                        <a:lnTo>
                          <a:pt x="0" y="743"/>
                        </a:lnTo>
                        <a:cubicBezTo>
                          <a:pt x="7" y="743"/>
                          <a:pt x="18" y="739"/>
                          <a:pt x="25" y="736"/>
                        </a:cubicBezTo>
                        <a:cubicBezTo>
                          <a:pt x="506" y="474"/>
                          <a:pt x="1012" y="270"/>
                          <a:pt x="1536" y="119"/>
                        </a:cubicBezTo>
                        <a:cubicBezTo>
                          <a:pt x="1536" y="79"/>
                          <a:pt x="1539" y="40"/>
                          <a:pt x="1539" y="0"/>
                        </a:cubicBezTo>
                        <a:close/>
                      </a:path>
                    </a:pathLst>
                  </a:custGeom>
                  <a:solidFill>
                    <a:schemeClr val="accent3"/>
                  </a:solidFill>
                  <a:ln w="9525" cap="flat" cmpd="sng">
                    <a:solidFill>
                      <a:schemeClr val="accent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15" name="Google Shape;715;p31"/>
                  <p:cNvSpPr/>
                  <p:nvPr/>
                </p:nvSpPr>
                <p:spPr>
                  <a:xfrm>
                    <a:off x="4737530" y="2281922"/>
                    <a:ext cx="3315358" cy="6348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4371" h="16156" extrusionOk="0">
                        <a:moveTo>
                          <a:pt x="84370" y="9834"/>
                        </a:moveTo>
                        <a:cubicBezTo>
                          <a:pt x="84352" y="9834"/>
                          <a:pt x="84335" y="9842"/>
                          <a:pt x="84324" y="9856"/>
                        </a:cubicBezTo>
                        <a:cubicBezTo>
                          <a:pt x="83871" y="10434"/>
                          <a:pt x="83373" y="10976"/>
                          <a:pt x="82834" y="11482"/>
                        </a:cubicBezTo>
                        <a:lnTo>
                          <a:pt x="82834" y="11636"/>
                        </a:lnTo>
                        <a:cubicBezTo>
                          <a:pt x="83391" y="11123"/>
                          <a:pt x="83904" y="10574"/>
                          <a:pt x="84370" y="9985"/>
                        </a:cubicBezTo>
                        <a:lnTo>
                          <a:pt x="84370" y="9834"/>
                        </a:lnTo>
                        <a:close/>
                        <a:moveTo>
                          <a:pt x="2021" y="0"/>
                        </a:moveTo>
                        <a:cubicBezTo>
                          <a:pt x="1339" y="0"/>
                          <a:pt x="660" y="86"/>
                          <a:pt x="4" y="255"/>
                        </a:cubicBezTo>
                        <a:cubicBezTo>
                          <a:pt x="4" y="298"/>
                          <a:pt x="0" y="334"/>
                          <a:pt x="0" y="377"/>
                        </a:cubicBezTo>
                        <a:cubicBezTo>
                          <a:pt x="657" y="201"/>
                          <a:pt x="1339" y="111"/>
                          <a:pt x="2025" y="111"/>
                        </a:cubicBezTo>
                        <a:cubicBezTo>
                          <a:pt x="3234" y="111"/>
                          <a:pt x="4454" y="388"/>
                          <a:pt x="5557" y="940"/>
                        </a:cubicBezTo>
                        <a:cubicBezTo>
                          <a:pt x="6770" y="1547"/>
                          <a:pt x="7832" y="2459"/>
                          <a:pt x="8862" y="3342"/>
                        </a:cubicBezTo>
                        <a:cubicBezTo>
                          <a:pt x="9609" y="3988"/>
                          <a:pt x="10388" y="4652"/>
                          <a:pt x="11216" y="5201"/>
                        </a:cubicBezTo>
                        <a:cubicBezTo>
                          <a:pt x="13482" y="6690"/>
                          <a:pt x="16307" y="7427"/>
                          <a:pt x="19784" y="7427"/>
                        </a:cubicBezTo>
                        <a:cubicBezTo>
                          <a:pt x="20833" y="7427"/>
                          <a:pt x="21938" y="7362"/>
                          <a:pt x="23108" y="7229"/>
                        </a:cubicBezTo>
                        <a:cubicBezTo>
                          <a:pt x="24439" y="7078"/>
                          <a:pt x="25786" y="6859"/>
                          <a:pt x="27088" y="6651"/>
                        </a:cubicBezTo>
                        <a:cubicBezTo>
                          <a:pt x="29497" y="6259"/>
                          <a:pt x="31977" y="5861"/>
                          <a:pt x="34461" y="5861"/>
                        </a:cubicBezTo>
                        <a:lnTo>
                          <a:pt x="34777" y="5861"/>
                        </a:lnTo>
                        <a:cubicBezTo>
                          <a:pt x="34953" y="5840"/>
                          <a:pt x="35129" y="5825"/>
                          <a:pt x="35305" y="5825"/>
                        </a:cubicBezTo>
                        <a:cubicBezTo>
                          <a:pt x="35595" y="5825"/>
                          <a:pt x="35883" y="5858"/>
                          <a:pt x="36173" y="5926"/>
                        </a:cubicBezTo>
                        <a:cubicBezTo>
                          <a:pt x="41485" y="6342"/>
                          <a:pt x="46575" y="8628"/>
                          <a:pt x="51506" y="10847"/>
                        </a:cubicBezTo>
                        <a:cubicBezTo>
                          <a:pt x="53147" y="11587"/>
                          <a:pt x="54845" y="12347"/>
                          <a:pt x="56521" y="13029"/>
                        </a:cubicBezTo>
                        <a:cubicBezTo>
                          <a:pt x="61751" y="15150"/>
                          <a:pt x="66126" y="16156"/>
                          <a:pt x="70189" y="16156"/>
                        </a:cubicBezTo>
                        <a:cubicBezTo>
                          <a:pt x="70544" y="16156"/>
                          <a:pt x="70892" y="16149"/>
                          <a:pt x="71245" y="16134"/>
                        </a:cubicBezTo>
                        <a:cubicBezTo>
                          <a:pt x="75749" y="15937"/>
                          <a:pt x="79805" y="14365"/>
                          <a:pt x="82720" y="11741"/>
                        </a:cubicBezTo>
                        <a:lnTo>
                          <a:pt x="82720" y="11587"/>
                        </a:lnTo>
                        <a:cubicBezTo>
                          <a:pt x="79819" y="14235"/>
                          <a:pt x="75759" y="15826"/>
                          <a:pt x="71237" y="16019"/>
                        </a:cubicBezTo>
                        <a:cubicBezTo>
                          <a:pt x="70889" y="16033"/>
                          <a:pt x="70541" y="16041"/>
                          <a:pt x="70189" y="16041"/>
                        </a:cubicBezTo>
                        <a:cubicBezTo>
                          <a:pt x="66141" y="16041"/>
                          <a:pt x="61776" y="15039"/>
                          <a:pt x="56564" y="12925"/>
                        </a:cubicBezTo>
                        <a:cubicBezTo>
                          <a:pt x="54891" y="12243"/>
                          <a:pt x="53194" y="11482"/>
                          <a:pt x="51553" y="10743"/>
                        </a:cubicBezTo>
                        <a:cubicBezTo>
                          <a:pt x="46303" y="8381"/>
                          <a:pt x="40871" y="5941"/>
                          <a:pt x="35172" y="5757"/>
                        </a:cubicBezTo>
                        <a:cubicBezTo>
                          <a:pt x="34935" y="5750"/>
                          <a:pt x="34698" y="5747"/>
                          <a:pt x="34461" y="5747"/>
                        </a:cubicBezTo>
                        <a:cubicBezTo>
                          <a:pt x="31970" y="5747"/>
                          <a:pt x="29483" y="6148"/>
                          <a:pt x="27071" y="6536"/>
                        </a:cubicBezTo>
                        <a:cubicBezTo>
                          <a:pt x="25771" y="6748"/>
                          <a:pt x="24426" y="6963"/>
                          <a:pt x="23097" y="7114"/>
                        </a:cubicBezTo>
                        <a:cubicBezTo>
                          <a:pt x="21931" y="7247"/>
                          <a:pt x="20829" y="7315"/>
                          <a:pt x="19784" y="7315"/>
                        </a:cubicBezTo>
                        <a:cubicBezTo>
                          <a:pt x="16328" y="7315"/>
                          <a:pt x="13525" y="6582"/>
                          <a:pt x="11281" y="5104"/>
                        </a:cubicBezTo>
                        <a:cubicBezTo>
                          <a:pt x="10456" y="4562"/>
                          <a:pt x="9680" y="3898"/>
                          <a:pt x="8934" y="3256"/>
                        </a:cubicBezTo>
                        <a:cubicBezTo>
                          <a:pt x="7900" y="2369"/>
                          <a:pt x="6831" y="1450"/>
                          <a:pt x="5607" y="837"/>
                        </a:cubicBezTo>
                        <a:cubicBezTo>
                          <a:pt x="4487" y="277"/>
                          <a:pt x="3252" y="0"/>
                          <a:pt x="2021" y="0"/>
                        </a:cubicBezTo>
                        <a:close/>
                      </a:path>
                    </a:pathLst>
                  </a:custGeom>
                  <a:solidFill>
                    <a:schemeClr val="accent3"/>
                  </a:solidFill>
                  <a:ln w="9525" cap="flat" cmpd="sng">
                    <a:solidFill>
                      <a:schemeClr val="accent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716" name="Google Shape;716;p31"/>
                <p:cNvSpPr/>
                <p:nvPr/>
              </p:nvSpPr>
              <p:spPr>
                <a:xfrm>
                  <a:off x="4921590" y="3223954"/>
                  <a:ext cx="166021" cy="7416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5" h="18873" extrusionOk="0">
                      <a:moveTo>
                        <a:pt x="0" y="0"/>
                      </a:moveTo>
                      <a:lnTo>
                        <a:pt x="0" y="18872"/>
                      </a:lnTo>
                      <a:lnTo>
                        <a:pt x="4225" y="18872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17" name="Google Shape;717;p31"/>
                <p:cNvSpPr/>
                <p:nvPr/>
              </p:nvSpPr>
              <p:spPr>
                <a:xfrm>
                  <a:off x="5168405" y="3072588"/>
                  <a:ext cx="166179" cy="8929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9" h="22725" extrusionOk="0">
                      <a:moveTo>
                        <a:pt x="1" y="1"/>
                      </a:moveTo>
                      <a:lnTo>
                        <a:pt x="1" y="22724"/>
                      </a:lnTo>
                      <a:lnTo>
                        <a:pt x="4229" y="22724"/>
                      </a:lnTo>
                      <a:lnTo>
                        <a:pt x="4229" y="1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18" name="Google Shape;718;p31"/>
                <p:cNvSpPr/>
                <p:nvPr/>
              </p:nvSpPr>
              <p:spPr>
                <a:xfrm>
                  <a:off x="5415377" y="2923933"/>
                  <a:ext cx="166179" cy="1041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9" h="26508" extrusionOk="0">
                      <a:moveTo>
                        <a:pt x="1" y="0"/>
                      </a:moveTo>
                      <a:lnTo>
                        <a:pt x="1" y="26507"/>
                      </a:lnTo>
                      <a:lnTo>
                        <a:pt x="4229" y="26507"/>
                      </a:lnTo>
                      <a:lnTo>
                        <a:pt x="4229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19" name="Google Shape;719;p31"/>
                <p:cNvSpPr/>
                <p:nvPr/>
              </p:nvSpPr>
              <p:spPr>
                <a:xfrm>
                  <a:off x="5662310" y="2741719"/>
                  <a:ext cx="166100" cy="1223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7" h="31145" extrusionOk="0">
                      <a:moveTo>
                        <a:pt x="1" y="0"/>
                      </a:moveTo>
                      <a:lnTo>
                        <a:pt x="1" y="31144"/>
                      </a:lnTo>
                      <a:lnTo>
                        <a:pt x="4226" y="31144"/>
                      </a:lnTo>
                      <a:lnTo>
                        <a:pt x="4226" y="0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0" name="Google Shape;720;p31"/>
                <p:cNvSpPr/>
                <p:nvPr/>
              </p:nvSpPr>
              <p:spPr>
                <a:xfrm>
                  <a:off x="5909282" y="3001659"/>
                  <a:ext cx="166061" cy="96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24530" extrusionOk="0">
                      <a:moveTo>
                        <a:pt x="1" y="0"/>
                      </a:moveTo>
                      <a:lnTo>
                        <a:pt x="1" y="24529"/>
                      </a:lnTo>
                      <a:lnTo>
                        <a:pt x="4225" y="24529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1" name="Google Shape;721;p31"/>
                <p:cNvSpPr/>
                <p:nvPr/>
              </p:nvSpPr>
              <p:spPr>
                <a:xfrm>
                  <a:off x="6156254" y="2640416"/>
                  <a:ext cx="166061" cy="13251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33723" extrusionOk="0">
                      <a:moveTo>
                        <a:pt x="1" y="1"/>
                      </a:moveTo>
                      <a:lnTo>
                        <a:pt x="1" y="33722"/>
                      </a:lnTo>
                      <a:lnTo>
                        <a:pt x="4225" y="33722"/>
                      </a:lnTo>
                      <a:lnTo>
                        <a:pt x="4225" y="1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2" name="Google Shape;722;p31"/>
                <p:cNvSpPr/>
                <p:nvPr/>
              </p:nvSpPr>
              <p:spPr>
                <a:xfrm>
                  <a:off x="6403226" y="3091489"/>
                  <a:ext cx="166061" cy="8740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22244" extrusionOk="0">
                      <a:moveTo>
                        <a:pt x="1" y="0"/>
                      </a:moveTo>
                      <a:lnTo>
                        <a:pt x="1" y="22243"/>
                      </a:lnTo>
                      <a:lnTo>
                        <a:pt x="4225" y="22243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3" name="Google Shape;723;p31"/>
                <p:cNvSpPr/>
                <p:nvPr/>
              </p:nvSpPr>
              <p:spPr>
                <a:xfrm>
                  <a:off x="6650080" y="2798266"/>
                  <a:ext cx="166179" cy="11672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9" h="29706" extrusionOk="0">
                      <a:moveTo>
                        <a:pt x="0" y="1"/>
                      </a:moveTo>
                      <a:lnTo>
                        <a:pt x="0" y="29705"/>
                      </a:lnTo>
                      <a:lnTo>
                        <a:pt x="4228" y="29705"/>
                      </a:lnTo>
                      <a:lnTo>
                        <a:pt x="4228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4" name="Google Shape;724;p31"/>
                <p:cNvSpPr/>
                <p:nvPr/>
              </p:nvSpPr>
              <p:spPr>
                <a:xfrm>
                  <a:off x="6897013" y="3673574"/>
                  <a:ext cx="166218" cy="292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0" h="7431" extrusionOk="0">
                      <a:moveTo>
                        <a:pt x="1" y="1"/>
                      </a:moveTo>
                      <a:lnTo>
                        <a:pt x="1" y="7430"/>
                      </a:lnTo>
                      <a:lnTo>
                        <a:pt x="4229" y="7430"/>
                      </a:lnTo>
                      <a:lnTo>
                        <a:pt x="4229" y="1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1"/>
                <p:cNvSpPr/>
                <p:nvPr/>
              </p:nvSpPr>
              <p:spPr>
                <a:xfrm>
                  <a:off x="7143985" y="2724901"/>
                  <a:ext cx="166061" cy="124066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31573" extrusionOk="0">
                      <a:moveTo>
                        <a:pt x="1" y="1"/>
                      </a:moveTo>
                      <a:lnTo>
                        <a:pt x="1" y="31572"/>
                      </a:lnTo>
                      <a:lnTo>
                        <a:pt x="4225" y="31572"/>
                      </a:lnTo>
                      <a:lnTo>
                        <a:pt x="4225" y="1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1"/>
                <p:cNvSpPr/>
                <p:nvPr/>
              </p:nvSpPr>
              <p:spPr>
                <a:xfrm>
                  <a:off x="7390957" y="2381065"/>
                  <a:ext cx="166061" cy="15844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40323" extrusionOk="0">
                      <a:moveTo>
                        <a:pt x="1" y="0"/>
                      </a:moveTo>
                      <a:lnTo>
                        <a:pt x="1" y="40322"/>
                      </a:lnTo>
                      <a:lnTo>
                        <a:pt x="4225" y="40322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1"/>
                <p:cNvSpPr/>
                <p:nvPr/>
              </p:nvSpPr>
              <p:spPr>
                <a:xfrm>
                  <a:off x="7637929" y="3115184"/>
                  <a:ext cx="166061" cy="850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21641" extrusionOk="0">
                      <a:moveTo>
                        <a:pt x="1" y="0"/>
                      </a:moveTo>
                      <a:lnTo>
                        <a:pt x="1" y="21640"/>
                      </a:lnTo>
                      <a:lnTo>
                        <a:pt x="4225" y="21640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8" name="Google Shape;728;p31"/>
            <p:cNvGrpSpPr/>
            <p:nvPr/>
          </p:nvGrpSpPr>
          <p:grpSpPr>
            <a:xfrm>
              <a:off x="5262046" y="2085203"/>
              <a:ext cx="1054922" cy="2623643"/>
              <a:chOff x="5262046" y="2234728"/>
              <a:chExt cx="1054922" cy="2623643"/>
            </a:xfrm>
          </p:grpSpPr>
          <p:sp>
            <p:nvSpPr>
              <p:cNvPr id="729" name="Google Shape;729;p31"/>
              <p:cNvSpPr/>
              <p:nvPr/>
            </p:nvSpPr>
            <p:spPr>
              <a:xfrm>
                <a:off x="6104070" y="2510819"/>
                <a:ext cx="54895" cy="4008"/>
              </a:xfrm>
              <a:custGeom>
                <a:avLst/>
                <a:gdLst/>
                <a:ahLst/>
                <a:cxnLst/>
                <a:rect l="l" t="t" r="r" b="b"/>
                <a:pathLst>
                  <a:path w="1397" h="102" extrusionOk="0">
                    <a:moveTo>
                      <a:pt x="529" y="0"/>
                    </a:moveTo>
                    <a:cubicBezTo>
                      <a:pt x="353" y="0"/>
                      <a:pt x="177" y="15"/>
                      <a:pt x="1" y="36"/>
                    </a:cubicBezTo>
                    <a:cubicBezTo>
                      <a:pt x="134" y="40"/>
                      <a:pt x="263" y="43"/>
                      <a:pt x="393" y="47"/>
                    </a:cubicBezTo>
                    <a:cubicBezTo>
                      <a:pt x="729" y="58"/>
                      <a:pt x="1064" y="76"/>
                      <a:pt x="1397" y="101"/>
                    </a:cubicBezTo>
                    <a:cubicBezTo>
                      <a:pt x="1107" y="33"/>
                      <a:pt x="819" y="0"/>
                      <a:pt x="529" y="0"/>
                    </a:cubicBezTo>
                    <a:close/>
                  </a:path>
                </a:pathLst>
              </a:custGeom>
              <a:solidFill>
                <a:srgbClr val="C2D6F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0" name="Google Shape;730;p31"/>
              <p:cNvSpPr/>
              <p:nvPr/>
            </p:nvSpPr>
            <p:spPr>
              <a:xfrm>
                <a:off x="6266871" y="2618410"/>
                <a:ext cx="157" cy="236"/>
              </a:xfrm>
              <a:custGeom>
                <a:avLst/>
                <a:gdLst/>
                <a:ahLst/>
                <a:cxnLst/>
                <a:rect l="l" t="t" r="r" b="b"/>
                <a:pathLst>
                  <a:path w="4" h="6" extrusionOk="0">
                    <a:moveTo>
                      <a:pt x="0" y="1"/>
                    </a:moveTo>
                    <a:cubicBezTo>
                      <a:pt x="0" y="5"/>
                      <a:pt x="4" y="5"/>
                      <a:pt x="4" y="5"/>
                    </a:cubicBezTo>
                    <a:cubicBezTo>
                      <a:pt x="4" y="5"/>
                      <a:pt x="0" y="5"/>
                      <a:pt x="0" y="1"/>
                    </a:cubicBezTo>
                    <a:close/>
                  </a:path>
                </a:pathLst>
              </a:custGeom>
              <a:solidFill>
                <a:srgbClr val="99BDF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1" name="Google Shape;731;p31"/>
              <p:cNvSpPr/>
              <p:nvPr/>
            </p:nvSpPr>
            <p:spPr>
              <a:xfrm>
                <a:off x="5977067" y="2638333"/>
                <a:ext cx="3340" cy="49826"/>
              </a:xfrm>
              <a:custGeom>
                <a:avLst/>
                <a:gdLst/>
                <a:ahLst/>
                <a:cxnLst/>
                <a:rect l="l" t="t" r="r" b="b"/>
                <a:pathLst>
                  <a:path w="85" h="1268" extrusionOk="0">
                    <a:moveTo>
                      <a:pt x="42" y="0"/>
                    </a:moveTo>
                    <a:cubicBezTo>
                      <a:pt x="9" y="244"/>
                      <a:pt x="1" y="487"/>
                      <a:pt x="15" y="728"/>
                    </a:cubicBezTo>
                    <a:lnTo>
                      <a:pt x="15" y="728"/>
                    </a:lnTo>
                    <a:cubicBezTo>
                      <a:pt x="2" y="487"/>
                      <a:pt x="11" y="243"/>
                      <a:pt x="45" y="0"/>
                    </a:cubicBezTo>
                    <a:close/>
                    <a:moveTo>
                      <a:pt x="15" y="728"/>
                    </a:moveTo>
                    <a:lnTo>
                      <a:pt x="15" y="728"/>
                    </a:lnTo>
                    <a:cubicBezTo>
                      <a:pt x="26" y="910"/>
                      <a:pt x="49" y="1091"/>
                      <a:pt x="85" y="1267"/>
                    </a:cubicBezTo>
                    <a:cubicBezTo>
                      <a:pt x="75" y="1213"/>
                      <a:pt x="63" y="1156"/>
                      <a:pt x="56" y="1099"/>
                    </a:cubicBezTo>
                    <a:cubicBezTo>
                      <a:pt x="37" y="976"/>
                      <a:pt x="23" y="852"/>
                      <a:pt x="15" y="728"/>
                    </a:cubicBezTo>
                    <a:close/>
                  </a:path>
                </a:pathLst>
              </a:custGeom>
              <a:solidFill>
                <a:srgbClr val="E6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2" name="Google Shape;732;p31"/>
              <p:cNvSpPr/>
              <p:nvPr/>
            </p:nvSpPr>
            <p:spPr>
              <a:xfrm>
                <a:off x="5988698" y="2715077"/>
                <a:ext cx="39099" cy="54306"/>
              </a:xfrm>
              <a:custGeom>
                <a:avLst/>
                <a:gdLst/>
                <a:ahLst/>
                <a:cxnLst/>
                <a:rect l="l" t="t" r="r" b="b"/>
                <a:pathLst>
                  <a:path w="995" h="1382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220" y="527"/>
                      <a:pt x="557" y="1001"/>
                      <a:pt x="995" y="1382"/>
                    </a:cubicBezTo>
                    <a:cubicBezTo>
                      <a:pt x="561" y="1001"/>
                      <a:pt x="220" y="524"/>
                      <a:pt x="1" y="0"/>
                    </a:cubicBezTo>
                    <a:close/>
                  </a:path>
                </a:pathLst>
              </a:custGeom>
              <a:solidFill>
                <a:srgbClr val="E6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3" name="Google Shape;733;p31"/>
              <p:cNvSpPr/>
              <p:nvPr/>
            </p:nvSpPr>
            <p:spPr>
              <a:xfrm>
                <a:off x="5965592" y="2784355"/>
                <a:ext cx="125548" cy="256714"/>
              </a:xfrm>
              <a:custGeom>
                <a:avLst/>
                <a:gdLst/>
                <a:ahLst/>
                <a:cxnLst/>
                <a:rect l="l" t="t" r="r" b="b"/>
                <a:pathLst>
                  <a:path w="3195" h="6533" extrusionOk="0">
                    <a:moveTo>
                      <a:pt x="2729" y="0"/>
                    </a:moveTo>
                    <a:cubicBezTo>
                      <a:pt x="2573" y="0"/>
                      <a:pt x="2423" y="83"/>
                      <a:pt x="2344" y="229"/>
                    </a:cubicBezTo>
                    <a:cubicBezTo>
                      <a:pt x="1838" y="1169"/>
                      <a:pt x="1414" y="2139"/>
                      <a:pt x="1001" y="3115"/>
                    </a:cubicBezTo>
                    <a:cubicBezTo>
                      <a:pt x="804" y="3606"/>
                      <a:pt x="600" y="4091"/>
                      <a:pt x="417" y="4590"/>
                    </a:cubicBezTo>
                    <a:lnTo>
                      <a:pt x="137" y="5329"/>
                    </a:lnTo>
                    <a:cubicBezTo>
                      <a:pt x="44" y="5577"/>
                      <a:pt x="0" y="5843"/>
                      <a:pt x="173" y="6187"/>
                    </a:cubicBezTo>
                    <a:cubicBezTo>
                      <a:pt x="284" y="6404"/>
                      <a:pt x="505" y="6533"/>
                      <a:pt x="736" y="6533"/>
                    </a:cubicBezTo>
                    <a:cubicBezTo>
                      <a:pt x="819" y="6533"/>
                      <a:pt x="903" y="6516"/>
                      <a:pt x="983" y="6481"/>
                    </a:cubicBezTo>
                    <a:cubicBezTo>
                      <a:pt x="1339" y="6330"/>
                      <a:pt x="1475" y="6101"/>
                      <a:pt x="1561" y="5850"/>
                    </a:cubicBezTo>
                    <a:lnTo>
                      <a:pt x="1823" y="5103"/>
                    </a:lnTo>
                    <a:cubicBezTo>
                      <a:pt x="2007" y="4604"/>
                      <a:pt x="2161" y="4098"/>
                      <a:pt x="2326" y="3595"/>
                    </a:cubicBezTo>
                    <a:cubicBezTo>
                      <a:pt x="2638" y="2587"/>
                      <a:pt x="2936" y="1571"/>
                      <a:pt x="3155" y="523"/>
                    </a:cubicBezTo>
                    <a:cubicBezTo>
                      <a:pt x="3195" y="340"/>
                      <a:pt x="3108" y="146"/>
                      <a:pt x="2936" y="53"/>
                    </a:cubicBezTo>
                    <a:cubicBezTo>
                      <a:pt x="2870" y="17"/>
                      <a:pt x="2799" y="0"/>
                      <a:pt x="27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4" name="Google Shape;734;p31"/>
              <p:cNvSpPr/>
              <p:nvPr/>
            </p:nvSpPr>
            <p:spPr>
              <a:xfrm>
                <a:off x="5288021" y="2719557"/>
                <a:ext cx="227950" cy="308348"/>
              </a:xfrm>
              <a:custGeom>
                <a:avLst/>
                <a:gdLst/>
                <a:ahLst/>
                <a:cxnLst/>
                <a:rect l="l" t="t" r="r" b="b"/>
                <a:pathLst>
                  <a:path w="5801" h="7847" extrusionOk="0">
                    <a:moveTo>
                      <a:pt x="2024" y="1"/>
                    </a:moveTo>
                    <a:cubicBezTo>
                      <a:pt x="1928" y="130"/>
                      <a:pt x="1863" y="223"/>
                      <a:pt x="1788" y="331"/>
                    </a:cubicBezTo>
                    <a:cubicBezTo>
                      <a:pt x="1716" y="438"/>
                      <a:pt x="1648" y="543"/>
                      <a:pt x="1579" y="650"/>
                    </a:cubicBezTo>
                    <a:cubicBezTo>
                      <a:pt x="1446" y="866"/>
                      <a:pt x="1321" y="1081"/>
                      <a:pt x="1203" y="1303"/>
                    </a:cubicBezTo>
                    <a:cubicBezTo>
                      <a:pt x="966" y="1745"/>
                      <a:pt x="761" y="2204"/>
                      <a:pt x="582" y="2678"/>
                    </a:cubicBezTo>
                    <a:cubicBezTo>
                      <a:pt x="227" y="3626"/>
                      <a:pt x="0" y="4652"/>
                      <a:pt x="15" y="5718"/>
                    </a:cubicBezTo>
                    <a:cubicBezTo>
                      <a:pt x="15" y="5822"/>
                      <a:pt x="18" y="6049"/>
                      <a:pt x="68" y="6256"/>
                    </a:cubicBezTo>
                    <a:cubicBezTo>
                      <a:pt x="115" y="6465"/>
                      <a:pt x="205" y="6680"/>
                      <a:pt x="330" y="6864"/>
                    </a:cubicBezTo>
                    <a:cubicBezTo>
                      <a:pt x="585" y="7240"/>
                      <a:pt x="933" y="7452"/>
                      <a:pt x="1235" y="7578"/>
                    </a:cubicBezTo>
                    <a:cubicBezTo>
                      <a:pt x="1544" y="7707"/>
                      <a:pt x="1831" y="7768"/>
                      <a:pt x="2104" y="7804"/>
                    </a:cubicBezTo>
                    <a:cubicBezTo>
                      <a:pt x="2380" y="7840"/>
                      <a:pt x="2642" y="7847"/>
                      <a:pt x="2901" y="7847"/>
                    </a:cubicBezTo>
                    <a:cubicBezTo>
                      <a:pt x="3927" y="7822"/>
                      <a:pt x="4860" y="7628"/>
                      <a:pt x="5800" y="7341"/>
                    </a:cubicBezTo>
                    <a:lnTo>
                      <a:pt x="5603" y="6397"/>
                    </a:lnTo>
                    <a:cubicBezTo>
                      <a:pt x="5166" y="6423"/>
                      <a:pt x="4720" y="6442"/>
                      <a:pt x="4281" y="6442"/>
                    </a:cubicBezTo>
                    <a:cubicBezTo>
                      <a:pt x="3831" y="6442"/>
                      <a:pt x="3389" y="6422"/>
                      <a:pt x="2972" y="6372"/>
                    </a:cubicBezTo>
                    <a:cubicBezTo>
                      <a:pt x="2563" y="6325"/>
                      <a:pt x="2161" y="6225"/>
                      <a:pt x="1928" y="6092"/>
                    </a:cubicBezTo>
                    <a:cubicBezTo>
                      <a:pt x="1809" y="6024"/>
                      <a:pt x="1763" y="5959"/>
                      <a:pt x="1769" y="5938"/>
                    </a:cubicBezTo>
                    <a:lnTo>
                      <a:pt x="1773" y="5905"/>
                    </a:lnTo>
                    <a:lnTo>
                      <a:pt x="1784" y="5754"/>
                    </a:lnTo>
                    <a:cubicBezTo>
                      <a:pt x="1834" y="4961"/>
                      <a:pt x="2061" y="4157"/>
                      <a:pt x="2376" y="3382"/>
                    </a:cubicBezTo>
                    <a:cubicBezTo>
                      <a:pt x="2538" y="2991"/>
                      <a:pt x="2728" y="2610"/>
                      <a:pt x="2929" y="2237"/>
                    </a:cubicBezTo>
                    <a:cubicBezTo>
                      <a:pt x="3030" y="2050"/>
                      <a:pt x="3137" y="1863"/>
                      <a:pt x="3249" y="1684"/>
                    </a:cubicBezTo>
                    <a:lnTo>
                      <a:pt x="3417" y="1419"/>
                    </a:lnTo>
                    <a:cubicBezTo>
                      <a:pt x="3471" y="1336"/>
                      <a:pt x="3539" y="1235"/>
                      <a:pt x="3578" y="1178"/>
                    </a:cubicBezTo>
                    <a:lnTo>
                      <a:pt x="2024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1"/>
              <p:cNvSpPr/>
              <p:nvPr/>
            </p:nvSpPr>
            <p:spPr>
              <a:xfrm>
                <a:off x="5297766" y="2639787"/>
                <a:ext cx="193528" cy="199147"/>
              </a:xfrm>
              <a:custGeom>
                <a:avLst/>
                <a:gdLst/>
                <a:ahLst/>
                <a:cxnLst/>
                <a:rect l="l" t="t" r="r" b="b"/>
                <a:pathLst>
                  <a:path w="4925" h="5068" extrusionOk="0">
                    <a:moveTo>
                      <a:pt x="2971" y="1"/>
                    </a:moveTo>
                    <a:cubicBezTo>
                      <a:pt x="2873" y="1"/>
                      <a:pt x="2766" y="14"/>
                      <a:pt x="2649" y="43"/>
                    </a:cubicBezTo>
                    <a:cubicBezTo>
                      <a:pt x="1863" y="236"/>
                      <a:pt x="0" y="3338"/>
                      <a:pt x="0" y="3338"/>
                    </a:cubicBezTo>
                    <a:lnTo>
                      <a:pt x="4174" y="5067"/>
                    </a:lnTo>
                    <a:cubicBezTo>
                      <a:pt x="4174" y="5067"/>
                      <a:pt x="4924" y="2705"/>
                      <a:pt x="4454" y="1761"/>
                    </a:cubicBezTo>
                    <a:cubicBezTo>
                      <a:pt x="4017" y="883"/>
                      <a:pt x="3772" y="1"/>
                      <a:pt x="2971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1"/>
              <p:cNvSpPr/>
              <p:nvPr/>
            </p:nvSpPr>
            <p:spPr>
              <a:xfrm>
                <a:off x="5488310" y="2958906"/>
                <a:ext cx="102442" cy="63068"/>
              </a:xfrm>
              <a:custGeom>
                <a:avLst/>
                <a:gdLst/>
                <a:ahLst/>
                <a:cxnLst/>
                <a:rect l="l" t="t" r="r" b="b"/>
                <a:pathLst>
                  <a:path w="2607" h="1605" extrusionOk="0">
                    <a:moveTo>
                      <a:pt x="2606" y="1"/>
                    </a:moveTo>
                    <a:lnTo>
                      <a:pt x="696" y="202"/>
                    </a:lnTo>
                    <a:lnTo>
                      <a:pt x="0" y="765"/>
                    </a:lnTo>
                    <a:cubicBezTo>
                      <a:pt x="312" y="1494"/>
                      <a:pt x="1533" y="1605"/>
                      <a:pt x="1533" y="1605"/>
                    </a:cubicBezTo>
                    <a:lnTo>
                      <a:pt x="2606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1"/>
              <p:cNvSpPr/>
              <p:nvPr/>
            </p:nvSpPr>
            <p:spPr>
              <a:xfrm>
                <a:off x="5548510" y="2958906"/>
                <a:ext cx="95801" cy="96076"/>
              </a:xfrm>
              <a:custGeom>
                <a:avLst/>
                <a:gdLst/>
                <a:ahLst/>
                <a:cxnLst/>
                <a:rect l="l" t="t" r="r" b="b"/>
                <a:pathLst>
                  <a:path w="2438" h="2445" extrusionOk="0">
                    <a:moveTo>
                      <a:pt x="1074" y="1"/>
                    </a:moveTo>
                    <a:lnTo>
                      <a:pt x="1" y="1605"/>
                    </a:lnTo>
                    <a:lnTo>
                      <a:pt x="970" y="2445"/>
                    </a:lnTo>
                    <a:lnTo>
                      <a:pt x="2438" y="851"/>
                    </a:lnTo>
                    <a:lnTo>
                      <a:pt x="1074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1"/>
              <p:cNvSpPr/>
              <p:nvPr/>
            </p:nvSpPr>
            <p:spPr>
              <a:xfrm>
                <a:off x="5395494" y="4767365"/>
                <a:ext cx="39099" cy="18940"/>
              </a:xfrm>
              <a:custGeom>
                <a:avLst/>
                <a:gdLst/>
                <a:ahLst/>
                <a:cxnLst/>
                <a:rect l="l" t="t" r="r" b="b"/>
                <a:pathLst>
                  <a:path w="995" h="482" extrusionOk="0">
                    <a:moveTo>
                      <a:pt x="796" y="88"/>
                    </a:moveTo>
                    <a:cubicBezTo>
                      <a:pt x="818" y="88"/>
                      <a:pt x="836" y="91"/>
                      <a:pt x="851" y="98"/>
                    </a:cubicBezTo>
                    <a:cubicBezTo>
                      <a:pt x="865" y="105"/>
                      <a:pt x="883" y="119"/>
                      <a:pt x="890" y="159"/>
                    </a:cubicBezTo>
                    <a:cubicBezTo>
                      <a:pt x="901" y="227"/>
                      <a:pt x="887" y="281"/>
                      <a:pt x="843" y="316"/>
                    </a:cubicBezTo>
                    <a:cubicBezTo>
                      <a:pt x="789" y="368"/>
                      <a:pt x="685" y="393"/>
                      <a:pt x="545" y="393"/>
                    </a:cubicBezTo>
                    <a:cubicBezTo>
                      <a:pt x="438" y="393"/>
                      <a:pt x="310" y="378"/>
                      <a:pt x="166" y="349"/>
                    </a:cubicBezTo>
                    <a:cubicBezTo>
                      <a:pt x="372" y="227"/>
                      <a:pt x="650" y="88"/>
                      <a:pt x="796" y="88"/>
                    </a:cubicBezTo>
                    <a:close/>
                    <a:moveTo>
                      <a:pt x="792" y="1"/>
                    </a:moveTo>
                    <a:cubicBezTo>
                      <a:pt x="533" y="1"/>
                      <a:pt x="82" y="297"/>
                      <a:pt x="25" y="334"/>
                    </a:cubicBezTo>
                    <a:cubicBezTo>
                      <a:pt x="11" y="342"/>
                      <a:pt x="0" y="359"/>
                      <a:pt x="4" y="378"/>
                    </a:cubicBezTo>
                    <a:cubicBezTo>
                      <a:pt x="7" y="396"/>
                      <a:pt x="22" y="410"/>
                      <a:pt x="40" y="414"/>
                    </a:cubicBezTo>
                    <a:cubicBezTo>
                      <a:pt x="172" y="446"/>
                      <a:pt x="366" y="482"/>
                      <a:pt x="542" y="482"/>
                    </a:cubicBezTo>
                    <a:cubicBezTo>
                      <a:pt x="689" y="482"/>
                      <a:pt x="825" y="457"/>
                      <a:pt x="905" y="385"/>
                    </a:cubicBezTo>
                    <a:cubicBezTo>
                      <a:pt x="969" y="328"/>
                      <a:pt x="994" y="245"/>
                      <a:pt x="980" y="144"/>
                    </a:cubicBezTo>
                    <a:cubicBezTo>
                      <a:pt x="969" y="69"/>
                      <a:pt x="923" y="33"/>
                      <a:pt x="887" y="19"/>
                    </a:cubicBezTo>
                    <a:cubicBezTo>
                      <a:pt x="860" y="7"/>
                      <a:pt x="828" y="1"/>
                      <a:pt x="792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9" name="Google Shape;739;p31"/>
              <p:cNvSpPr/>
              <p:nvPr/>
            </p:nvSpPr>
            <p:spPr>
              <a:xfrm>
                <a:off x="5395612" y="4749799"/>
                <a:ext cx="23341" cy="33990"/>
              </a:xfrm>
              <a:custGeom>
                <a:avLst/>
                <a:gdLst/>
                <a:ahLst/>
                <a:cxnLst/>
                <a:rect l="l" t="t" r="r" b="b"/>
                <a:pathLst>
                  <a:path w="594" h="865" extrusionOk="0">
                    <a:moveTo>
                      <a:pt x="385" y="92"/>
                    </a:moveTo>
                    <a:cubicBezTo>
                      <a:pt x="446" y="100"/>
                      <a:pt x="456" y="125"/>
                      <a:pt x="461" y="147"/>
                    </a:cubicBezTo>
                    <a:cubicBezTo>
                      <a:pt x="489" y="279"/>
                      <a:pt x="274" y="588"/>
                      <a:pt x="94" y="731"/>
                    </a:cubicBezTo>
                    <a:cubicBezTo>
                      <a:pt x="101" y="548"/>
                      <a:pt x="144" y="240"/>
                      <a:pt x="267" y="132"/>
                    </a:cubicBezTo>
                    <a:cubicBezTo>
                      <a:pt x="295" y="103"/>
                      <a:pt x="327" y="92"/>
                      <a:pt x="367" y="92"/>
                    </a:cubicBezTo>
                    <a:close/>
                    <a:moveTo>
                      <a:pt x="361" y="0"/>
                    </a:moveTo>
                    <a:cubicBezTo>
                      <a:pt x="303" y="0"/>
                      <a:pt x="250" y="22"/>
                      <a:pt x="206" y="64"/>
                    </a:cubicBezTo>
                    <a:cubicBezTo>
                      <a:pt x="1" y="246"/>
                      <a:pt x="1" y="796"/>
                      <a:pt x="1" y="818"/>
                    </a:cubicBezTo>
                    <a:cubicBezTo>
                      <a:pt x="1" y="836"/>
                      <a:pt x="12" y="849"/>
                      <a:pt x="22" y="857"/>
                    </a:cubicBezTo>
                    <a:cubicBezTo>
                      <a:pt x="30" y="861"/>
                      <a:pt x="37" y="864"/>
                      <a:pt x="47" y="864"/>
                    </a:cubicBezTo>
                    <a:cubicBezTo>
                      <a:pt x="55" y="864"/>
                      <a:pt x="62" y="861"/>
                      <a:pt x="69" y="857"/>
                    </a:cubicBezTo>
                    <a:cubicBezTo>
                      <a:pt x="249" y="756"/>
                      <a:pt x="593" y="344"/>
                      <a:pt x="550" y="128"/>
                    </a:cubicBezTo>
                    <a:cubicBezTo>
                      <a:pt x="542" y="89"/>
                      <a:pt x="511" y="17"/>
                      <a:pt x="396" y="3"/>
                    </a:cubicBezTo>
                    <a:cubicBezTo>
                      <a:pt x="384" y="1"/>
                      <a:pt x="373" y="0"/>
                      <a:pt x="36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0" name="Google Shape;740;p31"/>
              <p:cNvSpPr/>
              <p:nvPr/>
            </p:nvSpPr>
            <p:spPr>
              <a:xfrm>
                <a:off x="5732413" y="4767404"/>
                <a:ext cx="46722" cy="19058"/>
              </a:xfrm>
              <a:custGeom>
                <a:avLst/>
                <a:gdLst/>
                <a:ahLst/>
                <a:cxnLst/>
                <a:rect l="l" t="t" r="r" b="b"/>
                <a:pathLst>
                  <a:path w="1189" h="485" extrusionOk="0">
                    <a:moveTo>
                      <a:pt x="977" y="88"/>
                    </a:moveTo>
                    <a:cubicBezTo>
                      <a:pt x="1011" y="88"/>
                      <a:pt x="1039" y="93"/>
                      <a:pt x="1060" y="104"/>
                    </a:cubicBezTo>
                    <a:cubicBezTo>
                      <a:pt x="1081" y="115"/>
                      <a:pt x="1089" y="129"/>
                      <a:pt x="1092" y="154"/>
                    </a:cubicBezTo>
                    <a:cubicBezTo>
                      <a:pt x="1099" y="215"/>
                      <a:pt x="1081" y="262"/>
                      <a:pt x="1042" y="298"/>
                    </a:cubicBezTo>
                    <a:cubicBezTo>
                      <a:pt x="973" y="361"/>
                      <a:pt x="830" y="392"/>
                      <a:pt x="634" y="392"/>
                    </a:cubicBezTo>
                    <a:cubicBezTo>
                      <a:pt x="506" y="392"/>
                      <a:pt x="356" y="378"/>
                      <a:pt x="188" y="352"/>
                    </a:cubicBezTo>
                    <a:cubicBezTo>
                      <a:pt x="449" y="225"/>
                      <a:pt x="798" y="88"/>
                      <a:pt x="977" y="88"/>
                    </a:cubicBezTo>
                    <a:close/>
                    <a:moveTo>
                      <a:pt x="979" y="0"/>
                    </a:moveTo>
                    <a:cubicBezTo>
                      <a:pt x="673" y="0"/>
                      <a:pt x="100" y="293"/>
                      <a:pt x="26" y="330"/>
                    </a:cubicBezTo>
                    <a:cubicBezTo>
                      <a:pt x="12" y="341"/>
                      <a:pt x="1" y="358"/>
                      <a:pt x="4" y="377"/>
                    </a:cubicBezTo>
                    <a:cubicBezTo>
                      <a:pt x="4" y="395"/>
                      <a:pt x="19" y="409"/>
                      <a:pt x="40" y="416"/>
                    </a:cubicBezTo>
                    <a:cubicBezTo>
                      <a:pt x="202" y="449"/>
                      <a:pt x="428" y="484"/>
                      <a:pt x="640" y="484"/>
                    </a:cubicBezTo>
                    <a:cubicBezTo>
                      <a:pt x="830" y="484"/>
                      <a:pt x="1003" y="452"/>
                      <a:pt x="1103" y="366"/>
                    </a:cubicBezTo>
                    <a:cubicBezTo>
                      <a:pt x="1164" y="308"/>
                      <a:pt x="1189" y="237"/>
                      <a:pt x="1182" y="143"/>
                    </a:cubicBezTo>
                    <a:cubicBezTo>
                      <a:pt x="1175" y="93"/>
                      <a:pt x="1150" y="50"/>
                      <a:pt x="1103" y="25"/>
                    </a:cubicBezTo>
                    <a:cubicBezTo>
                      <a:pt x="1070" y="8"/>
                      <a:pt x="1028" y="0"/>
                      <a:pt x="979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1"/>
              <p:cNvSpPr/>
              <p:nvPr/>
            </p:nvSpPr>
            <p:spPr>
              <a:xfrm>
                <a:off x="5732413" y="4749799"/>
                <a:ext cx="29118" cy="33990"/>
              </a:xfrm>
              <a:custGeom>
                <a:avLst/>
                <a:gdLst/>
                <a:ahLst/>
                <a:cxnLst/>
                <a:rect l="l" t="t" r="r" b="b"/>
                <a:pathLst>
                  <a:path w="741" h="865" extrusionOk="0">
                    <a:moveTo>
                      <a:pt x="525" y="92"/>
                    </a:moveTo>
                    <a:cubicBezTo>
                      <a:pt x="607" y="100"/>
                      <a:pt x="612" y="135"/>
                      <a:pt x="615" y="147"/>
                    </a:cubicBezTo>
                    <a:cubicBezTo>
                      <a:pt x="637" y="276"/>
                      <a:pt x="332" y="599"/>
                      <a:pt x="102" y="738"/>
                    </a:cubicBezTo>
                    <a:cubicBezTo>
                      <a:pt x="123" y="588"/>
                      <a:pt x="184" y="279"/>
                      <a:pt x="342" y="150"/>
                    </a:cubicBezTo>
                    <a:cubicBezTo>
                      <a:pt x="389" y="110"/>
                      <a:pt x="439" y="92"/>
                      <a:pt x="496" y="92"/>
                    </a:cubicBezTo>
                    <a:close/>
                    <a:moveTo>
                      <a:pt x="496" y="1"/>
                    </a:moveTo>
                    <a:cubicBezTo>
                      <a:pt x="420" y="1"/>
                      <a:pt x="347" y="29"/>
                      <a:pt x="284" y="82"/>
                    </a:cubicBezTo>
                    <a:cubicBezTo>
                      <a:pt x="44" y="279"/>
                      <a:pt x="4" y="793"/>
                      <a:pt x="4" y="814"/>
                    </a:cubicBezTo>
                    <a:cubicBezTo>
                      <a:pt x="1" y="832"/>
                      <a:pt x="9" y="846"/>
                      <a:pt x="22" y="857"/>
                    </a:cubicBezTo>
                    <a:cubicBezTo>
                      <a:pt x="30" y="861"/>
                      <a:pt x="40" y="864"/>
                      <a:pt x="47" y="864"/>
                    </a:cubicBezTo>
                    <a:cubicBezTo>
                      <a:pt x="55" y="864"/>
                      <a:pt x="62" y="861"/>
                      <a:pt x="65" y="861"/>
                    </a:cubicBezTo>
                    <a:cubicBezTo>
                      <a:pt x="299" y="753"/>
                      <a:pt x="741" y="351"/>
                      <a:pt x="705" y="132"/>
                    </a:cubicBezTo>
                    <a:cubicBezTo>
                      <a:pt x="693" y="78"/>
                      <a:pt x="658" y="14"/>
                      <a:pt x="532" y="3"/>
                    </a:cubicBezTo>
                    <a:cubicBezTo>
                      <a:pt x="520" y="1"/>
                      <a:pt x="508" y="1"/>
                      <a:pt x="496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2" name="Google Shape;742;p31"/>
              <p:cNvSpPr/>
              <p:nvPr/>
            </p:nvSpPr>
            <p:spPr>
              <a:xfrm>
                <a:off x="5530867" y="2460324"/>
                <a:ext cx="185944" cy="209207"/>
              </a:xfrm>
              <a:custGeom>
                <a:avLst/>
                <a:gdLst/>
                <a:ahLst/>
                <a:cxnLst/>
                <a:rect l="l" t="t" r="r" b="b"/>
                <a:pathLst>
                  <a:path w="4732" h="5324" extrusionOk="0">
                    <a:moveTo>
                      <a:pt x="44" y="1"/>
                    </a:moveTo>
                    <a:lnTo>
                      <a:pt x="44" y="1"/>
                    </a:lnTo>
                    <a:cubicBezTo>
                      <a:pt x="274" y="1131"/>
                      <a:pt x="787" y="3421"/>
                      <a:pt x="1" y="4179"/>
                    </a:cubicBezTo>
                    <a:cubicBezTo>
                      <a:pt x="1" y="4179"/>
                      <a:pt x="320" y="5324"/>
                      <a:pt x="2420" y="5324"/>
                    </a:cubicBezTo>
                    <a:cubicBezTo>
                      <a:pt x="4732" y="5324"/>
                      <a:pt x="3518" y="4179"/>
                      <a:pt x="3518" y="4179"/>
                    </a:cubicBezTo>
                    <a:cubicBezTo>
                      <a:pt x="2255" y="3877"/>
                      <a:pt x="2280" y="2940"/>
                      <a:pt x="2496" y="2061"/>
                    </a:cubicBezTo>
                    <a:lnTo>
                      <a:pt x="44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3" name="Google Shape;743;p31"/>
              <p:cNvSpPr/>
              <p:nvPr/>
            </p:nvSpPr>
            <p:spPr>
              <a:xfrm>
                <a:off x="5716066" y="2364954"/>
                <a:ext cx="35444" cy="16268"/>
              </a:xfrm>
              <a:custGeom>
                <a:avLst/>
                <a:gdLst/>
                <a:ahLst/>
                <a:cxnLst/>
                <a:rect l="l" t="t" r="r" b="b"/>
                <a:pathLst>
                  <a:path w="902" h="414" extrusionOk="0">
                    <a:moveTo>
                      <a:pt x="668" y="0"/>
                    </a:moveTo>
                    <a:cubicBezTo>
                      <a:pt x="514" y="0"/>
                      <a:pt x="268" y="41"/>
                      <a:pt x="37" y="256"/>
                    </a:cubicBezTo>
                    <a:cubicBezTo>
                      <a:pt x="1" y="291"/>
                      <a:pt x="1" y="349"/>
                      <a:pt x="33" y="385"/>
                    </a:cubicBezTo>
                    <a:cubicBezTo>
                      <a:pt x="51" y="403"/>
                      <a:pt x="76" y="414"/>
                      <a:pt x="102" y="414"/>
                    </a:cubicBezTo>
                    <a:cubicBezTo>
                      <a:pt x="123" y="414"/>
                      <a:pt x="145" y="407"/>
                      <a:pt x="162" y="389"/>
                    </a:cubicBezTo>
                    <a:cubicBezTo>
                      <a:pt x="349" y="213"/>
                      <a:pt x="548" y="181"/>
                      <a:pt x="669" y="181"/>
                    </a:cubicBezTo>
                    <a:cubicBezTo>
                      <a:pt x="733" y="181"/>
                      <a:pt x="774" y="190"/>
                      <a:pt x="780" y="192"/>
                    </a:cubicBezTo>
                    <a:cubicBezTo>
                      <a:pt x="786" y="193"/>
                      <a:pt x="793" y="194"/>
                      <a:pt x="800" y="194"/>
                    </a:cubicBezTo>
                    <a:cubicBezTo>
                      <a:pt x="842" y="194"/>
                      <a:pt x="879" y="167"/>
                      <a:pt x="891" y="127"/>
                    </a:cubicBezTo>
                    <a:cubicBezTo>
                      <a:pt x="902" y="76"/>
                      <a:pt x="873" y="26"/>
                      <a:pt x="823" y="16"/>
                    </a:cubicBezTo>
                    <a:cubicBezTo>
                      <a:pt x="817" y="14"/>
                      <a:pt x="758" y="0"/>
                      <a:pt x="66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1"/>
              <p:cNvSpPr/>
              <p:nvPr/>
            </p:nvSpPr>
            <p:spPr>
              <a:xfrm>
                <a:off x="5721292" y="2426884"/>
                <a:ext cx="21887" cy="44757"/>
              </a:xfrm>
              <a:custGeom>
                <a:avLst/>
                <a:gdLst/>
                <a:ahLst/>
                <a:cxnLst/>
                <a:rect l="l" t="t" r="r" b="b"/>
                <a:pathLst>
                  <a:path w="557" h="1139" extrusionOk="0">
                    <a:moveTo>
                      <a:pt x="244" y="1"/>
                    </a:moveTo>
                    <a:lnTo>
                      <a:pt x="0" y="1056"/>
                    </a:lnTo>
                    <a:cubicBezTo>
                      <a:pt x="0" y="1056"/>
                      <a:pt x="159" y="1139"/>
                      <a:pt x="336" y="1139"/>
                    </a:cubicBezTo>
                    <a:cubicBezTo>
                      <a:pt x="410" y="1139"/>
                      <a:pt x="487" y="1125"/>
                      <a:pt x="557" y="1084"/>
                    </a:cubicBezTo>
                    <a:cubicBezTo>
                      <a:pt x="348" y="705"/>
                      <a:pt x="244" y="1"/>
                      <a:pt x="244" y="1"/>
                    </a:cubicBezTo>
                    <a:close/>
                  </a:path>
                </a:pathLst>
              </a:custGeom>
              <a:solidFill>
                <a:srgbClr val="DE575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5" name="Google Shape;745;p31"/>
              <p:cNvSpPr/>
              <p:nvPr/>
            </p:nvSpPr>
            <p:spPr>
              <a:xfrm>
                <a:off x="5726637" y="2406332"/>
                <a:ext cx="16543" cy="21691"/>
              </a:xfrm>
              <a:custGeom>
                <a:avLst/>
                <a:gdLst/>
                <a:ahLst/>
                <a:cxnLst/>
                <a:rect l="l" t="t" r="r" b="b"/>
                <a:pathLst>
                  <a:path w="421" h="552" extrusionOk="0">
                    <a:moveTo>
                      <a:pt x="248" y="1"/>
                    </a:moveTo>
                    <a:cubicBezTo>
                      <a:pt x="159" y="1"/>
                      <a:pt x="66" y="99"/>
                      <a:pt x="33" y="233"/>
                    </a:cubicBezTo>
                    <a:cubicBezTo>
                      <a:pt x="1" y="384"/>
                      <a:pt x="51" y="524"/>
                      <a:pt x="148" y="549"/>
                    </a:cubicBezTo>
                    <a:cubicBezTo>
                      <a:pt x="156" y="551"/>
                      <a:pt x="165" y="552"/>
                      <a:pt x="174" y="552"/>
                    </a:cubicBezTo>
                    <a:cubicBezTo>
                      <a:pt x="264" y="552"/>
                      <a:pt x="356" y="453"/>
                      <a:pt x="388" y="320"/>
                    </a:cubicBezTo>
                    <a:cubicBezTo>
                      <a:pt x="421" y="169"/>
                      <a:pt x="371" y="28"/>
                      <a:pt x="274" y="3"/>
                    </a:cubicBezTo>
                    <a:cubicBezTo>
                      <a:pt x="265" y="2"/>
                      <a:pt x="257" y="1"/>
                      <a:pt x="248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6" name="Google Shape;746;p31"/>
              <p:cNvSpPr/>
              <p:nvPr/>
            </p:nvSpPr>
            <p:spPr>
              <a:xfrm>
                <a:off x="5735557" y="2405743"/>
                <a:ext cx="15129" cy="4401"/>
              </a:xfrm>
              <a:custGeom>
                <a:avLst/>
                <a:gdLst/>
                <a:ahLst/>
                <a:cxnLst/>
                <a:rect l="l" t="t" r="r" b="b"/>
                <a:pathLst>
                  <a:path w="385" h="112" extrusionOk="0">
                    <a:moveTo>
                      <a:pt x="384" y="0"/>
                    </a:moveTo>
                    <a:lnTo>
                      <a:pt x="0" y="18"/>
                    </a:lnTo>
                    <a:cubicBezTo>
                      <a:pt x="43" y="88"/>
                      <a:pt x="97" y="111"/>
                      <a:pt x="151" y="111"/>
                    </a:cubicBezTo>
                    <a:cubicBezTo>
                      <a:pt x="268" y="111"/>
                      <a:pt x="384" y="0"/>
                      <a:pt x="38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7" name="Google Shape;747;p31"/>
              <p:cNvSpPr/>
              <p:nvPr/>
            </p:nvSpPr>
            <p:spPr>
              <a:xfrm>
                <a:off x="5651897" y="4608414"/>
                <a:ext cx="78865" cy="173527"/>
              </a:xfrm>
              <a:custGeom>
                <a:avLst/>
                <a:gdLst/>
                <a:ahLst/>
                <a:cxnLst/>
                <a:rect l="l" t="t" r="r" b="b"/>
                <a:pathLst>
                  <a:path w="2007" h="4416" extrusionOk="0">
                    <a:moveTo>
                      <a:pt x="101" y="1"/>
                    </a:moveTo>
                    <a:lnTo>
                      <a:pt x="1" y="4416"/>
                    </a:lnTo>
                    <a:lnTo>
                      <a:pt x="1907" y="4416"/>
                    </a:lnTo>
                    <a:lnTo>
                      <a:pt x="2007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1"/>
              <p:cNvSpPr/>
              <p:nvPr/>
            </p:nvSpPr>
            <p:spPr>
              <a:xfrm>
                <a:off x="5311559" y="4608414"/>
                <a:ext cx="97923" cy="173527"/>
              </a:xfrm>
              <a:custGeom>
                <a:avLst/>
                <a:gdLst/>
                <a:ahLst/>
                <a:cxnLst/>
                <a:rect l="l" t="t" r="r" b="b"/>
                <a:pathLst>
                  <a:path w="2492" h="4416" extrusionOk="0">
                    <a:moveTo>
                      <a:pt x="586" y="1"/>
                    </a:moveTo>
                    <a:lnTo>
                      <a:pt x="1" y="4416"/>
                    </a:lnTo>
                    <a:lnTo>
                      <a:pt x="1906" y="4416"/>
                    </a:lnTo>
                    <a:lnTo>
                      <a:pt x="2492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9" name="Google Shape;749;p31"/>
              <p:cNvSpPr/>
              <p:nvPr/>
            </p:nvSpPr>
            <p:spPr>
              <a:xfrm>
                <a:off x="5290811" y="4773298"/>
                <a:ext cx="214001" cy="85074"/>
              </a:xfrm>
              <a:custGeom>
                <a:avLst/>
                <a:gdLst/>
                <a:ahLst/>
                <a:cxnLst/>
                <a:rect l="l" t="t" r="r" b="b"/>
                <a:pathLst>
                  <a:path w="5446" h="2165" extrusionOk="0">
                    <a:moveTo>
                      <a:pt x="410" y="1"/>
                    </a:moveTo>
                    <a:cubicBezTo>
                      <a:pt x="331" y="1"/>
                      <a:pt x="270" y="54"/>
                      <a:pt x="259" y="130"/>
                    </a:cubicBezTo>
                    <a:lnTo>
                      <a:pt x="26" y="1824"/>
                    </a:lnTo>
                    <a:cubicBezTo>
                      <a:pt x="1" y="1998"/>
                      <a:pt x="152" y="2161"/>
                      <a:pt x="329" y="2161"/>
                    </a:cubicBezTo>
                    <a:cubicBezTo>
                      <a:pt x="331" y="2161"/>
                      <a:pt x="333" y="2161"/>
                      <a:pt x="335" y="2161"/>
                    </a:cubicBezTo>
                    <a:cubicBezTo>
                      <a:pt x="1082" y="2151"/>
                      <a:pt x="1440" y="2108"/>
                      <a:pt x="2381" y="2108"/>
                    </a:cubicBezTo>
                    <a:cubicBezTo>
                      <a:pt x="2962" y="2108"/>
                      <a:pt x="3809" y="2165"/>
                      <a:pt x="4609" y="2165"/>
                    </a:cubicBezTo>
                    <a:cubicBezTo>
                      <a:pt x="5392" y="2165"/>
                      <a:pt x="5446" y="1376"/>
                      <a:pt x="5112" y="1303"/>
                    </a:cubicBezTo>
                    <a:cubicBezTo>
                      <a:pt x="3615" y="984"/>
                      <a:pt x="3378" y="539"/>
                      <a:pt x="2873" y="115"/>
                    </a:cubicBezTo>
                    <a:cubicBezTo>
                      <a:pt x="2779" y="40"/>
                      <a:pt x="2668" y="1"/>
                      <a:pt x="2553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0" name="Google Shape;750;p31"/>
              <p:cNvSpPr/>
              <p:nvPr/>
            </p:nvSpPr>
            <p:spPr>
              <a:xfrm>
                <a:off x="5629184" y="4773298"/>
                <a:ext cx="227675" cy="85074"/>
              </a:xfrm>
              <a:custGeom>
                <a:avLst/>
                <a:gdLst/>
                <a:ahLst/>
                <a:cxnLst/>
                <a:rect l="l" t="t" r="r" b="b"/>
                <a:pathLst>
                  <a:path w="5794" h="2165" extrusionOk="0">
                    <a:moveTo>
                      <a:pt x="406" y="1"/>
                    </a:moveTo>
                    <a:cubicBezTo>
                      <a:pt x="331" y="1"/>
                      <a:pt x="267" y="54"/>
                      <a:pt x="255" y="130"/>
                    </a:cubicBezTo>
                    <a:lnTo>
                      <a:pt x="22" y="1824"/>
                    </a:lnTo>
                    <a:cubicBezTo>
                      <a:pt x="1" y="1998"/>
                      <a:pt x="148" y="2161"/>
                      <a:pt x="326" y="2161"/>
                    </a:cubicBezTo>
                    <a:cubicBezTo>
                      <a:pt x="328" y="2161"/>
                      <a:pt x="329" y="2161"/>
                      <a:pt x="331" y="2161"/>
                    </a:cubicBezTo>
                    <a:cubicBezTo>
                      <a:pt x="1077" y="2151"/>
                      <a:pt x="1437" y="2108"/>
                      <a:pt x="2381" y="2108"/>
                    </a:cubicBezTo>
                    <a:cubicBezTo>
                      <a:pt x="2959" y="2108"/>
                      <a:pt x="4157" y="2165"/>
                      <a:pt x="4957" y="2165"/>
                    </a:cubicBezTo>
                    <a:cubicBezTo>
                      <a:pt x="5740" y="2165"/>
                      <a:pt x="5794" y="1376"/>
                      <a:pt x="5460" y="1303"/>
                    </a:cubicBezTo>
                    <a:cubicBezTo>
                      <a:pt x="3967" y="984"/>
                      <a:pt x="3375" y="539"/>
                      <a:pt x="2868" y="115"/>
                    </a:cubicBezTo>
                    <a:cubicBezTo>
                      <a:pt x="2779" y="40"/>
                      <a:pt x="2664" y="1"/>
                      <a:pt x="2549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1" name="Google Shape;751;p31"/>
              <p:cNvSpPr/>
              <p:nvPr/>
            </p:nvSpPr>
            <p:spPr>
              <a:xfrm>
                <a:off x="5653744" y="4608571"/>
                <a:ext cx="77018" cy="89475"/>
              </a:xfrm>
              <a:custGeom>
                <a:avLst/>
                <a:gdLst/>
                <a:ahLst/>
                <a:cxnLst/>
                <a:rect l="l" t="t" r="r" b="b"/>
                <a:pathLst>
                  <a:path w="1960" h="2277" extrusionOk="0">
                    <a:moveTo>
                      <a:pt x="51" y="0"/>
                    </a:moveTo>
                    <a:lnTo>
                      <a:pt x="0" y="2276"/>
                    </a:lnTo>
                    <a:lnTo>
                      <a:pt x="1910" y="2276"/>
                    </a:lnTo>
                    <a:lnTo>
                      <a:pt x="1960" y="0"/>
                    </a:lnTo>
                    <a:close/>
                  </a:path>
                </a:pathLst>
              </a:custGeom>
              <a:solidFill>
                <a:srgbClr val="CE6F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2" name="Google Shape;752;p31"/>
              <p:cNvSpPr/>
              <p:nvPr/>
            </p:nvSpPr>
            <p:spPr>
              <a:xfrm>
                <a:off x="5322718" y="4608571"/>
                <a:ext cx="86763" cy="89475"/>
              </a:xfrm>
              <a:custGeom>
                <a:avLst/>
                <a:gdLst/>
                <a:ahLst/>
                <a:cxnLst/>
                <a:rect l="l" t="t" r="r" b="b"/>
                <a:pathLst>
                  <a:path w="2208" h="2277" extrusionOk="0">
                    <a:moveTo>
                      <a:pt x="302" y="0"/>
                    </a:moveTo>
                    <a:lnTo>
                      <a:pt x="0" y="2276"/>
                    </a:lnTo>
                    <a:lnTo>
                      <a:pt x="1906" y="2276"/>
                    </a:lnTo>
                    <a:lnTo>
                      <a:pt x="2208" y="0"/>
                    </a:lnTo>
                    <a:close/>
                  </a:path>
                </a:pathLst>
              </a:custGeom>
              <a:solidFill>
                <a:srgbClr val="CE6F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3" name="Google Shape;753;p31"/>
              <p:cNvSpPr/>
              <p:nvPr/>
            </p:nvSpPr>
            <p:spPr>
              <a:xfrm>
                <a:off x="5401860" y="2621986"/>
                <a:ext cx="429730" cy="473741"/>
              </a:xfrm>
              <a:custGeom>
                <a:avLst/>
                <a:gdLst/>
                <a:ahLst/>
                <a:cxnLst/>
                <a:rect l="l" t="t" r="r" b="b"/>
                <a:pathLst>
                  <a:path w="10936" h="12056" extrusionOk="0">
                    <a:moveTo>
                      <a:pt x="5294" y="1"/>
                    </a:moveTo>
                    <a:cubicBezTo>
                      <a:pt x="4661" y="1"/>
                      <a:pt x="4009" y="29"/>
                      <a:pt x="3284" y="65"/>
                    </a:cubicBezTo>
                    <a:cubicBezTo>
                      <a:pt x="1622" y="143"/>
                      <a:pt x="0" y="496"/>
                      <a:pt x="0" y="496"/>
                    </a:cubicBezTo>
                    <a:cubicBezTo>
                      <a:pt x="1551" y="6963"/>
                      <a:pt x="1558" y="8905"/>
                      <a:pt x="1450" y="12056"/>
                    </a:cubicBezTo>
                    <a:lnTo>
                      <a:pt x="9188" y="12056"/>
                    </a:lnTo>
                    <a:cubicBezTo>
                      <a:pt x="10936" y="872"/>
                      <a:pt x="10025" y="552"/>
                      <a:pt x="10025" y="552"/>
                    </a:cubicBezTo>
                    <a:cubicBezTo>
                      <a:pt x="10025" y="552"/>
                      <a:pt x="8313" y="201"/>
                      <a:pt x="6801" y="65"/>
                    </a:cubicBezTo>
                    <a:cubicBezTo>
                      <a:pt x="6292" y="19"/>
                      <a:pt x="5799" y="1"/>
                      <a:pt x="5294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4" name="Google Shape;754;p31"/>
              <p:cNvSpPr/>
              <p:nvPr/>
            </p:nvSpPr>
            <p:spPr>
              <a:xfrm>
                <a:off x="5744595" y="2726905"/>
                <a:ext cx="303515" cy="331846"/>
              </a:xfrm>
              <a:custGeom>
                <a:avLst/>
                <a:gdLst/>
                <a:ahLst/>
                <a:cxnLst/>
                <a:rect l="l" t="t" r="r" b="b"/>
                <a:pathLst>
                  <a:path w="7724" h="8445" extrusionOk="0">
                    <a:moveTo>
                      <a:pt x="1927" y="1"/>
                    </a:moveTo>
                    <a:lnTo>
                      <a:pt x="0" y="284"/>
                    </a:lnTo>
                    <a:cubicBezTo>
                      <a:pt x="79" y="844"/>
                      <a:pt x="179" y="1364"/>
                      <a:pt x="290" y="1896"/>
                    </a:cubicBezTo>
                    <a:cubicBezTo>
                      <a:pt x="398" y="2426"/>
                      <a:pt x="534" y="2954"/>
                      <a:pt x="682" y="3478"/>
                    </a:cubicBezTo>
                    <a:cubicBezTo>
                      <a:pt x="980" y="4530"/>
                      <a:pt x="1331" y="5578"/>
                      <a:pt x="1895" y="6608"/>
                    </a:cubicBezTo>
                    <a:cubicBezTo>
                      <a:pt x="2038" y="6866"/>
                      <a:pt x="2200" y="7121"/>
                      <a:pt x="2391" y="7376"/>
                    </a:cubicBezTo>
                    <a:cubicBezTo>
                      <a:pt x="2484" y="7502"/>
                      <a:pt x="2595" y="7628"/>
                      <a:pt x="2706" y="7749"/>
                    </a:cubicBezTo>
                    <a:cubicBezTo>
                      <a:pt x="2839" y="7890"/>
                      <a:pt x="2997" y="8026"/>
                      <a:pt x="3180" y="8141"/>
                    </a:cubicBezTo>
                    <a:cubicBezTo>
                      <a:pt x="3481" y="8337"/>
                      <a:pt x="3873" y="8445"/>
                      <a:pt x="4235" y="8445"/>
                    </a:cubicBezTo>
                    <a:cubicBezTo>
                      <a:pt x="4317" y="8445"/>
                      <a:pt x="4398" y="8439"/>
                      <a:pt x="4475" y="8428"/>
                    </a:cubicBezTo>
                    <a:cubicBezTo>
                      <a:pt x="4903" y="8374"/>
                      <a:pt x="5240" y="8213"/>
                      <a:pt x="5524" y="8037"/>
                    </a:cubicBezTo>
                    <a:cubicBezTo>
                      <a:pt x="6087" y="7678"/>
                      <a:pt x="6475" y="7237"/>
                      <a:pt x="6830" y="6791"/>
                    </a:cubicBezTo>
                    <a:cubicBezTo>
                      <a:pt x="7006" y="6569"/>
                      <a:pt x="7167" y="6339"/>
                      <a:pt x="7311" y="6102"/>
                    </a:cubicBezTo>
                    <a:cubicBezTo>
                      <a:pt x="7462" y="5862"/>
                      <a:pt x="7595" y="5632"/>
                      <a:pt x="7724" y="5367"/>
                    </a:cubicBezTo>
                    <a:lnTo>
                      <a:pt x="6909" y="4850"/>
                    </a:lnTo>
                    <a:cubicBezTo>
                      <a:pt x="6755" y="5025"/>
                      <a:pt x="6579" y="5219"/>
                      <a:pt x="6407" y="5398"/>
                    </a:cubicBezTo>
                    <a:cubicBezTo>
                      <a:pt x="6231" y="5574"/>
                      <a:pt x="6052" y="5746"/>
                      <a:pt x="5872" y="5912"/>
                    </a:cubicBezTo>
                    <a:cubicBezTo>
                      <a:pt x="5517" y="6238"/>
                      <a:pt x="5121" y="6522"/>
                      <a:pt x="4770" y="6684"/>
                    </a:cubicBezTo>
                    <a:cubicBezTo>
                      <a:pt x="4608" y="6756"/>
                      <a:pt x="4459" y="6792"/>
                      <a:pt x="4358" y="6792"/>
                    </a:cubicBezTo>
                    <a:cubicBezTo>
                      <a:pt x="4349" y="6792"/>
                      <a:pt x="4340" y="6792"/>
                      <a:pt x="4332" y="6791"/>
                    </a:cubicBezTo>
                    <a:cubicBezTo>
                      <a:pt x="4231" y="6784"/>
                      <a:pt x="4200" y="6755"/>
                      <a:pt x="4131" y="6702"/>
                    </a:cubicBezTo>
                    <a:cubicBezTo>
                      <a:pt x="4095" y="6672"/>
                      <a:pt x="4056" y="6629"/>
                      <a:pt x="4013" y="6576"/>
                    </a:cubicBezTo>
                    <a:cubicBezTo>
                      <a:pt x="3955" y="6497"/>
                      <a:pt x="3894" y="6422"/>
                      <a:pt x="3837" y="6332"/>
                    </a:cubicBezTo>
                    <a:cubicBezTo>
                      <a:pt x="3722" y="6160"/>
                      <a:pt x="3610" y="5966"/>
                      <a:pt x="3514" y="5754"/>
                    </a:cubicBezTo>
                    <a:cubicBezTo>
                      <a:pt x="3305" y="5342"/>
                      <a:pt x="3133" y="4882"/>
                      <a:pt x="2979" y="4415"/>
                    </a:cubicBezTo>
                    <a:cubicBezTo>
                      <a:pt x="2821" y="3949"/>
                      <a:pt x="2681" y="3464"/>
                      <a:pt x="2555" y="2976"/>
                    </a:cubicBezTo>
                    <a:cubicBezTo>
                      <a:pt x="2311" y="1999"/>
                      <a:pt x="2096" y="980"/>
                      <a:pt x="1927" y="1"/>
                    </a:cubicBez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5" name="Google Shape;755;p31"/>
              <p:cNvSpPr/>
              <p:nvPr/>
            </p:nvSpPr>
            <p:spPr>
              <a:xfrm>
                <a:off x="5682076" y="2638490"/>
                <a:ext cx="167161" cy="221034"/>
              </a:xfrm>
              <a:custGeom>
                <a:avLst/>
                <a:gdLst/>
                <a:ahLst/>
                <a:cxnLst/>
                <a:rect l="l" t="t" r="r" b="b"/>
                <a:pathLst>
                  <a:path w="4254" h="5625" extrusionOk="0">
                    <a:moveTo>
                      <a:pt x="2031" y="1"/>
                    </a:moveTo>
                    <a:cubicBezTo>
                      <a:pt x="1432" y="1"/>
                      <a:pt x="1040" y="273"/>
                      <a:pt x="600" y="911"/>
                    </a:cubicBezTo>
                    <a:cubicBezTo>
                      <a:pt x="1" y="1777"/>
                      <a:pt x="1235" y="5624"/>
                      <a:pt x="1235" y="5624"/>
                    </a:cubicBezTo>
                    <a:lnTo>
                      <a:pt x="4254" y="3564"/>
                    </a:lnTo>
                    <a:cubicBezTo>
                      <a:pt x="4254" y="3564"/>
                      <a:pt x="3684" y="330"/>
                      <a:pt x="2894" y="132"/>
                    </a:cubicBezTo>
                    <a:cubicBezTo>
                      <a:pt x="2559" y="47"/>
                      <a:pt x="2278" y="1"/>
                      <a:pt x="2031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6" name="Google Shape;756;p31"/>
              <p:cNvSpPr/>
              <p:nvPr/>
            </p:nvSpPr>
            <p:spPr>
              <a:xfrm>
                <a:off x="5997618" y="2884126"/>
                <a:ext cx="87038" cy="62676"/>
              </a:xfrm>
              <a:custGeom>
                <a:avLst/>
                <a:gdLst/>
                <a:ahLst/>
                <a:cxnLst/>
                <a:rect l="l" t="t" r="r" b="b"/>
                <a:pathLst>
                  <a:path w="2215" h="1595" extrusionOk="0">
                    <a:moveTo>
                      <a:pt x="423" y="1"/>
                    </a:moveTo>
                    <a:cubicBezTo>
                      <a:pt x="423" y="1"/>
                      <a:pt x="0" y="856"/>
                      <a:pt x="287" y="1595"/>
                    </a:cubicBezTo>
                    <a:lnTo>
                      <a:pt x="1181" y="1513"/>
                    </a:lnTo>
                    <a:lnTo>
                      <a:pt x="2214" y="37"/>
                    </a:lnTo>
                    <a:lnTo>
                      <a:pt x="423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57" name="Google Shape;757;p31"/>
              <p:cNvGrpSpPr/>
              <p:nvPr/>
            </p:nvGrpSpPr>
            <p:grpSpPr>
              <a:xfrm>
                <a:off x="5932859" y="2488224"/>
                <a:ext cx="384109" cy="413192"/>
                <a:chOff x="5932859" y="2488224"/>
                <a:chExt cx="384109" cy="413192"/>
              </a:xfrm>
            </p:grpSpPr>
            <p:sp>
              <p:nvSpPr>
                <p:cNvPr id="758" name="Google Shape;758;p31"/>
                <p:cNvSpPr/>
                <p:nvPr/>
              </p:nvSpPr>
              <p:spPr>
                <a:xfrm>
                  <a:off x="5978835" y="2512234"/>
                  <a:ext cx="274515" cy="2028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86" h="5163" extrusionOk="0">
                      <a:moveTo>
                        <a:pt x="3188" y="0"/>
                      </a:moveTo>
                      <a:cubicBezTo>
                        <a:pt x="1864" y="191"/>
                        <a:pt x="683" y="1088"/>
                        <a:pt x="191" y="2434"/>
                      </a:cubicBezTo>
                      <a:cubicBezTo>
                        <a:pt x="98" y="2689"/>
                        <a:pt x="36" y="2947"/>
                        <a:pt x="0" y="3209"/>
                      </a:cubicBezTo>
                      <a:lnTo>
                        <a:pt x="5718" y="542"/>
                      </a:lnTo>
                      <a:cubicBezTo>
                        <a:pt x="6085" y="772"/>
                        <a:pt x="6404" y="1063"/>
                        <a:pt x="6663" y="1393"/>
                      </a:cubicBezTo>
                      <a:lnTo>
                        <a:pt x="5632" y="1871"/>
                      </a:lnTo>
                      <a:lnTo>
                        <a:pt x="6986" y="1871"/>
                      </a:lnTo>
                      <a:cubicBezTo>
                        <a:pt x="6562" y="1120"/>
                        <a:pt x="5880" y="510"/>
                        <a:pt x="5004" y="194"/>
                      </a:cubicBezTo>
                      <a:cubicBezTo>
                        <a:pt x="4864" y="140"/>
                        <a:pt x="4724" y="101"/>
                        <a:pt x="4584" y="65"/>
                      </a:cubicBezTo>
                      <a:cubicBezTo>
                        <a:pt x="4251" y="40"/>
                        <a:pt x="3916" y="22"/>
                        <a:pt x="3580" y="11"/>
                      </a:cubicBezTo>
                      <a:cubicBezTo>
                        <a:pt x="3450" y="7"/>
                        <a:pt x="3321" y="4"/>
                        <a:pt x="3188" y="0"/>
                      </a:cubicBezTo>
                      <a:close/>
                      <a:moveTo>
                        <a:pt x="3623" y="2810"/>
                      </a:moveTo>
                      <a:lnTo>
                        <a:pt x="40" y="4476"/>
                      </a:lnTo>
                      <a:cubicBezTo>
                        <a:pt x="91" y="4713"/>
                        <a:pt x="162" y="4942"/>
                        <a:pt x="252" y="5162"/>
                      </a:cubicBezTo>
                      <a:lnTo>
                        <a:pt x="3623" y="3593"/>
                      </a:lnTo>
                      <a:lnTo>
                        <a:pt x="3623" y="281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9" name="Google Shape;759;p31"/>
                <p:cNvSpPr/>
                <p:nvPr/>
              </p:nvSpPr>
              <p:spPr>
                <a:xfrm>
                  <a:off x="6121163" y="2585716"/>
                  <a:ext cx="134743" cy="67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9" h="1724" extrusionOk="0">
                      <a:moveTo>
                        <a:pt x="2010" y="1"/>
                      </a:moveTo>
                      <a:lnTo>
                        <a:pt x="1" y="940"/>
                      </a:lnTo>
                      <a:lnTo>
                        <a:pt x="1" y="1723"/>
                      </a:lnTo>
                      <a:lnTo>
                        <a:pt x="3428" y="126"/>
                      </a:lnTo>
                      <a:cubicBezTo>
                        <a:pt x="3407" y="83"/>
                        <a:pt x="3385" y="44"/>
                        <a:pt x="3364" y="1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0" name="Google Shape;760;p31"/>
                <p:cNvSpPr/>
                <p:nvPr/>
              </p:nvSpPr>
              <p:spPr>
                <a:xfrm>
                  <a:off x="6121163" y="2618607"/>
                  <a:ext cx="151364" cy="1873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52" h="4767" extrusionOk="0">
                      <a:moveTo>
                        <a:pt x="3712" y="0"/>
                      </a:moveTo>
                      <a:cubicBezTo>
                        <a:pt x="3731" y="72"/>
                        <a:pt x="3749" y="145"/>
                        <a:pt x="3765" y="218"/>
                      </a:cubicBezTo>
                      <a:lnTo>
                        <a:pt x="3765" y="218"/>
                      </a:lnTo>
                      <a:cubicBezTo>
                        <a:pt x="3749" y="145"/>
                        <a:pt x="3731" y="72"/>
                        <a:pt x="3712" y="0"/>
                      </a:cubicBezTo>
                      <a:close/>
                      <a:moveTo>
                        <a:pt x="3765" y="218"/>
                      </a:moveTo>
                      <a:lnTo>
                        <a:pt x="3765" y="218"/>
                      </a:lnTo>
                      <a:cubicBezTo>
                        <a:pt x="3779" y="286"/>
                        <a:pt x="3792" y="355"/>
                        <a:pt x="3804" y="425"/>
                      </a:cubicBezTo>
                      <a:lnTo>
                        <a:pt x="3804" y="425"/>
                      </a:lnTo>
                      <a:cubicBezTo>
                        <a:pt x="3792" y="355"/>
                        <a:pt x="3779" y="286"/>
                        <a:pt x="3765" y="218"/>
                      </a:cubicBezTo>
                      <a:close/>
                      <a:moveTo>
                        <a:pt x="3804" y="425"/>
                      </a:moveTo>
                      <a:cubicBezTo>
                        <a:pt x="3830" y="593"/>
                        <a:pt x="3846" y="764"/>
                        <a:pt x="3848" y="936"/>
                      </a:cubicBezTo>
                      <a:lnTo>
                        <a:pt x="1" y="2731"/>
                      </a:lnTo>
                      <a:lnTo>
                        <a:pt x="1" y="4763"/>
                      </a:lnTo>
                      <a:cubicBezTo>
                        <a:pt x="32" y="4763"/>
                        <a:pt x="69" y="4766"/>
                        <a:pt x="101" y="4766"/>
                      </a:cubicBezTo>
                      <a:cubicBezTo>
                        <a:pt x="1633" y="4766"/>
                        <a:pt x="3069" y="3819"/>
                        <a:pt x="3622" y="2297"/>
                      </a:cubicBezTo>
                      <a:cubicBezTo>
                        <a:pt x="3776" y="1874"/>
                        <a:pt x="3851" y="1439"/>
                        <a:pt x="3851" y="1012"/>
                      </a:cubicBezTo>
                      <a:cubicBezTo>
                        <a:pt x="3851" y="857"/>
                        <a:pt x="3841" y="706"/>
                        <a:pt x="3823" y="556"/>
                      </a:cubicBezTo>
                      <a:cubicBezTo>
                        <a:pt x="3817" y="512"/>
                        <a:pt x="3811" y="468"/>
                        <a:pt x="3804" y="425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1" name="Google Shape;761;p31"/>
                <p:cNvSpPr/>
                <p:nvPr/>
              </p:nvSpPr>
              <p:spPr>
                <a:xfrm>
                  <a:off x="6121163" y="2585716"/>
                  <a:ext cx="79022" cy="3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11" h="941" extrusionOk="0">
                      <a:moveTo>
                        <a:pt x="1" y="1"/>
                      </a:moveTo>
                      <a:lnTo>
                        <a:pt x="1" y="940"/>
                      </a:lnTo>
                      <a:lnTo>
                        <a:pt x="2010" y="1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2" name="Google Shape;762;p31"/>
                <p:cNvSpPr/>
                <p:nvPr/>
              </p:nvSpPr>
              <p:spPr>
                <a:xfrm>
                  <a:off x="6121163" y="2590667"/>
                  <a:ext cx="151207" cy="1352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442" extrusionOk="0">
                      <a:moveTo>
                        <a:pt x="3428" y="0"/>
                      </a:moveTo>
                      <a:lnTo>
                        <a:pt x="1" y="1597"/>
                      </a:lnTo>
                      <a:lnTo>
                        <a:pt x="1" y="3442"/>
                      </a:lnTo>
                      <a:lnTo>
                        <a:pt x="3848" y="1647"/>
                      </a:lnTo>
                      <a:cubicBezTo>
                        <a:pt x="3844" y="1328"/>
                        <a:pt x="3794" y="1016"/>
                        <a:pt x="3712" y="711"/>
                      </a:cubicBezTo>
                      <a:cubicBezTo>
                        <a:pt x="3712" y="711"/>
                        <a:pt x="3708" y="711"/>
                        <a:pt x="3708" y="707"/>
                      </a:cubicBezTo>
                      <a:cubicBezTo>
                        <a:pt x="3640" y="463"/>
                        <a:pt x="3546" y="226"/>
                        <a:pt x="3428" y="0"/>
                      </a:cubicBez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3" name="Google Shape;763;p31"/>
                <p:cNvSpPr/>
                <p:nvPr/>
              </p:nvSpPr>
              <p:spPr>
                <a:xfrm>
                  <a:off x="6027758" y="2725883"/>
                  <a:ext cx="93444" cy="798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8" h="2033" extrusionOk="0">
                      <a:moveTo>
                        <a:pt x="2378" y="1"/>
                      </a:moveTo>
                      <a:lnTo>
                        <a:pt x="1" y="1107"/>
                      </a:lnTo>
                      <a:cubicBezTo>
                        <a:pt x="342" y="1405"/>
                        <a:pt x="741" y="1645"/>
                        <a:pt x="1189" y="1806"/>
                      </a:cubicBezTo>
                      <a:cubicBezTo>
                        <a:pt x="1581" y="1950"/>
                        <a:pt x="1979" y="2025"/>
                        <a:pt x="2378" y="2033"/>
                      </a:cubicBezTo>
                      <a:lnTo>
                        <a:pt x="2378" y="1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" name="Google Shape;764;p31"/>
                <p:cNvSpPr/>
                <p:nvPr/>
              </p:nvSpPr>
              <p:spPr>
                <a:xfrm>
                  <a:off x="5976438" y="2533532"/>
                  <a:ext cx="264220" cy="1546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24" h="3935" extrusionOk="0">
                      <a:moveTo>
                        <a:pt x="5779" y="0"/>
                      </a:moveTo>
                      <a:lnTo>
                        <a:pt x="61" y="2667"/>
                      </a:lnTo>
                      <a:cubicBezTo>
                        <a:pt x="1" y="3095"/>
                        <a:pt x="18" y="3525"/>
                        <a:pt x="101" y="3934"/>
                      </a:cubicBezTo>
                      <a:lnTo>
                        <a:pt x="3684" y="2268"/>
                      </a:lnTo>
                      <a:lnTo>
                        <a:pt x="3684" y="1329"/>
                      </a:lnTo>
                      <a:lnTo>
                        <a:pt x="5693" y="1329"/>
                      </a:lnTo>
                      <a:lnTo>
                        <a:pt x="6724" y="851"/>
                      </a:lnTo>
                      <a:cubicBezTo>
                        <a:pt x="6465" y="521"/>
                        <a:pt x="6146" y="230"/>
                        <a:pt x="5779" y="0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" name="Google Shape;765;p31"/>
                <p:cNvSpPr/>
                <p:nvPr/>
              </p:nvSpPr>
              <p:spPr>
                <a:xfrm>
                  <a:off x="5988698" y="2653422"/>
                  <a:ext cx="132503" cy="1159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2" h="2951" extrusionOk="0">
                      <a:moveTo>
                        <a:pt x="3372" y="0"/>
                      </a:moveTo>
                      <a:lnTo>
                        <a:pt x="1" y="1569"/>
                      </a:lnTo>
                      <a:cubicBezTo>
                        <a:pt x="220" y="2093"/>
                        <a:pt x="561" y="2570"/>
                        <a:pt x="995" y="2951"/>
                      </a:cubicBezTo>
                      <a:lnTo>
                        <a:pt x="3372" y="1845"/>
                      </a:lnTo>
                      <a:lnTo>
                        <a:pt x="3372" y="0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" name="Google Shape;766;p31"/>
                <p:cNvSpPr/>
                <p:nvPr/>
              </p:nvSpPr>
              <p:spPr>
                <a:xfrm>
                  <a:off x="5932859" y="2488224"/>
                  <a:ext cx="384109" cy="340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75" h="8660" extrusionOk="0">
                      <a:moveTo>
                        <a:pt x="4886" y="914"/>
                      </a:moveTo>
                      <a:cubicBezTo>
                        <a:pt x="5275" y="914"/>
                        <a:pt x="5670" y="981"/>
                        <a:pt x="6055" y="1121"/>
                      </a:cubicBezTo>
                      <a:cubicBezTo>
                        <a:pt x="7829" y="1767"/>
                        <a:pt x="8744" y="3727"/>
                        <a:pt x="8098" y="5500"/>
                      </a:cubicBezTo>
                      <a:cubicBezTo>
                        <a:pt x="7593" y="6887"/>
                        <a:pt x="6284" y="7747"/>
                        <a:pt x="4889" y="7747"/>
                      </a:cubicBezTo>
                      <a:cubicBezTo>
                        <a:pt x="4501" y="7747"/>
                        <a:pt x="4106" y="7680"/>
                        <a:pt x="3719" y="7539"/>
                      </a:cubicBezTo>
                      <a:cubicBezTo>
                        <a:pt x="1946" y="6893"/>
                        <a:pt x="1034" y="4933"/>
                        <a:pt x="1677" y="3160"/>
                      </a:cubicBezTo>
                      <a:cubicBezTo>
                        <a:pt x="2182" y="1773"/>
                        <a:pt x="3493" y="914"/>
                        <a:pt x="4886" y="914"/>
                      </a:cubicBezTo>
                      <a:close/>
                      <a:moveTo>
                        <a:pt x="4886" y="0"/>
                      </a:moveTo>
                      <a:cubicBezTo>
                        <a:pt x="3120" y="0"/>
                        <a:pt x="1459" y="1090"/>
                        <a:pt x="819" y="2848"/>
                      </a:cubicBezTo>
                      <a:cubicBezTo>
                        <a:pt x="0" y="5094"/>
                        <a:pt x="1160" y="7578"/>
                        <a:pt x="3407" y="8396"/>
                      </a:cubicBezTo>
                      <a:cubicBezTo>
                        <a:pt x="3896" y="8575"/>
                        <a:pt x="4397" y="8659"/>
                        <a:pt x="4890" y="8659"/>
                      </a:cubicBezTo>
                      <a:cubicBezTo>
                        <a:pt x="6657" y="8659"/>
                        <a:pt x="8316" y="7570"/>
                        <a:pt x="8956" y="5812"/>
                      </a:cubicBezTo>
                      <a:cubicBezTo>
                        <a:pt x="9774" y="3565"/>
                        <a:pt x="8615" y="1082"/>
                        <a:pt x="6368" y="263"/>
                      </a:cubicBezTo>
                      <a:cubicBezTo>
                        <a:pt x="5879" y="85"/>
                        <a:pt x="5379" y="0"/>
                        <a:pt x="4886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" name="Google Shape;767;p31"/>
                <p:cNvSpPr/>
                <p:nvPr/>
              </p:nvSpPr>
              <p:spPr>
                <a:xfrm>
                  <a:off x="6008032" y="2844399"/>
                  <a:ext cx="85231" cy="57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9" h="1451" extrusionOk="0">
                      <a:moveTo>
                        <a:pt x="1854" y="1"/>
                      </a:moveTo>
                      <a:cubicBezTo>
                        <a:pt x="1808" y="1"/>
                        <a:pt x="1763" y="15"/>
                        <a:pt x="1724" y="47"/>
                      </a:cubicBezTo>
                      <a:lnTo>
                        <a:pt x="1217" y="452"/>
                      </a:lnTo>
                      <a:cubicBezTo>
                        <a:pt x="1134" y="519"/>
                        <a:pt x="1033" y="553"/>
                        <a:pt x="932" y="553"/>
                      </a:cubicBezTo>
                      <a:cubicBezTo>
                        <a:pt x="848" y="553"/>
                        <a:pt x="764" y="530"/>
                        <a:pt x="690" y="485"/>
                      </a:cubicBezTo>
                      <a:lnTo>
                        <a:pt x="532" y="309"/>
                      </a:lnTo>
                      <a:cubicBezTo>
                        <a:pt x="498" y="270"/>
                        <a:pt x="453" y="251"/>
                        <a:pt x="408" y="251"/>
                      </a:cubicBezTo>
                      <a:cubicBezTo>
                        <a:pt x="361" y="251"/>
                        <a:pt x="314" y="272"/>
                        <a:pt x="281" y="313"/>
                      </a:cubicBezTo>
                      <a:lnTo>
                        <a:pt x="241" y="359"/>
                      </a:lnTo>
                      <a:cubicBezTo>
                        <a:pt x="158" y="460"/>
                        <a:pt x="108" y="578"/>
                        <a:pt x="90" y="707"/>
                      </a:cubicBezTo>
                      <a:lnTo>
                        <a:pt x="1" y="1450"/>
                      </a:lnTo>
                      <a:lnTo>
                        <a:pt x="381" y="1152"/>
                      </a:lnTo>
                      <a:lnTo>
                        <a:pt x="1949" y="1048"/>
                      </a:lnTo>
                      <a:lnTo>
                        <a:pt x="2097" y="736"/>
                      </a:lnTo>
                      <a:cubicBezTo>
                        <a:pt x="2161" y="592"/>
                        <a:pt x="2169" y="427"/>
                        <a:pt x="2111" y="280"/>
                      </a:cubicBezTo>
                      <a:lnTo>
                        <a:pt x="2053" y="137"/>
                      </a:lnTo>
                      <a:cubicBezTo>
                        <a:pt x="2019" y="51"/>
                        <a:pt x="1937" y="1"/>
                        <a:pt x="1854" y="1"/>
                      </a:cubicBezTo>
                      <a:close/>
                    </a:path>
                  </a:pathLst>
                </a:custGeom>
                <a:solidFill>
                  <a:srgbClr val="E4897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768" name="Google Shape;768;p31"/>
              <p:cNvSpPr/>
              <p:nvPr/>
            </p:nvSpPr>
            <p:spPr>
              <a:xfrm>
                <a:off x="5515934" y="2262864"/>
                <a:ext cx="241782" cy="287011"/>
              </a:xfrm>
              <a:custGeom>
                <a:avLst/>
                <a:gdLst/>
                <a:ahLst/>
                <a:cxnLst/>
                <a:rect l="l" t="t" r="r" b="b"/>
                <a:pathLst>
                  <a:path w="6153" h="7304" extrusionOk="0">
                    <a:moveTo>
                      <a:pt x="3019" y="0"/>
                    </a:moveTo>
                    <a:cubicBezTo>
                      <a:pt x="1817" y="0"/>
                      <a:pt x="702" y="866"/>
                      <a:pt x="485" y="2179"/>
                    </a:cubicBezTo>
                    <a:cubicBezTo>
                      <a:pt x="172" y="4046"/>
                      <a:pt x="0" y="4828"/>
                      <a:pt x="711" y="5995"/>
                    </a:cubicBezTo>
                    <a:cubicBezTo>
                      <a:pt x="1245" y="6869"/>
                      <a:pt x="2100" y="7303"/>
                      <a:pt x="2930" y="7303"/>
                    </a:cubicBezTo>
                    <a:cubicBezTo>
                      <a:pt x="3762" y="7303"/>
                      <a:pt x="4569" y="6866"/>
                      <a:pt x="5001" y="5998"/>
                    </a:cubicBezTo>
                    <a:cubicBezTo>
                      <a:pt x="5776" y="4440"/>
                      <a:pt x="6152" y="1648"/>
                      <a:pt x="4523" y="492"/>
                    </a:cubicBezTo>
                    <a:cubicBezTo>
                      <a:pt x="4046" y="154"/>
                      <a:pt x="3525" y="0"/>
                      <a:pt x="3019" y="0"/>
                    </a:cubicBez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9" name="Google Shape;769;p31"/>
              <p:cNvSpPr/>
              <p:nvPr/>
            </p:nvSpPr>
            <p:spPr>
              <a:xfrm>
                <a:off x="5262046" y="2236615"/>
                <a:ext cx="531583" cy="693989"/>
              </a:xfrm>
              <a:custGeom>
                <a:avLst/>
                <a:gdLst/>
                <a:ahLst/>
                <a:cxnLst/>
                <a:rect l="l" t="t" r="r" b="b"/>
                <a:pathLst>
                  <a:path w="13528" h="17661" extrusionOk="0">
                    <a:moveTo>
                      <a:pt x="8819" y="1"/>
                    </a:moveTo>
                    <a:cubicBezTo>
                      <a:pt x="7000" y="1"/>
                      <a:pt x="5307" y="902"/>
                      <a:pt x="5374" y="2937"/>
                    </a:cubicBezTo>
                    <a:cubicBezTo>
                      <a:pt x="5464" y="5665"/>
                      <a:pt x="5374" y="5708"/>
                      <a:pt x="4143" y="7129"/>
                    </a:cubicBezTo>
                    <a:cubicBezTo>
                      <a:pt x="2908" y="8550"/>
                      <a:pt x="1128" y="9746"/>
                      <a:pt x="3156" y="11663"/>
                    </a:cubicBezTo>
                    <a:cubicBezTo>
                      <a:pt x="5184" y="13576"/>
                      <a:pt x="0" y="16217"/>
                      <a:pt x="6088" y="17491"/>
                    </a:cubicBezTo>
                    <a:cubicBezTo>
                      <a:pt x="6643" y="17607"/>
                      <a:pt x="7183" y="17661"/>
                      <a:pt x="7700" y="17661"/>
                    </a:cubicBezTo>
                    <a:cubicBezTo>
                      <a:pt x="11143" y="17661"/>
                      <a:pt x="13527" y="15291"/>
                      <a:pt x="11936" y="13349"/>
                    </a:cubicBezTo>
                    <a:cubicBezTo>
                      <a:pt x="10226" y="11264"/>
                      <a:pt x="11917" y="10578"/>
                      <a:pt x="12093" y="8759"/>
                    </a:cubicBezTo>
                    <a:cubicBezTo>
                      <a:pt x="12269" y="6939"/>
                      <a:pt x="9623" y="6125"/>
                      <a:pt x="10586" y="4793"/>
                    </a:cubicBezTo>
                    <a:cubicBezTo>
                      <a:pt x="11548" y="3461"/>
                      <a:pt x="12315" y="870"/>
                      <a:pt x="10647" y="302"/>
                    </a:cubicBezTo>
                    <a:cubicBezTo>
                      <a:pt x="10065" y="104"/>
                      <a:pt x="9435" y="1"/>
                      <a:pt x="8819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0" name="Google Shape;770;p31"/>
              <p:cNvSpPr/>
              <p:nvPr/>
            </p:nvSpPr>
            <p:spPr>
              <a:xfrm>
                <a:off x="5622425" y="2234728"/>
                <a:ext cx="139969" cy="168772"/>
              </a:xfrm>
              <a:custGeom>
                <a:avLst/>
                <a:gdLst/>
                <a:ahLst/>
                <a:cxnLst/>
                <a:rect l="l" t="t" r="r" b="b"/>
                <a:pathLst>
                  <a:path w="3562" h="4295" extrusionOk="0">
                    <a:moveTo>
                      <a:pt x="1043" y="0"/>
                    </a:moveTo>
                    <a:cubicBezTo>
                      <a:pt x="721" y="0"/>
                      <a:pt x="372" y="24"/>
                      <a:pt x="0" y="63"/>
                    </a:cubicBezTo>
                    <a:lnTo>
                      <a:pt x="1167" y="4295"/>
                    </a:lnTo>
                    <a:cubicBezTo>
                      <a:pt x="1167" y="4295"/>
                      <a:pt x="3561" y="3347"/>
                      <a:pt x="3411" y="1728"/>
                    </a:cubicBezTo>
                    <a:cubicBezTo>
                      <a:pt x="3285" y="416"/>
                      <a:pt x="2408" y="0"/>
                      <a:pt x="104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1"/>
              <p:cNvSpPr/>
              <p:nvPr/>
            </p:nvSpPr>
            <p:spPr>
              <a:xfrm>
                <a:off x="5652761" y="2389278"/>
                <a:ext cx="53756" cy="71281"/>
              </a:xfrm>
              <a:custGeom>
                <a:avLst/>
                <a:gdLst/>
                <a:ahLst/>
                <a:cxnLst/>
                <a:rect l="l" t="t" r="r" b="b"/>
                <a:pathLst>
                  <a:path w="1368" h="1814" extrusionOk="0">
                    <a:moveTo>
                      <a:pt x="664" y="0"/>
                    </a:moveTo>
                    <a:cubicBezTo>
                      <a:pt x="357" y="0"/>
                      <a:pt x="94" y="250"/>
                      <a:pt x="50" y="592"/>
                    </a:cubicBezTo>
                    <a:cubicBezTo>
                      <a:pt x="0" y="979"/>
                      <a:pt x="133" y="1357"/>
                      <a:pt x="334" y="1611"/>
                    </a:cubicBezTo>
                    <a:cubicBezTo>
                      <a:pt x="446" y="1751"/>
                      <a:pt x="575" y="1813"/>
                      <a:pt x="702" y="1813"/>
                    </a:cubicBezTo>
                    <a:cubicBezTo>
                      <a:pt x="918" y="1813"/>
                      <a:pt x="1126" y="1634"/>
                      <a:pt x="1221" y="1360"/>
                    </a:cubicBezTo>
                    <a:cubicBezTo>
                      <a:pt x="1360" y="969"/>
                      <a:pt x="1368" y="301"/>
                      <a:pt x="951" y="75"/>
                    </a:cubicBezTo>
                    <a:cubicBezTo>
                      <a:pt x="855" y="24"/>
                      <a:pt x="757" y="0"/>
                      <a:pt x="664" y="0"/>
                    </a:cubicBez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1"/>
              <p:cNvSpPr/>
              <p:nvPr/>
            </p:nvSpPr>
            <p:spPr>
              <a:xfrm>
                <a:off x="5313405" y="3095694"/>
                <a:ext cx="369137" cy="1584964"/>
              </a:xfrm>
              <a:custGeom>
                <a:avLst/>
                <a:gdLst/>
                <a:ahLst/>
                <a:cxnLst/>
                <a:rect l="l" t="t" r="r" b="b"/>
                <a:pathLst>
                  <a:path w="9394" h="40335" extrusionOk="0">
                    <a:moveTo>
                      <a:pt x="3701" y="1"/>
                    </a:moveTo>
                    <a:cubicBezTo>
                      <a:pt x="1242" y="3458"/>
                      <a:pt x="2979" y="5726"/>
                      <a:pt x="1885" y="20632"/>
                    </a:cubicBezTo>
                    <a:cubicBezTo>
                      <a:pt x="1454" y="26523"/>
                      <a:pt x="0" y="40334"/>
                      <a:pt x="0" y="40334"/>
                    </a:cubicBezTo>
                    <a:lnTo>
                      <a:pt x="2599" y="40334"/>
                    </a:lnTo>
                    <a:cubicBezTo>
                      <a:pt x="2599" y="40334"/>
                      <a:pt x="6020" y="26046"/>
                      <a:pt x="6910" y="20090"/>
                    </a:cubicBezTo>
                    <a:cubicBezTo>
                      <a:pt x="7006" y="19426"/>
                      <a:pt x="7107" y="18723"/>
                      <a:pt x="7208" y="17991"/>
                    </a:cubicBezTo>
                    <a:cubicBezTo>
                      <a:pt x="7614" y="15087"/>
                      <a:pt x="8033" y="11716"/>
                      <a:pt x="8399" y="8684"/>
                    </a:cubicBezTo>
                    <a:cubicBezTo>
                      <a:pt x="8966" y="3932"/>
                      <a:pt x="9393" y="1"/>
                      <a:pt x="939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1"/>
              <p:cNvSpPr/>
              <p:nvPr/>
            </p:nvSpPr>
            <p:spPr>
              <a:xfrm>
                <a:off x="5296587" y="4630420"/>
                <a:ext cx="147042" cy="51948"/>
              </a:xfrm>
              <a:custGeom>
                <a:avLst/>
                <a:gdLst/>
                <a:ahLst/>
                <a:cxnLst/>
                <a:rect l="l" t="t" r="r" b="b"/>
                <a:pathLst>
                  <a:path w="3742" h="1322" extrusionOk="0">
                    <a:moveTo>
                      <a:pt x="3741" y="1"/>
                    </a:moveTo>
                    <a:lnTo>
                      <a:pt x="62" y="94"/>
                    </a:lnTo>
                    <a:lnTo>
                      <a:pt x="1" y="1321"/>
                    </a:lnTo>
                    <a:lnTo>
                      <a:pt x="3454" y="1321"/>
                    </a:lnTo>
                    <a:lnTo>
                      <a:pt x="3741" y="1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1"/>
              <p:cNvSpPr/>
              <p:nvPr/>
            </p:nvSpPr>
            <p:spPr>
              <a:xfrm>
                <a:off x="5519157" y="3329738"/>
                <a:ext cx="124329" cy="472955"/>
              </a:xfrm>
              <a:custGeom>
                <a:avLst/>
                <a:gdLst/>
                <a:ahLst/>
                <a:cxnLst/>
                <a:rect l="l" t="t" r="r" b="b"/>
                <a:pathLst>
                  <a:path w="3164" h="12036" extrusionOk="0">
                    <a:moveTo>
                      <a:pt x="2148" y="0"/>
                    </a:moveTo>
                    <a:cubicBezTo>
                      <a:pt x="1" y="1328"/>
                      <a:pt x="1365" y="8952"/>
                      <a:pt x="1972" y="12035"/>
                    </a:cubicBezTo>
                    <a:cubicBezTo>
                      <a:pt x="2378" y="9131"/>
                      <a:pt x="2797" y="5760"/>
                      <a:pt x="3163" y="2728"/>
                    </a:cubicBezTo>
                    <a:cubicBezTo>
                      <a:pt x="2984" y="1637"/>
                      <a:pt x="2664" y="682"/>
                      <a:pt x="214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1"/>
              <p:cNvSpPr/>
              <p:nvPr/>
            </p:nvSpPr>
            <p:spPr>
              <a:xfrm>
                <a:off x="5540180" y="3095694"/>
                <a:ext cx="271293" cy="1584964"/>
              </a:xfrm>
              <a:custGeom>
                <a:avLst/>
                <a:gdLst/>
                <a:ahLst/>
                <a:cxnLst/>
                <a:rect l="l" t="t" r="r" b="b"/>
                <a:pathLst>
                  <a:path w="6904" h="40335" extrusionOk="0">
                    <a:moveTo>
                      <a:pt x="1" y="1"/>
                    </a:moveTo>
                    <a:cubicBezTo>
                      <a:pt x="1" y="1"/>
                      <a:pt x="1785" y="14118"/>
                      <a:pt x="2075" y="20594"/>
                    </a:cubicBezTo>
                    <a:cubicBezTo>
                      <a:pt x="2341" y="26530"/>
                      <a:pt x="2621" y="40334"/>
                      <a:pt x="2621" y="40334"/>
                    </a:cubicBezTo>
                    <a:lnTo>
                      <a:pt x="5202" y="40334"/>
                    </a:lnTo>
                    <a:cubicBezTo>
                      <a:pt x="5202" y="40334"/>
                      <a:pt x="6723" y="26178"/>
                      <a:pt x="6813" y="20130"/>
                    </a:cubicBezTo>
                    <a:cubicBezTo>
                      <a:pt x="6903" y="14319"/>
                      <a:pt x="5668" y="1"/>
                      <a:pt x="5668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1"/>
              <p:cNvSpPr/>
              <p:nvPr/>
            </p:nvSpPr>
            <p:spPr>
              <a:xfrm>
                <a:off x="5624115" y="4630420"/>
                <a:ext cx="146885" cy="51948"/>
              </a:xfrm>
              <a:custGeom>
                <a:avLst/>
                <a:gdLst/>
                <a:ahLst/>
                <a:cxnLst/>
                <a:rect l="l" t="t" r="r" b="b"/>
                <a:pathLst>
                  <a:path w="3738" h="1322" extrusionOk="0">
                    <a:moveTo>
                      <a:pt x="3737" y="1"/>
                    </a:moveTo>
                    <a:lnTo>
                      <a:pt x="0" y="94"/>
                    </a:lnTo>
                    <a:lnTo>
                      <a:pt x="61" y="1321"/>
                    </a:lnTo>
                    <a:lnTo>
                      <a:pt x="3449" y="1321"/>
                    </a:lnTo>
                    <a:lnTo>
                      <a:pt x="3737" y="1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1"/>
              <p:cNvSpPr/>
              <p:nvPr/>
            </p:nvSpPr>
            <p:spPr>
              <a:xfrm>
                <a:off x="5439505" y="3075574"/>
                <a:ext cx="333025" cy="33872"/>
              </a:xfrm>
              <a:custGeom>
                <a:avLst/>
                <a:gdLst/>
                <a:ahLst/>
                <a:cxnLst/>
                <a:rect l="l" t="t" r="r" b="b"/>
                <a:pathLst>
                  <a:path w="8475" h="862" extrusionOk="0">
                    <a:moveTo>
                      <a:pt x="495" y="0"/>
                    </a:moveTo>
                    <a:cubicBezTo>
                      <a:pt x="438" y="0"/>
                      <a:pt x="388" y="25"/>
                      <a:pt x="370" y="57"/>
                    </a:cubicBezTo>
                    <a:lnTo>
                      <a:pt x="25" y="750"/>
                    </a:lnTo>
                    <a:cubicBezTo>
                      <a:pt x="0" y="804"/>
                      <a:pt x="65" y="862"/>
                      <a:pt x="154" y="862"/>
                    </a:cubicBezTo>
                    <a:lnTo>
                      <a:pt x="8273" y="862"/>
                    </a:lnTo>
                    <a:cubicBezTo>
                      <a:pt x="8341" y="862"/>
                      <a:pt x="8399" y="826"/>
                      <a:pt x="8402" y="783"/>
                    </a:cubicBezTo>
                    <a:lnTo>
                      <a:pt x="8470" y="90"/>
                    </a:lnTo>
                    <a:cubicBezTo>
                      <a:pt x="8475" y="39"/>
                      <a:pt x="8414" y="0"/>
                      <a:pt x="8338" y="0"/>
                    </a:cubicBezTo>
                    <a:close/>
                  </a:path>
                </a:pathLst>
              </a:custGeom>
              <a:solidFill>
                <a:srgbClr val="B7B7B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1"/>
              <p:cNvSpPr/>
              <p:nvPr/>
            </p:nvSpPr>
            <p:spPr>
              <a:xfrm>
                <a:off x="5484459" y="3073177"/>
                <a:ext cx="18115" cy="39216"/>
              </a:xfrm>
              <a:custGeom>
                <a:avLst/>
                <a:gdLst/>
                <a:ahLst/>
                <a:cxnLst/>
                <a:rect l="l" t="t" r="r" b="b"/>
                <a:pathLst>
                  <a:path w="461" h="998" extrusionOk="0">
                    <a:moveTo>
                      <a:pt x="177" y="0"/>
                    </a:moveTo>
                    <a:cubicBezTo>
                      <a:pt x="138" y="0"/>
                      <a:pt x="102" y="22"/>
                      <a:pt x="98" y="47"/>
                    </a:cubicBezTo>
                    <a:lnTo>
                      <a:pt x="4" y="948"/>
                    </a:lnTo>
                    <a:cubicBezTo>
                      <a:pt x="1" y="976"/>
                      <a:pt x="34" y="998"/>
                      <a:pt x="77" y="998"/>
                    </a:cubicBezTo>
                    <a:lnTo>
                      <a:pt x="284" y="998"/>
                    </a:lnTo>
                    <a:cubicBezTo>
                      <a:pt x="327" y="998"/>
                      <a:pt x="364" y="976"/>
                      <a:pt x="367" y="948"/>
                    </a:cubicBezTo>
                    <a:lnTo>
                      <a:pt x="461" y="47"/>
                    </a:lnTo>
                    <a:cubicBezTo>
                      <a:pt x="461" y="22"/>
                      <a:pt x="432" y="0"/>
                      <a:pt x="38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1"/>
              <p:cNvSpPr/>
              <p:nvPr/>
            </p:nvSpPr>
            <p:spPr>
              <a:xfrm>
                <a:off x="5684512" y="3073177"/>
                <a:ext cx="18076" cy="39216"/>
              </a:xfrm>
              <a:custGeom>
                <a:avLst/>
                <a:gdLst/>
                <a:ahLst/>
                <a:cxnLst/>
                <a:rect l="l" t="t" r="r" b="b"/>
                <a:pathLst>
                  <a:path w="460" h="998" extrusionOk="0">
                    <a:moveTo>
                      <a:pt x="176" y="0"/>
                    </a:moveTo>
                    <a:cubicBezTo>
                      <a:pt x="136" y="0"/>
                      <a:pt x="97" y="22"/>
                      <a:pt x="97" y="47"/>
                    </a:cubicBezTo>
                    <a:lnTo>
                      <a:pt x="4" y="948"/>
                    </a:lnTo>
                    <a:cubicBezTo>
                      <a:pt x="0" y="976"/>
                      <a:pt x="32" y="998"/>
                      <a:pt x="75" y="998"/>
                    </a:cubicBezTo>
                    <a:lnTo>
                      <a:pt x="283" y="998"/>
                    </a:lnTo>
                    <a:cubicBezTo>
                      <a:pt x="327" y="998"/>
                      <a:pt x="362" y="976"/>
                      <a:pt x="366" y="948"/>
                    </a:cubicBezTo>
                    <a:lnTo>
                      <a:pt x="459" y="47"/>
                    </a:lnTo>
                    <a:cubicBezTo>
                      <a:pt x="459" y="22"/>
                      <a:pt x="426" y="0"/>
                      <a:pt x="38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4" name="Subtitle 3">
            <a:extLst>
              <a:ext uri="{FF2B5EF4-FFF2-40B4-BE49-F238E27FC236}">
                <a16:creationId xmlns:a16="http://schemas.microsoft.com/office/drawing/2014/main" id="{718E32AE-6BD5-4FC7-7816-FF54A083C31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239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CB08374B-4352-8BAF-DA14-8167B7FC8C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flipH="1">
            <a:off x="-157317" y="1010385"/>
            <a:ext cx="3106995" cy="3905845"/>
          </a:xfrm>
        </p:spPr>
        <p:txBody>
          <a:bodyPr anchor="t"/>
          <a:lstStyle/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500" dirty="0">
                <a:latin typeface="+mn-lt"/>
              </a:rPr>
              <a:t>This graph shows the percentage of defaulting and non defaulting customers with respect to their number of children.</a:t>
            </a: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5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500" dirty="0">
                <a:latin typeface="+mn-lt"/>
              </a:rPr>
              <a:t>The distribution of data between the two graphs appears to be similar.</a:t>
            </a: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5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500" dirty="0">
                <a:latin typeface="+mn-lt"/>
              </a:rPr>
              <a:t>People with no children are the highest in the dataset.</a:t>
            </a: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5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500" dirty="0">
                <a:latin typeface="+mn-lt"/>
              </a:rPr>
              <a:t>As we delve into the data, we observe that as the no. of children increases, the no. of defaulters increases slightly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396340"/>
            <a:ext cx="4688410" cy="481200"/>
          </a:xfrm>
        </p:spPr>
        <p:txBody>
          <a:bodyPr vert="horz"/>
          <a:lstStyle/>
          <a:p>
            <a:pPr algn="l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DATA VISUALIZATION</a:t>
            </a:r>
          </a:p>
        </p:txBody>
      </p:sp>
      <p:pic>
        <p:nvPicPr>
          <p:cNvPr id="6" name="Picture 5" descr="Chart, histogram&#10;&#10;Description automatically generated">
            <a:extLst>
              <a:ext uri="{FF2B5EF4-FFF2-40B4-BE49-F238E27FC236}">
                <a16:creationId xmlns:a16="http://schemas.microsoft.com/office/drawing/2014/main" id="{F6FA68F3-F437-E000-5F61-916EDCD002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34007" y="1359838"/>
            <a:ext cx="6121501" cy="34372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839B68F-17E0-1D52-BB03-07ED8ECE4B38}"/>
              </a:ext>
            </a:extLst>
          </p:cNvPr>
          <p:cNvSpPr txBox="1"/>
          <p:nvPr/>
        </p:nvSpPr>
        <p:spPr>
          <a:xfrm>
            <a:off x="3834243" y="1070264"/>
            <a:ext cx="1321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EFAULT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6D3884-BABF-B692-ECE5-64F5A9EF4512}"/>
              </a:ext>
            </a:extLst>
          </p:cNvPr>
          <p:cNvSpPr txBox="1"/>
          <p:nvPr/>
        </p:nvSpPr>
        <p:spPr>
          <a:xfrm>
            <a:off x="6646715" y="1077191"/>
            <a:ext cx="17796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-DEFAULTING</a:t>
            </a:r>
          </a:p>
        </p:txBody>
      </p:sp>
    </p:spTree>
    <p:extLst>
      <p:ext uri="{BB962C8B-B14F-4D97-AF65-F5344CB8AC3E}">
        <p14:creationId xmlns:p14="http://schemas.microsoft.com/office/powerpoint/2010/main" val="35658387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CB08374B-4352-8BAF-DA14-8167B7FC8C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flipH="1">
            <a:off x="-58995" y="784243"/>
            <a:ext cx="2400301" cy="3905845"/>
          </a:xfrm>
        </p:spPr>
        <p:txBody>
          <a:bodyPr anchor="t"/>
          <a:lstStyle/>
          <a:p>
            <a:pPr marL="438150" indent="-285750">
              <a:buFont typeface="Wingdings" panose="05000000000000000000" pitchFamily="2" charset="2"/>
              <a:buChar char="v"/>
            </a:pPr>
            <a:endParaRPr lang="en-US" sz="15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5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500" dirty="0">
                <a:latin typeface="+mn-lt"/>
              </a:rPr>
              <a:t>This graph shows the percentage of defaulting and non defaulting customers with respect to their education level</a:t>
            </a: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5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500" dirty="0">
                <a:latin typeface="+mn-lt"/>
              </a:rPr>
              <a:t>We can observe from the graph that most of the people have the secondary/Secondary special followed by higher education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396340"/>
            <a:ext cx="4688410" cy="481200"/>
          </a:xfrm>
        </p:spPr>
        <p:txBody>
          <a:bodyPr vert="horz"/>
          <a:lstStyle/>
          <a:p>
            <a:pPr algn="l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DATA VISUALIZATION</a:t>
            </a:r>
          </a:p>
        </p:txBody>
      </p:sp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BCD11FE0-0BA9-163D-B378-7F7CB0DF10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43318" y="1427872"/>
            <a:ext cx="6553200" cy="335604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DEE47A4-4677-1C9F-5194-AEB4AC3FB5FD}"/>
              </a:ext>
            </a:extLst>
          </p:cNvPr>
          <p:cNvSpPr txBox="1"/>
          <p:nvPr/>
        </p:nvSpPr>
        <p:spPr>
          <a:xfrm>
            <a:off x="3823852" y="1111828"/>
            <a:ext cx="1321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EFAUL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BD13CB3-F93D-2D9C-3B00-4086BE0B69D6}"/>
              </a:ext>
            </a:extLst>
          </p:cNvPr>
          <p:cNvSpPr txBox="1"/>
          <p:nvPr/>
        </p:nvSpPr>
        <p:spPr>
          <a:xfrm>
            <a:off x="6636324" y="1118755"/>
            <a:ext cx="17796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-DEFAULTING</a:t>
            </a:r>
          </a:p>
        </p:txBody>
      </p:sp>
    </p:spTree>
    <p:extLst>
      <p:ext uri="{BB962C8B-B14F-4D97-AF65-F5344CB8AC3E}">
        <p14:creationId xmlns:p14="http://schemas.microsoft.com/office/powerpoint/2010/main" val="1411569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CB08374B-4352-8BAF-DA14-8167B7FC8C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flipH="1">
            <a:off x="-117986" y="676085"/>
            <a:ext cx="2981325" cy="3905845"/>
          </a:xfrm>
        </p:spPr>
        <p:txBody>
          <a:bodyPr anchor="t"/>
          <a:lstStyle/>
          <a:p>
            <a:pPr marL="438150" indent="-285750">
              <a:buFont typeface="Wingdings" panose="05000000000000000000" pitchFamily="2" charset="2"/>
              <a:buChar char="v"/>
            </a:pPr>
            <a:endParaRPr lang="en-US" sz="15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5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5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500" dirty="0">
                <a:latin typeface="+mn-lt"/>
              </a:rPr>
              <a:t>This graph shows the percentage of defaulting and non defaulting customers with respect to their family status.</a:t>
            </a: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5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500" dirty="0">
                <a:latin typeface="+mn-lt"/>
              </a:rPr>
              <a:t>Highest no. of people who own a credit card are married.</a:t>
            </a: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5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500" dirty="0">
                <a:latin typeface="+mn-lt"/>
              </a:rPr>
              <a:t>People who are single have a slightly higher percentage to default more.</a:t>
            </a: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500" dirty="0">
              <a:latin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396340"/>
            <a:ext cx="4688410" cy="481200"/>
          </a:xfrm>
        </p:spPr>
        <p:txBody>
          <a:bodyPr vert="horz"/>
          <a:lstStyle/>
          <a:p>
            <a:pPr algn="l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DATA VISUALIZATION</a:t>
            </a:r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2637525C-771F-4C84-D161-600D23C71E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24010" y="1322220"/>
            <a:ext cx="6122304" cy="31220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E4D6A33-AE00-B710-164D-2EE4C298CDDE}"/>
              </a:ext>
            </a:extLst>
          </p:cNvPr>
          <p:cNvSpPr txBox="1"/>
          <p:nvPr/>
        </p:nvSpPr>
        <p:spPr>
          <a:xfrm>
            <a:off x="3834243" y="1059873"/>
            <a:ext cx="1321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EFAULT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2F3FFE-9525-DD47-7291-35C0C46F84F3}"/>
              </a:ext>
            </a:extLst>
          </p:cNvPr>
          <p:cNvSpPr txBox="1"/>
          <p:nvPr/>
        </p:nvSpPr>
        <p:spPr>
          <a:xfrm>
            <a:off x="6646715" y="1066800"/>
            <a:ext cx="17796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-DEFAULTING</a:t>
            </a:r>
          </a:p>
        </p:txBody>
      </p:sp>
    </p:spTree>
    <p:extLst>
      <p:ext uri="{BB962C8B-B14F-4D97-AF65-F5344CB8AC3E}">
        <p14:creationId xmlns:p14="http://schemas.microsoft.com/office/powerpoint/2010/main" val="33968560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CB08374B-4352-8BAF-DA14-8167B7FC8C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flipH="1">
            <a:off x="0" y="1030049"/>
            <a:ext cx="2886075" cy="3905845"/>
          </a:xfrm>
        </p:spPr>
        <p:txBody>
          <a:bodyPr anchor="t"/>
          <a:lstStyle/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400" dirty="0">
                <a:latin typeface="+mn-lt"/>
              </a:rPr>
              <a:t>This graph shows the percentage of defaulting and non defaulting customers with respect to their income type.</a:t>
            </a: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4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400" dirty="0">
                <a:latin typeface="+mn-lt"/>
              </a:rPr>
              <a:t>The people who are working are ones who own the credit cards mostly followed by commercial associate.</a:t>
            </a: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4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4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400" dirty="0">
                <a:latin typeface="+mn-lt"/>
              </a:rPr>
              <a:t>People who work tend to default less while in case of commercial associates it the opposite where the default rate is mo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396340"/>
            <a:ext cx="4688410" cy="481200"/>
          </a:xfrm>
        </p:spPr>
        <p:txBody>
          <a:bodyPr vert="horz"/>
          <a:lstStyle/>
          <a:p>
            <a:pPr algn="l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DATA VISUALIZATION</a:t>
            </a:r>
          </a:p>
        </p:txBody>
      </p:sp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3C2F5889-C6E1-C088-F2EC-13348D7FF6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56579" y="1300013"/>
            <a:ext cx="6252907" cy="31889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C9F2D22-6EDC-87AC-0F2C-B5EACDCA837B}"/>
              </a:ext>
            </a:extLst>
          </p:cNvPr>
          <p:cNvSpPr txBox="1"/>
          <p:nvPr/>
        </p:nvSpPr>
        <p:spPr>
          <a:xfrm>
            <a:off x="3834243" y="1028700"/>
            <a:ext cx="1321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EFAULT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2EFF39-2990-7A35-DF29-4C8AC80166AF}"/>
              </a:ext>
            </a:extLst>
          </p:cNvPr>
          <p:cNvSpPr txBox="1"/>
          <p:nvPr/>
        </p:nvSpPr>
        <p:spPr>
          <a:xfrm>
            <a:off x="6646715" y="1035627"/>
            <a:ext cx="17796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-DEFAULTING</a:t>
            </a:r>
          </a:p>
        </p:txBody>
      </p:sp>
    </p:spTree>
    <p:extLst>
      <p:ext uri="{BB962C8B-B14F-4D97-AF65-F5344CB8AC3E}">
        <p14:creationId xmlns:p14="http://schemas.microsoft.com/office/powerpoint/2010/main" val="9605516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CB08374B-4352-8BAF-DA14-8167B7FC8C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flipH="1">
            <a:off x="-2" y="1177534"/>
            <a:ext cx="3143251" cy="3905845"/>
          </a:xfrm>
        </p:spPr>
        <p:txBody>
          <a:bodyPr anchor="t"/>
          <a:lstStyle/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500" dirty="0">
                <a:latin typeface="+mn-lt"/>
              </a:rPr>
              <a:t>The graph on the right (non-Defaulters) shows a bell curve distribution.</a:t>
            </a: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5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500" dirty="0">
                <a:latin typeface="+mn-lt"/>
              </a:rPr>
              <a:t>The data exhibits certain trends that can be observed from the graph on the left.</a:t>
            </a:r>
          </a:p>
          <a:p>
            <a:pPr marL="438150" indent="-285750">
              <a:buFont typeface="Wingdings" panose="05000000000000000000" pitchFamily="2" charset="2"/>
              <a:buChar char="v"/>
            </a:pPr>
            <a:endParaRPr lang="en-US" sz="1500" dirty="0">
              <a:latin typeface="+mn-lt"/>
            </a:endParaRPr>
          </a:p>
          <a:p>
            <a:pPr marL="438150" indent="-285750">
              <a:buFont typeface="Wingdings" panose="05000000000000000000" pitchFamily="2" charset="2"/>
              <a:buChar char="v"/>
            </a:pPr>
            <a:r>
              <a:rPr lang="en-US" sz="1500" dirty="0">
                <a:latin typeface="+mn-lt"/>
              </a:rPr>
              <a:t>Hence, we will utilize sophisticated techniques such as random forest to improve our prediction accuracy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396340"/>
            <a:ext cx="4688410" cy="481200"/>
          </a:xfrm>
        </p:spPr>
        <p:txBody>
          <a:bodyPr vert="horz"/>
          <a:lstStyle/>
          <a:p>
            <a:pPr algn="l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DATA VISUALIZATION</a:t>
            </a:r>
          </a:p>
        </p:txBody>
      </p:sp>
      <p:pic>
        <p:nvPicPr>
          <p:cNvPr id="9" name="Picture 8" descr="Chart, bar chart, histogram&#10;&#10;Description automatically generated">
            <a:extLst>
              <a:ext uri="{FF2B5EF4-FFF2-40B4-BE49-F238E27FC236}">
                <a16:creationId xmlns:a16="http://schemas.microsoft.com/office/drawing/2014/main" id="{98A845D4-CA29-A135-D997-D6F0BB1D53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44927" y="1258946"/>
            <a:ext cx="6000750" cy="375046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4F86CF7-7BE2-BA53-16B8-627926E54D92}"/>
              </a:ext>
            </a:extLst>
          </p:cNvPr>
          <p:cNvSpPr txBox="1"/>
          <p:nvPr/>
        </p:nvSpPr>
        <p:spPr>
          <a:xfrm>
            <a:off x="3834243" y="1007918"/>
            <a:ext cx="1321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EFAULT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FF9336-5C48-4D04-A0CE-D1D47786AE34}"/>
              </a:ext>
            </a:extLst>
          </p:cNvPr>
          <p:cNvSpPr txBox="1"/>
          <p:nvPr/>
        </p:nvSpPr>
        <p:spPr>
          <a:xfrm>
            <a:off x="6646715" y="1014845"/>
            <a:ext cx="17796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-DEFAULTING</a:t>
            </a:r>
          </a:p>
        </p:txBody>
      </p:sp>
    </p:spTree>
    <p:extLst>
      <p:ext uri="{BB962C8B-B14F-4D97-AF65-F5344CB8AC3E}">
        <p14:creationId xmlns:p14="http://schemas.microsoft.com/office/powerpoint/2010/main" val="29022414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BC2BB19-1420-0832-5E93-A0ED454972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91152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BC2BB19-1420-0832-5E93-A0ED45497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8" name="Google Shape;698;p31"/>
          <p:cNvSpPr txBox="1">
            <a:spLocks noGrp="1"/>
          </p:cNvSpPr>
          <p:nvPr>
            <p:ph type="ctrTitle"/>
          </p:nvPr>
        </p:nvSpPr>
        <p:spPr>
          <a:xfrm>
            <a:off x="1456650" y="1715300"/>
            <a:ext cx="1745100" cy="1104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>
              <a:buClr>
                <a:srgbClr val="000000"/>
              </a:buClr>
            </a:pPr>
            <a:r>
              <a:rPr lang="en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04. </a:t>
            </a:r>
            <a:br>
              <a:rPr lang="en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lang="en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ODELING</a:t>
            </a:r>
            <a:endParaRPr sz="18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1BD13D0-D783-ABEB-5047-48677EEFA13A}"/>
              </a:ext>
            </a:extLst>
          </p:cNvPr>
          <p:cNvGrpSpPr/>
          <p:nvPr/>
        </p:nvGrpSpPr>
        <p:grpSpPr>
          <a:xfrm>
            <a:off x="4720092" y="900222"/>
            <a:ext cx="4217175" cy="3194699"/>
            <a:chOff x="4394088" y="1329593"/>
            <a:chExt cx="4740975" cy="3379253"/>
          </a:xfrm>
        </p:grpSpPr>
        <p:grpSp>
          <p:nvGrpSpPr>
            <p:cNvPr id="682" name="Google Shape;682;p31"/>
            <p:cNvGrpSpPr/>
            <p:nvPr/>
          </p:nvGrpSpPr>
          <p:grpSpPr>
            <a:xfrm>
              <a:off x="4534350" y="4313399"/>
              <a:ext cx="4600713" cy="150450"/>
              <a:chOff x="0" y="4397412"/>
              <a:chExt cx="4600713" cy="150450"/>
            </a:xfrm>
          </p:grpSpPr>
          <p:sp>
            <p:nvSpPr>
              <p:cNvPr id="683" name="Google Shape;683;p31"/>
              <p:cNvSpPr/>
              <p:nvPr/>
            </p:nvSpPr>
            <p:spPr>
              <a:xfrm>
                <a:off x="0" y="4397412"/>
                <a:ext cx="4600713" cy="2416"/>
              </a:xfrm>
              <a:custGeom>
                <a:avLst/>
                <a:gdLst/>
                <a:ahLst/>
                <a:cxnLst/>
                <a:rect l="l" t="t" r="r" b="b"/>
                <a:pathLst>
                  <a:path w="131402" h="69" extrusionOk="0">
                    <a:moveTo>
                      <a:pt x="0" y="1"/>
                    </a:moveTo>
                    <a:lnTo>
                      <a:pt x="0" y="69"/>
                    </a:lnTo>
                    <a:lnTo>
                      <a:pt x="131401" y="69"/>
                    </a:lnTo>
                    <a:lnTo>
                      <a:pt x="131401" y="1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4" name="Google Shape;684;p31"/>
              <p:cNvSpPr/>
              <p:nvPr/>
            </p:nvSpPr>
            <p:spPr>
              <a:xfrm>
                <a:off x="755786" y="4545586"/>
                <a:ext cx="305519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8726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8726" y="65"/>
                    </a:lnTo>
                    <a:lnTo>
                      <a:pt x="8726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5" name="Google Shape;685;p31"/>
              <p:cNvSpPr/>
              <p:nvPr/>
            </p:nvSpPr>
            <p:spPr>
              <a:xfrm>
                <a:off x="1619552" y="4536412"/>
                <a:ext cx="497808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14218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14217" y="65"/>
                    </a:lnTo>
                    <a:lnTo>
                      <a:pt x="14217" y="0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6" name="Google Shape;686;p31"/>
              <p:cNvSpPr/>
              <p:nvPr/>
            </p:nvSpPr>
            <p:spPr>
              <a:xfrm>
                <a:off x="1070481" y="4460119"/>
                <a:ext cx="175833" cy="2311"/>
              </a:xfrm>
              <a:custGeom>
                <a:avLst/>
                <a:gdLst/>
                <a:ahLst/>
                <a:cxnLst/>
                <a:rect l="l" t="t" r="r" b="b"/>
                <a:pathLst>
                  <a:path w="5022" h="66" extrusionOk="0">
                    <a:moveTo>
                      <a:pt x="1" y="1"/>
                    </a:moveTo>
                    <a:lnTo>
                      <a:pt x="1" y="65"/>
                    </a:lnTo>
                    <a:lnTo>
                      <a:pt x="5022" y="65"/>
                    </a:lnTo>
                    <a:lnTo>
                      <a:pt x="5022" y="1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7" name="Google Shape;687;p31"/>
              <p:cNvSpPr/>
              <p:nvPr/>
            </p:nvSpPr>
            <p:spPr>
              <a:xfrm>
                <a:off x="2732853" y="4514424"/>
                <a:ext cx="418259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11946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11946" y="65"/>
                    </a:lnTo>
                    <a:lnTo>
                      <a:pt x="11946" y="0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688" name="Google Shape;688;p31"/>
            <p:cNvGrpSpPr/>
            <p:nvPr/>
          </p:nvGrpSpPr>
          <p:grpSpPr>
            <a:xfrm>
              <a:off x="5215723" y="1329593"/>
              <a:ext cx="3081703" cy="2757573"/>
              <a:chOff x="5215723" y="1479118"/>
              <a:chExt cx="3081703" cy="2757573"/>
            </a:xfrm>
          </p:grpSpPr>
          <p:grpSp>
            <p:nvGrpSpPr>
              <p:cNvPr id="689" name="Google Shape;689;p31"/>
              <p:cNvGrpSpPr/>
              <p:nvPr/>
            </p:nvGrpSpPr>
            <p:grpSpPr>
              <a:xfrm>
                <a:off x="5215723" y="1707350"/>
                <a:ext cx="3081703" cy="2529341"/>
                <a:chOff x="5150194" y="1591500"/>
                <a:chExt cx="3081703" cy="2529341"/>
              </a:xfrm>
            </p:grpSpPr>
            <p:sp>
              <p:nvSpPr>
                <p:cNvPr id="690" name="Google Shape;690;p31"/>
                <p:cNvSpPr/>
                <p:nvPr/>
              </p:nvSpPr>
              <p:spPr>
                <a:xfrm>
                  <a:off x="5150194" y="1591500"/>
                  <a:ext cx="1147444" cy="25293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540" h="64368" extrusionOk="0">
                      <a:moveTo>
                        <a:pt x="45240" y="58"/>
                      </a:moveTo>
                      <a:cubicBezTo>
                        <a:pt x="45926" y="58"/>
                        <a:pt x="46482" y="614"/>
                        <a:pt x="46482" y="1299"/>
                      </a:cubicBezTo>
                      <a:lnTo>
                        <a:pt x="46482" y="63068"/>
                      </a:lnTo>
                      <a:cubicBezTo>
                        <a:pt x="46482" y="63753"/>
                        <a:pt x="45926" y="64310"/>
                        <a:pt x="45240" y="64310"/>
                      </a:cubicBezTo>
                      <a:lnTo>
                        <a:pt x="1299" y="64310"/>
                      </a:lnTo>
                      <a:cubicBezTo>
                        <a:pt x="615" y="64310"/>
                        <a:pt x="58" y="63753"/>
                        <a:pt x="58" y="63068"/>
                      </a:cubicBezTo>
                      <a:lnTo>
                        <a:pt x="58" y="1299"/>
                      </a:lnTo>
                      <a:cubicBezTo>
                        <a:pt x="58" y="614"/>
                        <a:pt x="615" y="58"/>
                        <a:pt x="1299" y="58"/>
                      </a:cubicBezTo>
                      <a:close/>
                      <a:moveTo>
                        <a:pt x="1299" y="0"/>
                      </a:moveTo>
                      <a:cubicBezTo>
                        <a:pt x="582" y="0"/>
                        <a:pt x="0" y="582"/>
                        <a:pt x="0" y="1299"/>
                      </a:cubicBezTo>
                      <a:lnTo>
                        <a:pt x="0" y="63068"/>
                      </a:lnTo>
                      <a:cubicBezTo>
                        <a:pt x="0" y="63786"/>
                        <a:pt x="582" y="64368"/>
                        <a:pt x="1299" y="64368"/>
                      </a:cubicBezTo>
                      <a:lnTo>
                        <a:pt x="45240" y="64368"/>
                      </a:lnTo>
                      <a:cubicBezTo>
                        <a:pt x="45958" y="64368"/>
                        <a:pt x="46539" y="63786"/>
                        <a:pt x="46539" y="63068"/>
                      </a:cubicBezTo>
                      <a:lnTo>
                        <a:pt x="46539" y="1299"/>
                      </a:lnTo>
                      <a:cubicBezTo>
                        <a:pt x="46539" y="582"/>
                        <a:pt x="45958" y="0"/>
                        <a:pt x="45240" y="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1" name="Google Shape;691;p31"/>
                <p:cNvSpPr/>
                <p:nvPr/>
              </p:nvSpPr>
              <p:spPr>
                <a:xfrm>
                  <a:off x="6402990" y="1591500"/>
                  <a:ext cx="1828907" cy="25293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543" h="64368" extrusionOk="0">
                      <a:moveTo>
                        <a:pt x="45243" y="58"/>
                      </a:moveTo>
                      <a:cubicBezTo>
                        <a:pt x="45928" y="58"/>
                        <a:pt x="46485" y="614"/>
                        <a:pt x="46485" y="1299"/>
                      </a:cubicBezTo>
                      <a:lnTo>
                        <a:pt x="46485" y="63068"/>
                      </a:lnTo>
                      <a:cubicBezTo>
                        <a:pt x="46485" y="63753"/>
                        <a:pt x="45928" y="64310"/>
                        <a:pt x="45243" y="64310"/>
                      </a:cubicBezTo>
                      <a:lnTo>
                        <a:pt x="1299" y="64310"/>
                      </a:lnTo>
                      <a:cubicBezTo>
                        <a:pt x="617" y="64310"/>
                        <a:pt x="57" y="63753"/>
                        <a:pt x="57" y="63068"/>
                      </a:cubicBezTo>
                      <a:lnTo>
                        <a:pt x="57" y="1299"/>
                      </a:lnTo>
                      <a:cubicBezTo>
                        <a:pt x="57" y="614"/>
                        <a:pt x="617" y="58"/>
                        <a:pt x="1299" y="58"/>
                      </a:cubicBezTo>
                      <a:close/>
                      <a:moveTo>
                        <a:pt x="1299" y="0"/>
                      </a:moveTo>
                      <a:cubicBezTo>
                        <a:pt x="585" y="0"/>
                        <a:pt x="0" y="582"/>
                        <a:pt x="0" y="1299"/>
                      </a:cubicBezTo>
                      <a:lnTo>
                        <a:pt x="0" y="63068"/>
                      </a:lnTo>
                      <a:cubicBezTo>
                        <a:pt x="0" y="63786"/>
                        <a:pt x="585" y="64368"/>
                        <a:pt x="1299" y="64368"/>
                      </a:cubicBezTo>
                      <a:lnTo>
                        <a:pt x="45243" y="64368"/>
                      </a:lnTo>
                      <a:cubicBezTo>
                        <a:pt x="45961" y="64368"/>
                        <a:pt x="46542" y="63786"/>
                        <a:pt x="46542" y="63068"/>
                      </a:cubicBezTo>
                      <a:lnTo>
                        <a:pt x="46542" y="1299"/>
                      </a:lnTo>
                      <a:cubicBezTo>
                        <a:pt x="46542" y="582"/>
                        <a:pt x="45961" y="0"/>
                        <a:pt x="45243" y="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692" name="Google Shape;692;p31"/>
              <p:cNvGrpSpPr/>
              <p:nvPr/>
            </p:nvGrpSpPr>
            <p:grpSpPr>
              <a:xfrm>
                <a:off x="5723516" y="1479118"/>
                <a:ext cx="2288423" cy="1787926"/>
                <a:chOff x="5723516" y="1479118"/>
                <a:chExt cx="2288423" cy="1787926"/>
              </a:xfrm>
            </p:grpSpPr>
            <p:sp>
              <p:nvSpPr>
                <p:cNvPr id="693" name="Google Shape;693;p31"/>
                <p:cNvSpPr/>
                <p:nvPr/>
              </p:nvSpPr>
              <p:spPr>
                <a:xfrm>
                  <a:off x="5723516" y="1479118"/>
                  <a:ext cx="2288423" cy="2912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237" h="7413" extrusionOk="0">
                      <a:moveTo>
                        <a:pt x="1756" y="1"/>
                      </a:moveTo>
                      <a:cubicBezTo>
                        <a:pt x="791" y="1"/>
                        <a:pt x="1" y="794"/>
                        <a:pt x="1" y="1760"/>
                      </a:cubicBezTo>
                      <a:lnTo>
                        <a:pt x="1" y="7413"/>
                      </a:lnTo>
                      <a:lnTo>
                        <a:pt x="58237" y="7413"/>
                      </a:lnTo>
                      <a:lnTo>
                        <a:pt x="58237" y="1760"/>
                      </a:lnTo>
                      <a:cubicBezTo>
                        <a:pt x="58237" y="794"/>
                        <a:pt x="57448" y="1"/>
                        <a:pt x="56482" y="1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4" name="Google Shape;694;p31"/>
                <p:cNvSpPr/>
                <p:nvPr/>
              </p:nvSpPr>
              <p:spPr>
                <a:xfrm>
                  <a:off x="6229445" y="1572681"/>
                  <a:ext cx="104407" cy="1043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7" h="2656" extrusionOk="0">
                      <a:moveTo>
                        <a:pt x="1329" y="0"/>
                      </a:moveTo>
                      <a:cubicBezTo>
                        <a:pt x="597" y="0"/>
                        <a:pt x="1" y="595"/>
                        <a:pt x="1" y="1328"/>
                      </a:cubicBezTo>
                      <a:cubicBezTo>
                        <a:pt x="1" y="2060"/>
                        <a:pt x="597" y="2656"/>
                        <a:pt x="1329" y="2656"/>
                      </a:cubicBezTo>
                      <a:cubicBezTo>
                        <a:pt x="2065" y="2656"/>
                        <a:pt x="2656" y="2060"/>
                        <a:pt x="2656" y="1328"/>
                      </a:cubicBezTo>
                      <a:cubicBezTo>
                        <a:pt x="2656" y="595"/>
                        <a:pt x="2065" y="0"/>
                        <a:pt x="1329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5" name="Google Shape;695;p31"/>
                <p:cNvSpPr/>
                <p:nvPr/>
              </p:nvSpPr>
              <p:spPr>
                <a:xfrm>
                  <a:off x="6044560" y="1572681"/>
                  <a:ext cx="104407" cy="1043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7" h="2656" extrusionOk="0">
                      <a:moveTo>
                        <a:pt x="1328" y="0"/>
                      </a:moveTo>
                      <a:cubicBezTo>
                        <a:pt x="596" y="0"/>
                        <a:pt x="0" y="595"/>
                        <a:pt x="0" y="1328"/>
                      </a:cubicBezTo>
                      <a:cubicBezTo>
                        <a:pt x="0" y="2060"/>
                        <a:pt x="596" y="2656"/>
                        <a:pt x="1328" y="2656"/>
                      </a:cubicBezTo>
                      <a:cubicBezTo>
                        <a:pt x="2060" y="2656"/>
                        <a:pt x="2656" y="2060"/>
                        <a:pt x="2656" y="1328"/>
                      </a:cubicBezTo>
                      <a:cubicBezTo>
                        <a:pt x="2656" y="595"/>
                        <a:pt x="2060" y="0"/>
                        <a:pt x="1328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6" name="Google Shape;696;p31"/>
                <p:cNvSpPr/>
                <p:nvPr/>
              </p:nvSpPr>
              <p:spPr>
                <a:xfrm>
                  <a:off x="5859635" y="1572681"/>
                  <a:ext cx="104407" cy="1043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7" h="2656" extrusionOk="0">
                      <a:moveTo>
                        <a:pt x="1329" y="0"/>
                      </a:moveTo>
                      <a:cubicBezTo>
                        <a:pt x="593" y="0"/>
                        <a:pt x="0" y="595"/>
                        <a:pt x="0" y="1328"/>
                      </a:cubicBezTo>
                      <a:cubicBezTo>
                        <a:pt x="0" y="2060"/>
                        <a:pt x="593" y="2656"/>
                        <a:pt x="1329" y="2656"/>
                      </a:cubicBezTo>
                      <a:cubicBezTo>
                        <a:pt x="2061" y="2656"/>
                        <a:pt x="2656" y="2060"/>
                        <a:pt x="2656" y="1328"/>
                      </a:cubicBezTo>
                      <a:cubicBezTo>
                        <a:pt x="2656" y="595"/>
                        <a:pt x="2061" y="0"/>
                        <a:pt x="1329" y="0"/>
                      </a:cubicBezTo>
                      <a:close/>
                    </a:path>
                  </a:pathLst>
                </a:custGeom>
                <a:solidFill>
                  <a:schemeClr val="lt1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7" name="Google Shape;697;p31"/>
                <p:cNvSpPr/>
                <p:nvPr/>
              </p:nvSpPr>
              <p:spPr>
                <a:xfrm>
                  <a:off x="5723516" y="1770377"/>
                  <a:ext cx="2288423" cy="149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237" h="38088" extrusionOk="0">
                      <a:moveTo>
                        <a:pt x="1" y="1"/>
                      </a:moveTo>
                      <a:lnTo>
                        <a:pt x="1" y="36332"/>
                      </a:lnTo>
                      <a:cubicBezTo>
                        <a:pt x="1" y="37297"/>
                        <a:pt x="791" y="38087"/>
                        <a:pt x="1756" y="38087"/>
                      </a:cubicBezTo>
                      <a:lnTo>
                        <a:pt x="56482" y="38087"/>
                      </a:lnTo>
                      <a:cubicBezTo>
                        <a:pt x="57448" y="38087"/>
                        <a:pt x="58237" y="37297"/>
                        <a:pt x="58237" y="36332"/>
                      </a:cubicBezTo>
                      <a:lnTo>
                        <a:pt x="58237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00" name="Google Shape;700;p31"/>
            <p:cNvGrpSpPr/>
            <p:nvPr/>
          </p:nvGrpSpPr>
          <p:grpSpPr>
            <a:xfrm>
              <a:off x="4394088" y="3149994"/>
              <a:ext cx="1221060" cy="1220197"/>
              <a:chOff x="4394088" y="3299519"/>
              <a:chExt cx="1221060" cy="1220197"/>
            </a:xfrm>
          </p:grpSpPr>
          <p:sp>
            <p:nvSpPr>
              <p:cNvPr id="701" name="Google Shape;701;p31"/>
              <p:cNvSpPr/>
              <p:nvPr/>
            </p:nvSpPr>
            <p:spPr>
              <a:xfrm>
                <a:off x="5004504" y="3380350"/>
                <a:ext cx="610644" cy="1139359"/>
              </a:xfrm>
              <a:custGeom>
                <a:avLst/>
                <a:gdLst/>
                <a:ahLst/>
                <a:cxnLst/>
                <a:rect l="l" t="t" r="r" b="b"/>
                <a:pathLst>
                  <a:path w="15540" h="28995" extrusionOk="0">
                    <a:moveTo>
                      <a:pt x="7768" y="1"/>
                    </a:moveTo>
                    <a:lnTo>
                      <a:pt x="5740" y="3515"/>
                    </a:lnTo>
                    <a:cubicBezTo>
                      <a:pt x="9175" y="5492"/>
                      <a:pt x="11486" y="9203"/>
                      <a:pt x="11486" y="13457"/>
                    </a:cubicBezTo>
                    <a:cubicBezTo>
                      <a:pt x="11486" y="19799"/>
                      <a:pt x="6343" y="24939"/>
                      <a:pt x="1" y="24939"/>
                    </a:cubicBezTo>
                    <a:lnTo>
                      <a:pt x="1" y="28995"/>
                    </a:lnTo>
                    <a:cubicBezTo>
                      <a:pt x="8579" y="28995"/>
                      <a:pt x="15539" y="22035"/>
                      <a:pt x="15539" y="13457"/>
                    </a:cubicBezTo>
                    <a:cubicBezTo>
                      <a:pt x="15539" y="7707"/>
                      <a:pt x="12412" y="2685"/>
                      <a:pt x="776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2" name="Google Shape;702;p31"/>
              <p:cNvSpPr/>
              <p:nvPr/>
            </p:nvSpPr>
            <p:spPr>
              <a:xfrm>
                <a:off x="4394088" y="3909150"/>
                <a:ext cx="610448" cy="610566"/>
              </a:xfrm>
              <a:custGeom>
                <a:avLst/>
                <a:gdLst/>
                <a:ahLst/>
                <a:cxnLst/>
                <a:rect l="l" t="t" r="r" b="b"/>
                <a:pathLst>
                  <a:path w="15535" h="15538" extrusionOk="0">
                    <a:moveTo>
                      <a:pt x="0" y="0"/>
                    </a:moveTo>
                    <a:cubicBezTo>
                      <a:pt x="0" y="4117"/>
                      <a:pt x="1641" y="8076"/>
                      <a:pt x="4551" y="10984"/>
                    </a:cubicBezTo>
                    <a:cubicBezTo>
                      <a:pt x="7462" y="13894"/>
                      <a:pt x="11418" y="15538"/>
                      <a:pt x="15535" y="15538"/>
                    </a:cubicBezTo>
                    <a:lnTo>
                      <a:pt x="15535" y="11482"/>
                    </a:lnTo>
                    <a:cubicBezTo>
                      <a:pt x="9196" y="11482"/>
                      <a:pt x="4053" y="6342"/>
                      <a:pt x="4053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3" name="Google Shape;703;p31"/>
              <p:cNvSpPr/>
              <p:nvPr/>
            </p:nvSpPr>
            <p:spPr>
              <a:xfrm>
                <a:off x="4394088" y="3299519"/>
                <a:ext cx="915691" cy="609662"/>
              </a:xfrm>
              <a:custGeom>
                <a:avLst/>
                <a:gdLst/>
                <a:ahLst/>
                <a:cxnLst/>
                <a:rect l="l" t="t" r="r" b="b"/>
                <a:pathLst>
                  <a:path w="23303" h="15515" extrusionOk="0">
                    <a:moveTo>
                      <a:pt x="15601" y="0"/>
                    </a:moveTo>
                    <a:cubicBezTo>
                      <a:pt x="10214" y="0"/>
                      <a:pt x="4947" y="2787"/>
                      <a:pt x="2078" y="7750"/>
                    </a:cubicBezTo>
                    <a:cubicBezTo>
                      <a:pt x="721" y="10104"/>
                      <a:pt x="0" y="12790"/>
                      <a:pt x="0" y="15514"/>
                    </a:cubicBezTo>
                    <a:lnTo>
                      <a:pt x="4053" y="15514"/>
                    </a:lnTo>
                    <a:cubicBezTo>
                      <a:pt x="4053" y="9168"/>
                      <a:pt x="9196" y="4031"/>
                      <a:pt x="15535" y="4031"/>
                    </a:cubicBezTo>
                    <a:cubicBezTo>
                      <a:pt x="17627" y="4031"/>
                      <a:pt x="19590" y="4588"/>
                      <a:pt x="21274" y="5572"/>
                    </a:cubicBezTo>
                    <a:lnTo>
                      <a:pt x="23302" y="2058"/>
                    </a:lnTo>
                    <a:cubicBezTo>
                      <a:pt x="20882" y="662"/>
                      <a:pt x="18227" y="0"/>
                      <a:pt x="1560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04" name="Google Shape;704;p31"/>
            <p:cNvSpPr/>
            <p:nvPr/>
          </p:nvSpPr>
          <p:spPr>
            <a:xfrm>
              <a:off x="4670099" y="3237152"/>
              <a:ext cx="2593" cy="5973"/>
            </a:xfrm>
            <a:custGeom>
              <a:avLst/>
              <a:gdLst/>
              <a:ahLst/>
              <a:cxnLst/>
              <a:rect l="l" t="t" r="r" b="b"/>
              <a:pathLst>
                <a:path w="66" h="152" extrusionOk="0">
                  <a:moveTo>
                    <a:pt x="65" y="1"/>
                  </a:moveTo>
                  <a:cubicBezTo>
                    <a:pt x="54" y="1"/>
                    <a:pt x="40" y="4"/>
                    <a:pt x="29" y="12"/>
                  </a:cubicBezTo>
                  <a:cubicBezTo>
                    <a:pt x="4" y="30"/>
                    <a:pt x="0" y="65"/>
                    <a:pt x="19" y="90"/>
                  </a:cubicBezTo>
                  <a:cubicBezTo>
                    <a:pt x="32" y="112"/>
                    <a:pt x="50" y="130"/>
                    <a:pt x="65" y="152"/>
                  </a:cubicBezTo>
                  <a:lnTo>
                    <a:pt x="6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" name="Google Shape;705;p31"/>
            <p:cNvSpPr/>
            <p:nvPr/>
          </p:nvSpPr>
          <p:spPr>
            <a:xfrm>
              <a:off x="8052890" y="3127164"/>
              <a:ext cx="2554" cy="4951"/>
            </a:xfrm>
            <a:custGeom>
              <a:avLst/>
              <a:gdLst/>
              <a:ahLst/>
              <a:cxnLst/>
              <a:rect l="l" t="t" r="r" b="b"/>
              <a:pathLst>
                <a:path w="65" h="126" extrusionOk="0">
                  <a:moveTo>
                    <a:pt x="0" y="0"/>
                  </a:moveTo>
                  <a:lnTo>
                    <a:pt x="0" y="126"/>
                  </a:lnTo>
                  <a:cubicBezTo>
                    <a:pt x="18" y="126"/>
                    <a:pt x="36" y="116"/>
                    <a:pt x="47" y="98"/>
                  </a:cubicBezTo>
                  <a:cubicBezTo>
                    <a:pt x="65" y="73"/>
                    <a:pt x="58" y="36"/>
                    <a:pt x="29" y="18"/>
                  </a:cubicBezTo>
                  <a:cubicBezTo>
                    <a:pt x="18" y="15"/>
                    <a:pt x="11" y="8"/>
                    <a:pt x="0" y="0"/>
                  </a:cubicBezTo>
                  <a:close/>
                </a:path>
              </a:pathLst>
            </a:custGeom>
            <a:solidFill>
              <a:srgbClr val="FEFE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" name="Google Shape;706;p31"/>
            <p:cNvSpPr/>
            <p:nvPr/>
          </p:nvSpPr>
          <p:spPr>
            <a:xfrm>
              <a:off x="4670099" y="2168078"/>
              <a:ext cx="2593" cy="4833"/>
            </a:xfrm>
            <a:custGeom>
              <a:avLst/>
              <a:gdLst/>
              <a:ahLst/>
              <a:cxnLst/>
              <a:rect l="l" t="t" r="r" b="b"/>
              <a:pathLst>
                <a:path w="66" h="123" extrusionOk="0">
                  <a:moveTo>
                    <a:pt x="65" y="0"/>
                  </a:moveTo>
                  <a:cubicBezTo>
                    <a:pt x="54" y="4"/>
                    <a:pt x="47" y="7"/>
                    <a:pt x="37" y="15"/>
                  </a:cubicBezTo>
                  <a:cubicBezTo>
                    <a:pt x="11" y="29"/>
                    <a:pt x="0" y="65"/>
                    <a:pt x="15" y="90"/>
                  </a:cubicBezTo>
                  <a:cubicBezTo>
                    <a:pt x="25" y="111"/>
                    <a:pt x="44" y="122"/>
                    <a:pt x="65" y="122"/>
                  </a:cubicBezTo>
                  <a:lnTo>
                    <a:pt x="65" y="0"/>
                  </a:lnTo>
                  <a:close/>
                </a:path>
              </a:pathLst>
            </a:custGeom>
            <a:solidFill>
              <a:srgbClr val="D6E4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" name="Google Shape;707;p31"/>
            <p:cNvSpPr/>
            <p:nvPr/>
          </p:nvSpPr>
          <p:spPr>
            <a:xfrm>
              <a:off x="8052890" y="2518830"/>
              <a:ext cx="2554" cy="5973"/>
            </a:xfrm>
            <a:custGeom>
              <a:avLst/>
              <a:gdLst/>
              <a:ahLst/>
              <a:cxnLst/>
              <a:rect l="l" t="t" r="r" b="b"/>
              <a:pathLst>
                <a:path w="65" h="152" extrusionOk="0">
                  <a:moveTo>
                    <a:pt x="0" y="0"/>
                  </a:moveTo>
                  <a:lnTo>
                    <a:pt x="0" y="151"/>
                  </a:lnTo>
                  <a:cubicBezTo>
                    <a:pt x="15" y="134"/>
                    <a:pt x="29" y="112"/>
                    <a:pt x="43" y="94"/>
                  </a:cubicBezTo>
                  <a:cubicBezTo>
                    <a:pt x="65" y="69"/>
                    <a:pt x="58" y="33"/>
                    <a:pt x="36" y="15"/>
                  </a:cubicBezTo>
                  <a:cubicBezTo>
                    <a:pt x="25" y="8"/>
                    <a:pt x="11" y="0"/>
                    <a:pt x="0" y="0"/>
                  </a:cubicBezTo>
                  <a:close/>
                </a:path>
              </a:pathLst>
            </a:custGeom>
            <a:solidFill>
              <a:srgbClr val="CCD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708" name="Google Shape;708;p31"/>
            <p:cNvGrpSpPr/>
            <p:nvPr/>
          </p:nvGrpSpPr>
          <p:grpSpPr>
            <a:xfrm>
              <a:off x="4710406" y="1665960"/>
              <a:ext cx="3380414" cy="2313100"/>
              <a:chOff x="4710406" y="1815485"/>
              <a:chExt cx="3380414" cy="2313100"/>
            </a:xfrm>
          </p:grpSpPr>
          <p:sp>
            <p:nvSpPr>
              <p:cNvPr id="709" name="Google Shape;709;p31"/>
              <p:cNvSpPr/>
              <p:nvPr/>
            </p:nvSpPr>
            <p:spPr>
              <a:xfrm>
                <a:off x="4710406" y="1815485"/>
                <a:ext cx="3380234" cy="2313100"/>
              </a:xfrm>
              <a:custGeom>
                <a:avLst/>
                <a:gdLst/>
                <a:ahLst/>
                <a:cxnLst/>
                <a:rect l="l" t="t" r="r" b="b"/>
                <a:pathLst>
                  <a:path w="86022" h="58865" extrusionOk="0">
                    <a:moveTo>
                      <a:pt x="2190" y="1"/>
                    </a:moveTo>
                    <a:cubicBezTo>
                      <a:pt x="987" y="1"/>
                      <a:pt x="0" y="983"/>
                      <a:pt x="0" y="2186"/>
                    </a:cubicBezTo>
                    <a:lnTo>
                      <a:pt x="0" y="56679"/>
                    </a:lnTo>
                    <a:cubicBezTo>
                      <a:pt x="0" y="57881"/>
                      <a:pt x="987" y="58865"/>
                      <a:pt x="2190" y="58865"/>
                    </a:cubicBezTo>
                    <a:lnTo>
                      <a:pt x="83832" y="58865"/>
                    </a:lnTo>
                    <a:cubicBezTo>
                      <a:pt x="85034" y="58865"/>
                      <a:pt x="86021" y="57881"/>
                      <a:pt x="86021" y="56679"/>
                    </a:cubicBezTo>
                    <a:lnTo>
                      <a:pt x="86021" y="2186"/>
                    </a:lnTo>
                    <a:cubicBezTo>
                      <a:pt x="86021" y="983"/>
                      <a:pt x="85034" y="1"/>
                      <a:pt x="83832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0" name="Google Shape;710;p31"/>
              <p:cNvSpPr/>
              <p:nvPr/>
            </p:nvSpPr>
            <p:spPr>
              <a:xfrm>
                <a:off x="4710425" y="2037750"/>
                <a:ext cx="3380234" cy="1927813"/>
              </a:xfrm>
              <a:custGeom>
                <a:avLst/>
                <a:gdLst/>
                <a:ahLst/>
                <a:cxnLst/>
                <a:rect l="l" t="t" r="r" b="b"/>
                <a:pathLst>
                  <a:path w="86022" h="49060" extrusionOk="0">
                    <a:moveTo>
                      <a:pt x="0" y="1"/>
                    </a:moveTo>
                    <a:lnTo>
                      <a:pt x="0" y="49059"/>
                    </a:lnTo>
                    <a:lnTo>
                      <a:pt x="86021" y="49059"/>
                    </a:lnTo>
                    <a:lnTo>
                      <a:pt x="86021" y="1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11" name="Google Shape;711;p31"/>
              <p:cNvGrpSpPr/>
              <p:nvPr/>
            </p:nvGrpSpPr>
            <p:grpSpPr>
              <a:xfrm>
                <a:off x="4710585" y="2281922"/>
                <a:ext cx="3380235" cy="1683652"/>
                <a:chOff x="4710585" y="2281922"/>
                <a:chExt cx="3380235" cy="1683652"/>
              </a:xfrm>
            </p:grpSpPr>
            <p:sp>
              <p:nvSpPr>
                <p:cNvPr id="712" name="Google Shape;712;p31"/>
                <p:cNvSpPr/>
                <p:nvPr/>
              </p:nvSpPr>
              <p:spPr>
                <a:xfrm>
                  <a:off x="4710585" y="3230006"/>
                  <a:ext cx="3380234" cy="447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022" h="11383" extrusionOk="0">
                      <a:moveTo>
                        <a:pt x="84485" y="464"/>
                      </a:moveTo>
                      <a:lnTo>
                        <a:pt x="84485" y="582"/>
                      </a:lnTo>
                      <a:cubicBezTo>
                        <a:pt x="85006" y="769"/>
                        <a:pt x="85512" y="1009"/>
                        <a:pt x="85989" y="1304"/>
                      </a:cubicBezTo>
                      <a:cubicBezTo>
                        <a:pt x="86000" y="1311"/>
                        <a:pt x="86011" y="1314"/>
                        <a:pt x="86021" y="1314"/>
                      </a:cubicBezTo>
                      <a:lnTo>
                        <a:pt x="86021" y="1188"/>
                      </a:lnTo>
                      <a:cubicBezTo>
                        <a:pt x="85534" y="890"/>
                        <a:pt x="85017" y="650"/>
                        <a:pt x="84485" y="464"/>
                      </a:cubicBezTo>
                      <a:close/>
                      <a:moveTo>
                        <a:pt x="0" y="3988"/>
                      </a:moveTo>
                      <a:lnTo>
                        <a:pt x="0" y="4139"/>
                      </a:lnTo>
                      <a:cubicBezTo>
                        <a:pt x="467" y="4760"/>
                        <a:pt x="980" y="5348"/>
                        <a:pt x="1536" y="5898"/>
                      </a:cubicBezTo>
                      <a:lnTo>
                        <a:pt x="1536" y="5740"/>
                      </a:lnTo>
                      <a:cubicBezTo>
                        <a:pt x="994" y="5194"/>
                        <a:pt x="499" y="4620"/>
                        <a:pt x="47" y="4009"/>
                      </a:cubicBezTo>
                      <a:cubicBezTo>
                        <a:pt x="36" y="3996"/>
                        <a:pt x="18" y="3988"/>
                        <a:pt x="0" y="3988"/>
                      </a:cubicBezTo>
                      <a:close/>
                      <a:moveTo>
                        <a:pt x="81772" y="0"/>
                      </a:moveTo>
                      <a:cubicBezTo>
                        <a:pt x="80738" y="0"/>
                        <a:pt x="79708" y="201"/>
                        <a:pt x="78764" y="603"/>
                      </a:cubicBezTo>
                      <a:cubicBezTo>
                        <a:pt x="77540" y="1131"/>
                        <a:pt x="76470" y="1971"/>
                        <a:pt x="75437" y="2785"/>
                      </a:cubicBezTo>
                      <a:cubicBezTo>
                        <a:pt x="74690" y="3375"/>
                        <a:pt x="73918" y="3984"/>
                        <a:pt x="73093" y="4469"/>
                      </a:cubicBezTo>
                      <a:cubicBezTo>
                        <a:pt x="71201" y="5578"/>
                        <a:pt x="68918" y="6128"/>
                        <a:pt x="66183" y="6128"/>
                      </a:cubicBezTo>
                      <a:cubicBezTo>
                        <a:pt x="64687" y="6128"/>
                        <a:pt x="63054" y="5966"/>
                        <a:pt x="61276" y="5636"/>
                      </a:cubicBezTo>
                      <a:cubicBezTo>
                        <a:pt x="59949" y="5388"/>
                        <a:pt x="58603" y="5076"/>
                        <a:pt x="57304" y="4774"/>
                      </a:cubicBezTo>
                      <a:cubicBezTo>
                        <a:pt x="54662" y="4160"/>
                        <a:pt x="51930" y="3525"/>
                        <a:pt x="49203" y="3418"/>
                      </a:cubicBezTo>
                      <a:cubicBezTo>
                        <a:pt x="48911" y="3406"/>
                        <a:pt x="48625" y="3399"/>
                        <a:pt x="48337" y="3399"/>
                      </a:cubicBezTo>
                      <a:cubicBezTo>
                        <a:pt x="46183" y="3399"/>
                        <a:pt x="44066" y="3711"/>
                        <a:pt x="41980" y="4207"/>
                      </a:cubicBezTo>
                      <a:lnTo>
                        <a:pt x="41980" y="4326"/>
                      </a:lnTo>
                      <a:cubicBezTo>
                        <a:pt x="44066" y="3827"/>
                        <a:pt x="46183" y="3514"/>
                        <a:pt x="48337" y="3514"/>
                      </a:cubicBezTo>
                      <a:cubicBezTo>
                        <a:pt x="48625" y="3514"/>
                        <a:pt x="48911" y="3518"/>
                        <a:pt x="49195" y="3532"/>
                      </a:cubicBezTo>
                      <a:cubicBezTo>
                        <a:pt x="51916" y="3636"/>
                        <a:pt x="54640" y="4271"/>
                        <a:pt x="57274" y="4885"/>
                      </a:cubicBezTo>
                      <a:cubicBezTo>
                        <a:pt x="58578" y="5187"/>
                        <a:pt x="59927" y="5499"/>
                        <a:pt x="61255" y="5747"/>
                      </a:cubicBezTo>
                      <a:cubicBezTo>
                        <a:pt x="63039" y="6077"/>
                        <a:pt x="64679" y="6242"/>
                        <a:pt x="66183" y="6242"/>
                      </a:cubicBezTo>
                      <a:cubicBezTo>
                        <a:pt x="68940" y="6242"/>
                        <a:pt x="71241" y="5686"/>
                        <a:pt x="73151" y="4566"/>
                      </a:cubicBezTo>
                      <a:cubicBezTo>
                        <a:pt x="73983" y="4077"/>
                        <a:pt x="74758" y="3468"/>
                        <a:pt x="75508" y="2876"/>
                      </a:cubicBezTo>
                      <a:cubicBezTo>
                        <a:pt x="76535" y="2064"/>
                        <a:pt x="77597" y="1228"/>
                        <a:pt x="78810" y="708"/>
                      </a:cubicBezTo>
                      <a:cubicBezTo>
                        <a:pt x="79740" y="309"/>
                        <a:pt x="80753" y="115"/>
                        <a:pt x="81772" y="115"/>
                      </a:cubicBezTo>
                      <a:cubicBezTo>
                        <a:pt x="82648" y="115"/>
                        <a:pt x="83531" y="259"/>
                        <a:pt x="84371" y="542"/>
                      </a:cubicBezTo>
                      <a:lnTo>
                        <a:pt x="84371" y="424"/>
                      </a:lnTo>
                      <a:cubicBezTo>
                        <a:pt x="83531" y="144"/>
                        <a:pt x="82648" y="0"/>
                        <a:pt x="81772" y="0"/>
                      </a:cubicBezTo>
                      <a:close/>
                      <a:moveTo>
                        <a:pt x="37756" y="5439"/>
                      </a:moveTo>
                      <a:cubicBezTo>
                        <a:pt x="36091" y="5994"/>
                        <a:pt x="34446" y="6619"/>
                        <a:pt x="32817" y="7233"/>
                      </a:cubicBezTo>
                      <a:cubicBezTo>
                        <a:pt x="31177" y="7854"/>
                        <a:pt x="29483" y="8497"/>
                        <a:pt x="27806" y="9057"/>
                      </a:cubicBezTo>
                      <a:cubicBezTo>
                        <a:pt x="23360" y="10546"/>
                        <a:pt x="19530" y="11267"/>
                        <a:pt x="15983" y="11267"/>
                      </a:cubicBezTo>
                      <a:cubicBezTo>
                        <a:pt x="15014" y="11267"/>
                        <a:pt x="14066" y="11214"/>
                        <a:pt x="13137" y="11106"/>
                      </a:cubicBezTo>
                      <a:cubicBezTo>
                        <a:pt x="8614" y="10589"/>
                        <a:pt x="4551" y="8708"/>
                        <a:pt x="1651" y="5851"/>
                      </a:cubicBezTo>
                      <a:lnTo>
                        <a:pt x="1651" y="6009"/>
                      </a:lnTo>
                      <a:cubicBezTo>
                        <a:pt x="4562" y="8841"/>
                        <a:pt x="8618" y="10704"/>
                        <a:pt x="13122" y="11220"/>
                      </a:cubicBezTo>
                      <a:cubicBezTo>
                        <a:pt x="14060" y="11328"/>
                        <a:pt x="15011" y="11382"/>
                        <a:pt x="15983" y="11382"/>
                      </a:cubicBezTo>
                      <a:cubicBezTo>
                        <a:pt x="19540" y="11382"/>
                        <a:pt x="23381" y="10657"/>
                        <a:pt x="27843" y="9164"/>
                      </a:cubicBezTo>
                      <a:cubicBezTo>
                        <a:pt x="29522" y="8604"/>
                        <a:pt x="31216" y="7962"/>
                        <a:pt x="32860" y="7341"/>
                      </a:cubicBezTo>
                      <a:cubicBezTo>
                        <a:pt x="34472" y="6731"/>
                        <a:pt x="36105" y="6113"/>
                        <a:pt x="37756" y="5557"/>
                      </a:cubicBezTo>
                      <a:lnTo>
                        <a:pt x="37756" y="5439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13" name="Google Shape;713;p31"/>
                <p:cNvGrpSpPr/>
                <p:nvPr/>
              </p:nvGrpSpPr>
              <p:grpSpPr>
                <a:xfrm>
                  <a:off x="4710585" y="2281922"/>
                  <a:ext cx="3380235" cy="634850"/>
                  <a:chOff x="4672653" y="2281922"/>
                  <a:chExt cx="3380235" cy="634850"/>
                </a:xfrm>
              </p:grpSpPr>
              <p:sp>
                <p:nvSpPr>
                  <p:cNvPr id="714" name="Google Shape;714;p31"/>
                  <p:cNvSpPr/>
                  <p:nvPr/>
                </p:nvSpPr>
                <p:spPr>
                  <a:xfrm>
                    <a:off x="4672653" y="2293200"/>
                    <a:ext cx="60514" cy="29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40" h="744" extrusionOk="0">
                        <a:moveTo>
                          <a:pt x="1539" y="0"/>
                        </a:moveTo>
                        <a:lnTo>
                          <a:pt x="1539" y="0"/>
                        </a:lnTo>
                        <a:cubicBezTo>
                          <a:pt x="1005" y="151"/>
                          <a:pt x="489" y="356"/>
                          <a:pt x="0" y="621"/>
                        </a:cubicBezTo>
                        <a:lnTo>
                          <a:pt x="0" y="743"/>
                        </a:lnTo>
                        <a:cubicBezTo>
                          <a:pt x="7" y="743"/>
                          <a:pt x="18" y="739"/>
                          <a:pt x="25" y="736"/>
                        </a:cubicBezTo>
                        <a:cubicBezTo>
                          <a:pt x="506" y="474"/>
                          <a:pt x="1012" y="270"/>
                          <a:pt x="1536" y="119"/>
                        </a:cubicBezTo>
                        <a:cubicBezTo>
                          <a:pt x="1536" y="79"/>
                          <a:pt x="1539" y="40"/>
                          <a:pt x="1539" y="0"/>
                        </a:cubicBezTo>
                        <a:close/>
                      </a:path>
                    </a:pathLst>
                  </a:custGeom>
                  <a:solidFill>
                    <a:schemeClr val="accent3"/>
                  </a:solidFill>
                  <a:ln w="9525" cap="flat" cmpd="sng">
                    <a:solidFill>
                      <a:schemeClr val="accent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15" name="Google Shape;715;p31"/>
                  <p:cNvSpPr/>
                  <p:nvPr/>
                </p:nvSpPr>
                <p:spPr>
                  <a:xfrm>
                    <a:off x="4737530" y="2281922"/>
                    <a:ext cx="3315358" cy="6348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4371" h="16156" extrusionOk="0">
                        <a:moveTo>
                          <a:pt x="84370" y="9834"/>
                        </a:moveTo>
                        <a:cubicBezTo>
                          <a:pt x="84352" y="9834"/>
                          <a:pt x="84335" y="9842"/>
                          <a:pt x="84324" y="9856"/>
                        </a:cubicBezTo>
                        <a:cubicBezTo>
                          <a:pt x="83871" y="10434"/>
                          <a:pt x="83373" y="10976"/>
                          <a:pt x="82834" y="11482"/>
                        </a:cubicBezTo>
                        <a:lnTo>
                          <a:pt x="82834" y="11636"/>
                        </a:lnTo>
                        <a:cubicBezTo>
                          <a:pt x="83391" y="11123"/>
                          <a:pt x="83904" y="10574"/>
                          <a:pt x="84370" y="9985"/>
                        </a:cubicBezTo>
                        <a:lnTo>
                          <a:pt x="84370" y="9834"/>
                        </a:lnTo>
                        <a:close/>
                        <a:moveTo>
                          <a:pt x="2021" y="0"/>
                        </a:moveTo>
                        <a:cubicBezTo>
                          <a:pt x="1339" y="0"/>
                          <a:pt x="660" y="86"/>
                          <a:pt x="4" y="255"/>
                        </a:cubicBezTo>
                        <a:cubicBezTo>
                          <a:pt x="4" y="298"/>
                          <a:pt x="0" y="334"/>
                          <a:pt x="0" y="377"/>
                        </a:cubicBezTo>
                        <a:cubicBezTo>
                          <a:pt x="657" y="201"/>
                          <a:pt x="1339" y="111"/>
                          <a:pt x="2025" y="111"/>
                        </a:cubicBezTo>
                        <a:cubicBezTo>
                          <a:pt x="3234" y="111"/>
                          <a:pt x="4454" y="388"/>
                          <a:pt x="5557" y="940"/>
                        </a:cubicBezTo>
                        <a:cubicBezTo>
                          <a:pt x="6770" y="1547"/>
                          <a:pt x="7832" y="2459"/>
                          <a:pt x="8862" y="3342"/>
                        </a:cubicBezTo>
                        <a:cubicBezTo>
                          <a:pt x="9609" y="3988"/>
                          <a:pt x="10388" y="4652"/>
                          <a:pt x="11216" y="5201"/>
                        </a:cubicBezTo>
                        <a:cubicBezTo>
                          <a:pt x="13482" y="6690"/>
                          <a:pt x="16307" y="7427"/>
                          <a:pt x="19784" y="7427"/>
                        </a:cubicBezTo>
                        <a:cubicBezTo>
                          <a:pt x="20833" y="7427"/>
                          <a:pt x="21938" y="7362"/>
                          <a:pt x="23108" y="7229"/>
                        </a:cubicBezTo>
                        <a:cubicBezTo>
                          <a:pt x="24439" y="7078"/>
                          <a:pt x="25786" y="6859"/>
                          <a:pt x="27088" y="6651"/>
                        </a:cubicBezTo>
                        <a:cubicBezTo>
                          <a:pt x="29497" y="6259"/>
                          <a:pt x="31977" y="5861"/>
                          <a:pt x="34461" y="5861"/>
                        </a:cubicBezTo>
                        <a:lnTo>
                          <a:pt x="34777" y="5861"/>
                        </a:lnTo>
                        <a:cubicBezTo>
                          <a:pt x="34953" y="5840"/>
                          <a:pt x="35129" y="5825"/>
                          <a:pt x="35305" y="5825"/>
                        </a:cubicBezTo>
                        <a:cubicBezTo>
                          <a:pt x="35595" y="5825"/>
                          <a:pt x="35883" y="5858"/>
                          <a:pt x="36173" y="5926"/>
                        </a:cubicBezTo>
                        <a:cubicBezTo>
                          <a:pt x="41485" y="6342"/>
                          <a:pt x="46575" y="8628"/>
                          <a:pt x="51506" y="10847"/>
                        </a:cubicBezTo>
                        <a:cubicBezTo>
                          <a:pt x="53147" y="11587"/>
                          <a:pt x="54845" y="12347"/>
                          <a:pt x="56521" y="13029"/>
                        </a:cubicBezTo>
                        <a:cubicBezTo>
                          <a:pt x="61751" y="15150"/>
                          <a:pt x="66126" y="16156"/>
                          <a:pt x="70189" y="16156"/>
                        </a:cubicBezTo>
                        <a:cubicBezTo>
                          <a:pt x="70544" y="16156"/>
                          <a:pt x="70892" y="16149"/>
                          <a:pt x="71245" y="16134"/>
                        </a:cubicBezTo>
                        <a:cubicBezTo>
                          <a:pt x="75749" y="15937"/>
                          <a:pt x="79805" y="14365"/>
                          <a:pt x="82720" y="11741"/>
                        </a:cubicBezTo>
                        <a:lnTo>
                          <a:pt x="82720" y="11587"/>
                        </a:lnTo>
                        <a:cubicBezTo>
                          <a:pt x="79819" y="14235"/>
                          <a:pt x="75759" y="15826"/>
                          <a:pt x="71237" y="16019"/>
                        </a:cubicBezTo>
                        <a:cubicBezTo>
                          <a:pt x="70889" y="16033"/>
                          <a:pt x="70541" y="16041"/>
                          <a:pt x="70189" y="16041"/>
                        </a:cubicBezTo>
                        <a:cubicBezTo>
                          <a:pt x="66141" y="16041"/>
                          <a:pt x="61776" y="15039"/>
                          <a:pt x="56564" y="12925"/>
                        </a:cubicBezTo>
                        <a:cubicBezTo>
                          <a:pt x="54891" y="12243"/>
                          <a:pt x="53194" y="11482"/>
                          <a:pt x="51553" y="10743"/>
                        </a:cubicBezTo>
                        <a:cubicBezTo>
                          <a:pt x="46303" y="8381"/>
                          <a:pt x="40871" y="5941"/>
                          <a:pt x="35172" y="5757"/>
                        </a:cubicBezTo>
                        <a:cubicBezTo>
                          <a:pt x="34935" y="5750"/>
                          <a:pt x="34698" y="5747"/>
                          <a:pt x="34461" y="5747"/>
                        </a:cubicBezTo>
                        <a:cubicBezTo>
                          <a:pt x="31970" y="5747"/>
                          <a:pt x="29483" y="6148"/>
                          <a:pt x="27071" y="6536"/>
                        </a:cubicBezTo>
                        <a:cubicBezTo>
                          <a:pt x="25771" y="6748"/>
                          <a:pt x="24426" y="6963"/>
                          <a:pt x="23097" y="7114"/>
                        </a:cubicBezTo>
                        <a:cubicBezTo>
                          <a:pt x="21931" y="7247"/>
                          <a:pt x="20829" y="7315"/>
                          <a:pt x="19784" y="7315"/>
                        </a:cubicBezTo>
                        <a:cubicBezTo>
                          <a:pt x="16328" y="7315"/>
                          <a:pt x="13525" y="6582"/>
                          <a:pt x="11281" y="5104"/>
                        </a:cubicBezTo>
                        <a:cubicBezTo>
                          <a:pt x="10456" y="4562"/>
                          <a:pt x="9680" y="3898"/>
                          <a:pt x="8934" y="3256"/>
                        </a:cubicBezTo>
                        <a:cubicBezTo>
                          <a:pt x="7900" y="2369"/>
                          <a:pt x="6831" y="1450"/>
                          <a:pt x="5607" y="837"/>
                        </a:cubicBezTo>
                        <a:cubicBezTo>
                          <a:pt x="4487" y="277"/>
                          <a:pt x="3252" y="0"/>
                          <a:pt x="2021" y="0"/>
                        </a:cubicBezTo>
                        <a:close/>
                      </a:path>
                    </a:pathLst>
                  </a:custGeom>
                  <a:solidFill>
                    <a:schemeClr val="accent3"/>
                  </a:solidFill>
                  <a:ln w="9525" cap="flat" cmpd="sng">
                    <a:solidFill>
                      <a:schemeClr val="accent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716" name="Google Shape;716;p31"/>
                <p:cNvSpPr/>
                <p:nvPr/>
              </p:nvSpPr>
              <p:spPr>
                <a:xfrm>
                  <a:off x="4921590" y="3223954"/>
                  <a:ext cx="166021" cy="7416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5" h="18873" extrusionOk="0">
                      <a:moveTo>
                        <a:pt x="0" y="0"/>
                      </a:moveTo>
                      <a:lnTo>
                        <a:pt x="0" y="18872"/>
                      </a:lnTo>
                      <a:lnTo>
                        <a:pt x="4225" y="18872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17" name="Google Shape;717;p31"/>
                <p:cNvSpPr/>
                <p:nvPr/>
              </p:nvSpPr>
              <p:spPr>
                <a:xfrm>
                  <a:off x="5168405" y="3072588"/>
                  <a:ext cx="166179" cy="8929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9" h="22725" extrusionOk="0">
                      <a:moveTo>
                        <a:pt x="1" y="1"/>
                      </a:moveTo>
                      <a:lnTo>
                        <a:pt x="1" y="22724"/>
                      </a:lnTo>
                      <a:lnTo>
                        <a:pt x="4229" y="22724"/>
                      </a:lnTo>
                      <a:lnTo>
                        <a:pt x="4229" y="1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18" name="Google Shape;718;p31"/>
                <p:cNvSpPr/>
                <p:nvPr/>
              </p:nvSpPr>
              <p:spPr>
                <a:xfrm>
                  <a:off x="5415377" y="2923933"/>
                  <a:ext cx="166179" cy="1041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9" h="26508" extrusionOk="0">
                      <a:moveTo>
                        <a:pt x="1" y="0"/>
                      </a:moveTo>
                      <a:lnTo>
                        <a:pt x="1" y="26507"/>
                      </a:lnTo>
                      <a:lnTo>
                        <a:pt x="4229" y="26507"/>
                      </a:lnTo>
                      <a:lnTo>
                        <a:pt x="4229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19" name="Google Shape;719;p31"/>
                <p:cNvSpPr/>
                <p:nvPr/>
              </p:nvSpPr>
              <p:spPr>
                <a:xfrm>
                  <a:off x="5662310" y="2741719"/>
                  <a:ext cx="166100" cy="1223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7" h="31145" extrusionOk="0">
                      <a:moveTo>
                        <a:pt x="1" y="0"/>
                      </a:moveTo>
                      <a:lnTo>
                        <a:pt x="1" y="31144"/>
                      </a:lnTo>
                      <a:lnTo>
                        <a:pt x="4226" y="31144"/>
                      </a:lnTo>
                      <a:lnTo>
                        <a:pt x="4226" y="0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0" name="Google Shape;720;p31"/>
                <p:cNvSpPr/>
                <p:nvPr/>
              </p:nvSpPr>
              <p:spPr>
                <a:xfrm>
                  <a:off x="5909282" y="3001659"/>
                  <a:ext cx="166061" cy="96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24530" extrusionOk="0">
                      <a:moveTo>
                        <a:pt x="1" y="0"/>
                      </a:moveTo>
                      <a:lnTo>
                        <a:pt x="1" y="24529"/>
                      </a:lnTo>
                      <a:lnTo>
                        <a:pt x="4225" y="24529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1" name="Google Shape;721;p31"/>
                <p:cNvSpPr/>
                <p:nvPr/>
              </p:nvSpPr>
              <p:spPr>
                <a:xfrm>
                  <a:off x="6156254" y="2640416"/>
                  <a:ext cx="166061" cy="13251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33723" extrusionOk="0">
                      <a:moveTo>
                        <a:pt x="1" y="1"/>
                      </a:moveTo>
                      <a:lnTo>
                        <a:pt x="1" y="33722"/>
                      </a:lnTo>
                      <a:lnTo>
                        <a:pt x="4225" y="33722"/>
                      </a:lnTo>
                      <a:lnTo>
                        <a:pt x="4225" y="1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2" name="Google Shape;722;p31"/>
                <p:cNvSpPr/>
                <p:nvPr/>
              </p:nvSpPr>
              <p:spPr>
                <a:xfrm>
                  <a:off x="6403226" y="3091489"/>
                  <a:ext cx="166061" cy="8740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22244" extrusionOk="0">
                      <a:moveTo>
                        <a:pt x="1" y="0"/>
                      </a:moveTo>
                      <a:lnTo>
                        <a:pt x="1" y="22243"/>
                      </a:lnTo>
                      <a:lnTo>
                        <a:pt x="4225" y="22243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3" name="Google Shape;723;p31"/>
                <p:cNvSpPr/>
                <p:nvPr/>
              </p:nvSpPr>
              <p:spPr>
                <a:xfrm>
                  <a:off x="6650080" y="2798266"/>
                  <a:ext cx="166179" cy="11672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9" h="29706" extrusionOk="0">
                      <a:moveTo>
                        <a:pt x="0" y="1"/>
                      </a:moveTo>
                      <a:lnTo>
                        <a:pt x="0" y="29705"/>
                      </a:lnTo>
                      <a:lnTo>
                        <a:pt x="4228" y="29705"/>
                      </a:lnTo>
                      <a:lnTo>
                        <a:pt x="4228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4" name="Google Shape;724;p31"/>
                <p:cNvSpPr/>
                <p:nvPr/>
              </p:nvSpPr>
              <p:spPr>
                <a:xfrm>
                  <a:off x="6897013" y="3673574"/>
                  <a:ext cx="166218" cy="292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0" h="7431" extrusionOk="0">
                      <a:moveTo>
                        <a:pt x="1" y="1"/>
                      </a:moveTo>
                      <a:lnTo>
                        <a:pt x="1" y="7430"/>
                      </a:lnTo>
                      <a:lnTo>
                        <a:pt x="4229" y="7430"/>
                      </a:lnTo>
                      <a:lnTo>
                        <a:pt x="4229" y="1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1"/>
                <p:cNvSpPr/>
                <p:nvPr/>
              </p:nvSpPr>
              <p:spPr>
                <a:xfrm>
                  <a:off x="7143985" y="2724901"/>
                  <a:ext cx="166061" cy="124066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31573" extrusionOk="0">
                      <a:moveTo>
                        <a:pt x="1" y="1"/>
                      </a:moveTo>
                      <a:lnTo>
                        <a:pt x="1" y="31572"/>
                      </a:lnTo>
                      <a:lnTo>
                        <a:pt x="4225" y="31572"/>
                      </a:lnTo>
                      <a:lnTo>
                        <a:pt x="4225" y="1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1"/>
                <p:cNvSpPr/>
                <p:nvPr/>
              </p:nvSpPr>
              <p:spPr>
                <a:xfrm>
                  <a:off x="7390957" y="2381065"/>
                  <a:ext cx="166061" cy="15844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40323" extrusionOk="0">
                      <a:moveTo>
                        <a:pt x="1" y="0"/>
                      </a:moveTo>
                      <a:lnTo>
                        <a:pt x="1" y="40322"/>
                      </a:lnTo>
                      <a:lnTo>
                        <a:pt x="4225" y="40322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1"/>
                <p:cNvSpPr/>
                <p:nvPr/>
              </p:nvSpPr>
              <p:spPr>
                <a:xfrm>
                  <a:off x="7637929" y="3115184"/>
                  <a:ext cx="166061" cy="850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21641" extrusionOk="0">
                      <a:moveTo>
                        <a:pt x="1" y="0"/>
                      </a:moveTo>
                      <a:lnTo>
                        <a:pt x="1" y="21640"/>
                      </a:lnTo>
                      <a:lnTo>
                        <a:pt x="4225" y="21640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8" name="Google Shape;728;p31"/>
            <p:cNvGrpSpPr/>
            <p:nvPr/>
          </p:nvGrpSpPr>
          <p:grpSpPr>
            <a:xfrm>
              <a:off x="5262046" y="2085203"/>
              <a:ext cx="1054922" cy="2623643"/>
              <a:chOff x="5262046" y="2234728"/>
              <a:chExt cx="1054922" cy="2623643"/>
            </a:xfrm>
          </p:grpSpPr>
          <p:sp>
            <p:nvSpPr>
              <p:cNvPr id="729" name="Google Shape;729;p31"/>
              <p:cNvSpPr/>
              <p:nvPr/>
            </p:nvSpPr>
            <p:spPr>
              <a:xfrm>
                <a:off x="6104070" y="2510819"/>
                <a:ext cx="54895" cy="4008"/>
              </a:xfrm>
              <a:custGeom>
                <a:avLst/>
                <a:gdLst/>
                <a:ahLst/>
                <a:cxnLst/>
                <a:rect l="l" t="t" r="r" b="b"/>
                <a:pathLst>
                  <a:path w="1397" h="102" extrusionOk="0">
                    <a:moveTo>
                      <a:pt x="529" y="0"/>
                    </a:moveTo>
                    <a:cubicBezTo>
                      <a:pt x="353" y="0"/>
                      <a:pt x="177" y="15"/>
                      <a:pt x="1" y="36"/>
                    </a:cubicBezTo>
                    <a:cubicBezTo>
                      <a:pt x="134" y="40"/>
                      <a:pt x="263" y="43"/>
                      <a:pt x="393" y="47"/>
                    </a:cubicBezTo>
                    <a:cubicBezTo>
                      <a:pt x="729" y="58"/>
                      <a:pt x="1064" y="76"/>
                      <a:pt x="1397" y="101"/>
                    </a:cubicBezTo>
                    <a:cubicBezTo>
                      <a:pt x="1107" y="33"/>
                      <a:pt x="819" y="0"/>
                      <a:pt x="529" y="0"/>
                    </a:cubicBezTo>
                    <a:close/>
                  </a:path>
                </a:pathLst>
              </a:custGeom>
              <a:solidFill>
                <a:srgbClr val="C2D6F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0" name="Google Shape;730;p31"/>
              <p:cNvSpPr/>
              <p:nvPr/>
            </p:nvSpPr>
            <p:spPr>
              <a:xfrm>
                <a:off x="6266871" y="2618410"/>
                <a:ext cx="157" cy="236"/>
              </a:xfrm>
              <a:custGeom>
                <a:avLst/>
                <a:gdLst/>
                <a:ahLst/>
                <a:cxnLst/>
                <a:rect l="l" t="t" r="r" b="b"/>
                <a:pathLst>
                  <a:path w="4" h="6" extrusionOk="0">
                    <a:moveTo>
                      <a:pt x="0" y="1"/>
                    </a:moveTo>
                    <a:cubicBezTo>
                      <a:pt x="0" y="5"/>
                      <a:pt x="4" y="5"/>
                      <a:pt x="4" y="5"/>
                    </a:cubicBezTo>
                    <a:cubicBezTo>
                      <a:pt x="4" y="5"/>
                      <a:pt x="0" y="5"/>
                      <a:pt x="0" y="1"/>
                    </a:cubicBezTo>
                    <a:close/>
                  </a:path>
                </a:pathLst>
              </a:custGeom>
              <a:solidFill>
                <a:srgbClr val="99BDF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1" name="Google Shape;731;p31"/>
              <p:cNvSpPr/>
              <p:nvPr/>
            </p:nvSpPr>
            <p:spPr>
              <a:xfrm>
                <a:off x="5977067" y="2638333"/>
                <a:ext cx="3340" cy="49826"/>
              </a:xfrm>
              <a:custGeom>
                <a:avLst/>
                <a:gdLst/>
                <a:ahLst/>
                <a:cxnLst/>
                <a:rect l="l" t="t" r="r" b="b"/>
                <a:pathLst>
                  <a:path w="85" h="1268" extrusionOk="0">
                    <a:moveTo>
                      <a:pt x="42" y="0"/>
                    </a:moveTo>
                    <a:cubicBezTo>
                      <a:pt x="9" y="244"/>
                      <a:pt x="1" y="487"/>
                      <a:pt x="15" y="728"/>
                    </a:cubicBezTo>
                    <a:lnTo>
                      <a:pt x="15" y="728"/>
                    </a:lnTo>
                    <a:cubicBezTo>
                      <a:pt x="2" y="487"/>
                      <a:pt x="11" y="243"/>
                      <a:pt x="45" y="0"/>
                    </a:cubicBezTo>
                    <a:close/>
                    <a:moveTo>
                      <a:pt x="15" y="728"/>
                    </a:moveTo>
                    <a:lnTo>
                      <a:pt x="15" y="728"/>
                    </a:lnTo>
                    <a:cubicBezTo>
                      <a:pt x="26" y="910"/>
                      <a:pt x="49" y="1091"/>
                      <a:pt x="85" y="1267"/>
                    </a:cubicBezTo>
                    <a:cubicBezTo>
                      <a:pt x="75" y="1213"/>
                      <a:pt x="63" y="1156"/>
                      <a:pt x="56" y="1099"/>
                    </a:cubicBezTo>
                    <a:cubicBezTo>
                      <a:pt x="37" y="976"/>
                      <a:pt x="23" y="852"/>
                      <a:pt x="15" y="728"/>
                    </a:cubicBezTo>
                    <a:close/>
                  </a:path>
                </a:pathLst>
              </a:custGeom>
              <a:solidFill>
                <a:srgbClr val="E6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2" name="Google Shape;732;p31"/>
              <p:cNvSpPr/>
              <p:nvPr/>
            </p:nvSpPr>
            <p:spPr>
              <a:xfrm>
                <a:off x="5988698" y="2715077"/>
                <a:ext cx="39099" cy="54306"/>
              </a:xfrm>
              <a:custGeom>
                <a:avLst/>
                <a:gdLst/>
                <a:ahLst/>
                <a:cxnLst/>
                <a:rect l="l" t="t" r="r" b="b"/>
                <a:pathLst>
                  <a:path w="995" h="1382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220" y="527"/>
                      <a:pt x="557" y="1001"/>
                      <a:pt x="995" y="1382"/>
                    </a:cubicBezTo>
                    <a:cubicBezTo>
                      <a:pt x="561" y="1001"/>
                      <a:pt x="220" y="524"/>
                      <a:pt x="1" y="0"/>
                    </a:cubicBezTo>
                    <a:close/>
                  </a:path>
                </a:pathLst>
              </a:custGeom>
              <a:solidFill>
                <a:srgbClr val="E6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3" name="Google Shape;733;p31"/>
              <p:cNvSpPr/>
              <p:nvPr/>
            </p:nvSpPr>
            <p:spPr>
              <a:xfrm>
                <a:off x="5965592" y="2784355"/>
                <a:ext cx="125548" cy="256714"/>
              </a:xfrm>
              <a:custGeom>
                <a:avLst/>
                <a:gdLst/>
                <a:ahLst/>
                <a:cxnLst/>
                <a:rect l="l" t="t" r="r" b="b"/>
                <a:pathLst>
                  <a:path w="3195" h="6533" extrusionOk="0">
                    <a:moveTo>
                      <a:pt x="2729" y="0"/>
                    </a:moveTo>
                    <a:cubicBezTo>
                      <a:pt x="2573" y="0"/>
                      <a:pt x="2423" y="83"/>
                      <a:pt x="2344" y="229"/>
                    </a:cubicBezTo>
                    <a:cubicBezTo>
                      <a:pt x="1838" y="1169"/>
                      <a:pt x="1414" y="2139"/>
                      <a:pt x="1001" y="3115"/>
                    </a:cubicBezTo>
                    <a:cubicBezTo>
                      <a:pt x="804" y="3606"/>
                      <a:pt x="600" y="4091"/>
                      <a:pt x="417" y="4590"/>
                    </a:cubicBezTo>
                    <a:lnTo>
                      <a:pt x="137" y="5329"/>
                    </a:lnTo>
                    <a:cubicBezTo>
                      <a:pt x="44" y="5577"/>
                      <a:pt x="0" y="5843"/>
                      <a:pt x="173" y="6187"/>
                    </a:cubicBezTo>
                    <a:cubicBezTo>
                      <a:pt x="284" y="6404"/>
                      <a:pt x="505" y="6533"/>
                      <a:pt x="736" y="6533"/>
                    </a:cubicBezTo>
                    <a:cubicBezTo>
                      <a:pt x="819" y="6533"/>
                      <a:pt x="903" y="6516"/>
                      <a:pt x="983" y="6481"/>
                    </a:cubicBezTo>
                    <a:cubicBezTo>
                      <a:pt x="1339" y="6330"/>
                      <a:pt x="1475" y="6101"/>
                      <a:pt x="1561" y="5850"/>
                    </a:cubicBezTo>
                    <a:lnTo>
                      <a:pt x="1823" y="5103"/>
                    </a:lnTo>
                    <a:cubicBezTo>
                      <a:pt x="2007" y="4604"/>
                      <a:pt x="2161" y="4098"/>
                      <a:pt x="2326" y="3595"/>
                    </a:cubicBezTo>
                    <a:cubicBezTo>
                      <a:pt x="2638" y="2587"/>
                      <a:pt x="2936" y="1571"/>
                      <a:pt x="3155" y="523"/>
                    </a:cubicBezTo>
                    <a:cubicBezTo>
                      <a:pt x="3195" y="340"/>
                      <a:pt x="3108" y="146"/>
                      <a:pt x="2936" y="53"/>
                    </a:cubicBezTo>
                    <a:cubicBezTo>
                      <a:pt x="2870" y="17"/>
                      <a:pt x="2799" y="0"/>
                      <a:pt x="27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4" name="Google Shape;734;p31"/>
              <p:cNvSpPr/>
              <p:nvPr/>
            </p:nvSpPr>
            <p:spPr>
              <a:xfrm>
                <a:off x="5288021" y="2719557"/>
                <a:ext cx="227950" cy="308348"/>
              </a:xfrm>
              <a:custGeom>
                <a:avLst/>
                <a:gdLst/>
                <a:ahLst/>
                <a:cxnLst/>
                <a:rect l="l" t="t" r="r" b="b"/>
                <a:pathLst>
                  <a:path w="5801" h="7847" extrusionOk="0">
                    <a:moveTo>
                      <a:pt x="2024" y="1"/>
                    </a:moveTo>
                    <a:cubicBezTo>
                      <a:pt x="1928" y="130"/>
                      <a:pt x="1863" y="223"/>
                      <a:pt x="1788" y="331"/>
                    </a:cubicBezTo>
                    <a:cubicBezTo>
                      <a:pt x="1716" y="438"/>
                      <a:pt x="1648" y="543"/>
                      <a:pt x="1579" y="650"/>
                    </a:cubicBezTo>
                    <a:cubicBezTo>
                      <a:pt x="1446" y="866"/>
                      <a:pt x="1321" y="1081"/>
                      <a:pt x="1203" y="1303"/>
                    </a:cubicBezTo>
                    <a:cubicBezTo>
                      <a:pt x="966" y="1745"/>
                      <a:pt x="761" y="2204"/>
                      <a:pt x="582" y="2678"/>
                    </a:cubicBezTo>
                    <a:cubicBezTo>
                      <a:pt x="227" y="3626"/>
                      <a:pt x="0" y="4652"/>
                      <a:pt x="15" y="5718"/>
                    </a:cubicBezTo>
                    <a:cubicBezTo>
                      <a:pt x="15" y="5822"/>
                      <a:pt x="18" y="6049"/>
                      <a:pt x="68" y="6256"/>
                    </a:cubicBezTo>
                    <a:cubicBezTo>
                      <a:pt x="115" y="6465"/>
                      <a:pt x="205" y="6680"/>
                      <a:pt x="330" y="6864"/>
                    </a:cubicBezTo>
                    <a:cubicBezTo>
                      <a:pt x="585" y="7240"/>
                      <a:pt x="933" y="7452"/>
                      <a:pt x="1235" y="7578"/>
                    </a:cubicBezTo>
                    <a:cubicBezTo>
                      <a:pt x="1544" y="7707"/>
                      <a:pt x="1831" y="7768"/>
                      <a:pt x="2104" y="7804"/>
                    </a:cubicBezTo>
                    <a:cubicBezTo>
                      <a:pt x="2380" y="7840"/>
                      <a:pt x="2642" y="7847"/>
                      <a:pt x="2901" y="7847"/>
                    </a:cubicBezTo>
                    <a:cubicBezTo>
                      <a:pt x="3927" y="7822"/>
                      <a:pt x="4860" y="7628"/>
                      <a:pt x="5800" y="7341"/>
                    </a:cubicBezTo>
                    <a:lnTo>
                      <a:pt x="5603" y="6397"/>
                    </a:lnTo>
                    <a:cubicBezTo>
                      <a:pt x="5166" y="6423"/>
                      <a:pt x="4720" y="6442"/>
                      <a:pt x="4281" y="6442"/>
                    </a:cubicBezTo>
                    <a:cubicBezTo>
                      <a:pt x="3831" y="6442"/>
                      <a:pt x="3389" y="6422"/>
                      <a:pt x="2972" y="6372"/>
                    </a:cubicBezTo>
                    <a:cubicBezTo>
                      <a:pt x="2563" y="6325"/>
                      <a:pt x="2161" y="6225"/>
                      <a:pt x="1928" y="6092"/>
                    </a:cubicBezTo>
                    <a:cubicBezTo>
                      <a:pt x="1809" y="6024"/>
                      <a:pt x="1763" y="5959"/>
                      <a:pt x="1769" y="5938"/>
                    </a:cubicBezTo>
                    <a:lnTo>
                      <a:pt x="1773" y="5905"/>
                    </a:lnTo>
                    <a:lnTo>
                      <a:pt x="1784" y="5754"/>
                    </a:lnTo>
                    <a:cubicBezTo>
                      <a:pt x="1834" y="4961"/>
                      <a:pt x="2061" y="4157"/>
                      <a:pt x="2376" y="3382"/>
                    </a:cubicBezTo>
                    <a:cubicBezTo>
                      <a:pt x="2538" y="2991"/>
                      <a:pt x="2728" y="2610"/>
                      <a:pt x="2929" y="2237"/>
                    </a:cubicBezTo>
                    <a:cubicBezTo>
                      <a:pt x="3030" y="2050"/>
                      <a:pt x="3137" y="1863"/>
                      <a:pt x="3249" y="1684"/>
                    </a:cubicBezTo>
                    <a:lnTo>
                      <a:pt x="3417" y="1419"/>
                    </a:lnTo>
                    <a:cubicBezTo>
                      <a:pt x="3471" y="1336"/>
                      <a:pt x="3539" y="1235"/>
                      <a:pt x="3578" y="1178"/>
                    </a:cubicBezTo>
                    <a:lnTo>
                      <a:pt x="2024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1"/>
              <p:cNvSpPr/>
              <p:nvPr/>
            </p:nvSpPr>
            <p:spPr>
              <a:xfrm>
                <a:off x="5297766" y="2639787"/>
                <a:ext cx="193528" cy="199147"/>
              </a:xfrm>
              <a:custGeom>
                <a:avLst/>
                <a:gdLst/>
                <a:ahLst/>
                <a:cxnLst/>
                <a:rect l="l" t="t" r="r" b="b"/>
                <a:pathLst>
                  <a:path w="4925" h="5068" extrusionOk="0">
                    <a:moveTo>
                      <a:pt x="2971" y="1"/>
                    </a:moveTo>
                    <a:cubicBezTo>
                      <a:pt x="2873" y="1"/>
                      <a:pt x="2766" y="14"/>
                      <a:pt x="2649" y="43"/>
                    </a:cubicBezTo>
                    <a:cubicBezTo>
                      <a:pt x="1863" y="236"/>
                      <a:pt x="0" y="3338"/>
                      <a:pt x="0" y="3338"/>
                    </a:cubicBezTo>
                    <a:lnTo>
                      <a:pt x="4174" y="5067"/>
                    </a:lnTo>
                    <a:cubicBezTo>
                      <a:pt x="4174" y="5067"/>
                      <a:pt x="4924" y="2705"/>
                      <a:pt x="4454" y="1761"/>
                    </a:cubicBezTo>
                    <a:cubicBezTo>
                      <a:pt x="4017" y="883"/>
                      <a:pt x="3772" y="1"/>
                      <a:pt x="2971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1"/>
              <p:cNvSpPr/>
              <p:nvPr/>
            </p:nvSpPr>
            <p:spPr>
              <a:xfrm>
                <a:off x="5488310" y="2958906"/>
                <a:ext cx="102442" cy="63068"/>
              </a:xfrm>
              <a:custGeom>
                <a:avLst/>
                <a:gdLst/>
                <a:ahLst/>
                <a:cxnLst/>
                <a:rect l="l" t="t" r="r" b="b"/>
                <a:pathLst>
                  <a:path w="2607" h="1605" extrusionOk="0">
                    <a:moveTo>
                      <a:pt x="2606" y="1"/>
                    </a:moveTo>
                    <a:lnTo>
                      <a:pt x="696" y="202"/>
                    </a:lnTo>
                    <a:lnTo>
                      <a:pt x="0" y="765"/>
                    </a:lnTo>
                    <a:cubicBezTo>
                      <a:pt x="312" y="1494"/>
                      <a:pt x="1533" y="1605"/>
                      <a:pt x="1533" y="1605"/>
                    </a:cubicBezTo>
                    <a:lnTo>
                      <a:pt x="2606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1"/>
              <p:cNvSpPr/>
              <p:nvPr/>
            </p:nvSpPr>
            <p:spPr>
              <a:xfrm>
                <a:off x="5548510" y="2958906"/>
                <a:ext cx="95801" cy="96076"/>
              </a:xfrm>
              <a:custGeom>
                <a:avLst/>
                <a:gdLst/>
                <a:ahLst/>
                <a:cxnLst/>
                <a:rect l="l" t="t" r="r" b="b"/>
                <a:pathLst>
                  <a:path w="2438" h="2445" extrusionOk="0">
                    <a:moveTo>
                      <a:pt x="1074" y="1"/>
                    </a:moveTo>
                    <a:lnTo>
                      <a:pt x="1" y="1605"/>
                    </a:lnTo>
                    <a:lnTo>
                      <a:pt x="970" y="2445"/>
                    </a:lnTo>
                    <a:lnTo>
                      <a:pt x="2438" y="851"/>
                    </a:lnTo>
                    <a:lnTo>
                      <a:pt x="1074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1"/>
              <p:cNvSpPr/>
              <p:nvPr/>
            </p:nvSpPr>
            <p:spPr>
              <a:xfrm>
                <a:off x="5395494" y="4767365"/>
                <a:ext cx="39099" cy="18940"/>
              </a:xfrm>
              <a:custGeom>
                <a:avLst/>
                <a:gdLst/>
                <a:ahLst/>
                <a:cxnLst/>
                <a:rect l="l" t="t" r="r" b="b"/>
                <a:pathLst>
                  <a:path w="995" h="482" extrusionOk="0">
                    <a:moveTo>
                      <a:pt x="796" y="88"/>
                    </a:moveTo>
                    <a:cubicBezTo>
                      <a:pt x="818" y="88"/>
                      <a:pt x="836" y="91"/>
                      <a:pt x="851" y="98"/>
                    </a:cubicBezTo>
                    <a:cubicBezTo>
                      <a:pt x="865" y="105"/>
                      <a:pt x="883" y="119"/>
                      <a:pt x="890" y="159"/>
                    </a:cubicBezTo>
                    <a:cubicBezTo>
                      <a:pt x="901" y="227"/>
                      <a:pt x="887" y="281"/>
                      <a:pt x="843" y="316"/>
                    </a:cubicBezTo>
                    <a:cubicBezTo>
                      <a:pt x="789" y="368"/>
                      <a:pt x="685" y="393"/>
                      <a:pt x="545" y="393"/>
                    </a:cubicBezTo>
                    <a:cubicBezTo>
                      <a:pt x="438" y="393"/>
                      <a:pt x="310" y="378"/>
                      <a:pt x="166" y="349"/>
                    </a:cubicBezTo>
                    <a:cubicBezTo>
                      <a:pt x="372" y="227"/>
                      <a:pt x="650" y="88"/>
                      <a:pt x="796" y="88"/>
                    </a:cubicBezTo>
                    <a:close/>
                    <a:moveTo>
                      <a:pt x="792" y="1"/>
                    </a:moveTo>
                    <a:cubicBezTo>
                      <a:pt x="533" y="1"/>
                      <a:pt x="82" y="297"/>
                      <a:pt x="25" y="334"/>
                    </a:cubicBezTo>
                    <a:cubicBezTo>
                      <a:pt x="11" y="342"/>
                      <a:pt x="0" y="359"/>
                      <a:pt x="4" y="378"/>
                    </a:cubicBezTo>
                    <a:cubicBezTo>
                      <a:pt x="7" y="396"/>
                      <a:pt x="22" y="410"/>
                      <a:pt x="40" y="414"/>
                    </a:cubicBezTo>
                    <a:cubicBezTo>
                      <a:pt x="172" y="446"/>
                      <a:pt x="366" y="482"/>
                      <a:pt x="542" y="482"/>
                    </a:cubicBezTo>
                    <a:cubicBezTo>
                      <a:pt x="689" y="482"/>
                      <a:pt x="825" y="457"/>
                      <a:pt x="905" y="385"/>
                    </a:cubicBezTo>
                    <a:cubicBezTo>
                      <a:pt x="969" y="328"/>
                      <a:pt x="994" y="245"/>
                      <a:pt x="980" y="144"/>
                    </a:cubicBezTo>
                    <a:cubicBezTo>
                      <a:pt x="969" y="69"/>
                      <a:pt x="923" y="33"/>
                      <a:pt x="887" y="19"/>
                    </a:cubicBezTo>
                    <a:cubicBezTo>
                      <a:pt x="860" y="7"/>
                      <a:pt x="828" y="1"/>
                      <a:pt x="792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9" name="Google Shape;739;p31"/>
              <p:cNvSpPr/>
              <p:nvPr/>
            </p:nvSpPr>
            <p:spPr>
              <a:xfrm>
                <a:off x="5395612" y="4749799"/>
                <a:ext cx="23341" cy="33990"/>
              </a:xfrm>
              <a:custGeom>
                <a:avLst/>
                <a:gdLst/>
                <a:ahLst/>
                <a:cxnLst/>
                <a:rect l="l" t="t" r="r" b="b"/>
                <a:pathLst>
                  <a:path w="594" h="865" extrusionOk="0">
                    <a:moveTo>
                      <a:pt x="385" y="92"/>
                    </a:moveTo>
                    <a:cubicBezTo>
                      <a:pt x="446" y="100"/>
                      <a:pt x="456" y="125"/>
                      <a:pt x="461" y="147"/>
                    </a:cubicBezTo>
                    <a:cubicBezTo>
                      <a:pt x="489" y="279"/>
                      <a:pt x="274" y="588"/>
                      <a:pt x="94" y="731"/>
                    </a:cubicBezTo>
                    <a:cubicBezTo>
                      <a:pt x="101" y="548"/>
                      <a:pt x="144" y="240"/>
                      <a:pt x="267" y="132"/>
                    </a:cubicBezTo>
                    <a:cubicBezTo>
                      <a:pt x="295" y="103"/>
                      <a:pt x="327" y="92"/>
                      <a:pt x="367" y="92"/>
                    </a:cubicBezTo>
                    <a:close/>
                    <a:moveTo>
                      <a:pt x="361" y="0"/>
                    </a:moveTo>
                    <a:cubicBezTo>
                      <a:pt x="303" y="0"/>
                      <a:pt x="250" y="22"/>
                      <a:pt x="206" y="64"/>
                    </a:cubicBezTo>
                    <a:cubicBezTo>
                      <a:pt x="1" y="246"/>
                      <a:pt x="1" y="796"/>
                      <a:pt x="1" y="818"/>
                    </a:cubicBezTo>
                    <a:cubicBezTo>
                      <a:pt x="1" y="836"/>
                      <a:pt x="12" y="849"/>
                      <a:pt x="22" y="857"/>
                    </a:cubicBezTo>
                    <a:cubicBezTo>
                      <a:pt x="30" y="861"/>
                      <a:pt x="37" y="864"/>
                      <a:pt x="47" y="864"/>
                    </a:cubicBezTo>
                    <a:cubicBezTo>
                      <a:pt x="55" y="864"/>
                      <a:pt x="62" y="861"/>
                      <a:pt x="69" y="857"/>
                    </a:cubicBezTo>
                    <a:cubicBezTo>
                      <a:pt x="249" y="756"/>
                      <a:pt x="593" y="344"/>
                      <a:pt x="550" y="128"/>
                    </a:cubicBezTo>
                    <a:cubicBezTo>
                      <a:pt x="542" y="89"/>
                      <a:pt x="511" y="17"/>
                      <a:pt x="396" y="3"/>
                    </a:cubicBezTo>
                    <a:cubicBezTo>
                      <a:pt x="384" y="1"/>
                      <a:pt x="373" y="0"/>
                      <a:pt x="36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0" name="Google Shape;740;p31"/>
              <p:cNvSpPr/>
              <p:nvPr/>
            </p:nvSpPr>
            <p:spPr>
              <a:xfrm>
                <a:off x="5732413" y="4767404"/>
                <a:ext cx="46722" cy="19058"/>
              </a:xfrm>
              <a:custGeom>
                <a:avLst/>
                <a:gdLst/>
                <a:ahLst/>
                <a:cxnLst/>
                <a:rect l="l" t="t" r="r" b="b"/>
                <a:pathLst>
                  <a:path w="1189" h="485" extrusionOk="0">
                    <a:moveTo>
                      <a:pt x="977" y="88"/>
                    </a:moveTo>
                    <a:cubicBezTo>
                      <a:pt x="1011" y="88"/>
                      <a:pt x="1039" y="93"/>
                      <a:pt x="1060" y="104"/>
                    </a:cubicBezTo>
                    <a:cubicBezTo>
                      <a:pt x="1081" y="115"/>
                      <a:pt x="1089" y="129"/>
                      <a:pt x="1092" y="154"/>
                    </a:cubicBezTo>
                    <a:cubicBezTo>
                      <a:pt x="1099" y="215"/>
                      <a:pt x="1081" y="262"/>
                      <a:pt x="1042" y="298"/>
                    </a:cubicBezTo>
                    <a:cubicBezTo>
                      <a:pt x="973" y="361"/>
                      <a:pt x="830" y="392"/>
                      <a:pt x="634" y="392"/>
                    </a:cubicBezTo>
                    <a:cubicBezTo>
                      <a:pt x="506" y="392"/>
                      <a:pt x="356" y="378"/>
                      <a:pt x="188" y="352"/>
                    </a:cubicBezTo>
                    <a:cubicBezTo>
                      <a:pt x="449" y="225"/>
                      <a:pt x="798" y="88"/>
                      <a:pt x="977" y="88"/>
                    </a:cubicBezTo>
                    <a:close/>
                    <a:moveTo>
                      <a:pt x="979" y="0"/>
                    </a:moveTo>
                    <a:cubicBezTo>
                      <a:pt x="673" y="0"/>
                      <a:pt x="100" y="293"/>
                      <a:pt x="26" y="330"/>
                    </a:cubicBezTo>
                    <a:cubicBezTo>
                      <a:pt x="12" y="341"/>
                      <a:pt x="1" y="358"/>
                      <a:pt x="4" y="377"/>
                    </a:cubicBezTo>
                    <a:cubicBezTo>
                      <a:pt x="4" y="395"/>
                      <a:pt x="19" y="409"/>
                      <a:pt x="40" y="416"/>
                    </a:cubicBezTo>
                    <a:cubicBezTo>
                      <a:pt x="202" y="449"/>
                      <a:pt x="428" y="484"/>
                      <a:pt x="640" y="484"/>
                    </a:cubicBezTo>
                    <a:cubicBezTo>
                      <a:pt x="830" y="484"/>
                      <a:pt x="1003" y="452"/>
                      <a:pt x="1103" y="366"/>
                    </a:cubicBezTo>
                    <a:cubicBezTo>
                      <a:pt x="1164" y="308"/>
                      <a:pt x="1189" y="237"/>
                      <a:pt x="1182" y="143"/>
                    </a:cubicBezTo>
                    <a:cubicBezTo>
                      <a:pt x="1175" y="93"/>
                      <a:pt x="1150" y="50"/>
                      <a:pt x="1103" y="25"/>
                    </a:cubicBezTo>
                    <a:cubicBezTo>
                      <a:pt x="1070" y="8"/>
                      <a:pt x="1028" y="0"/>
                      <a:pt x="979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1"/>
              <p:cNvSpPr/>
              <p:nvPr/>
            </p:nvSpPr>
            <p:spPr>
              <a:xfrm>
                <a:off x="5732413" y="4749799"/>
                <a:ext cx="29118" cy="33990"/>
              </a:xfrm>
              <a:custGeom>
                <a:avLst/>
                <a:gdLst/>
                <a:ahLst/>
                <a:cxnLst/>
                <a:rect l="l" t="t" r="r" b="b"/>
                <a:pathLst>
                  <a:path w="741" h="865" extrusionOk="0">
                    <a:moveTo>
                      <a:pt x="525" y="92"/>
                    </a:moveTo>
                    <a:cubicBezTo>
                      <a:pt x="607" y="100"/>
                      <a:pt x="612" y="135"/>
                      <a:pt x="615" y="147"/>
                    </a:cubicBezTo>
                    <a:cubicBezTo>
                      <a:pt x="637" y="276"/>
                      <a:pt x="332" y="599"/>
                      <a:pt x="102" y="738"/>
                    </a:cubicBezTo>
                    <a:cubicBezTo>
                      <a:pt x="123" y="588"/>
                      <a:pt x="184" y="279"/>
                      <a:pt x="342" y="150"/>
                    </a:cubicBezTo>
                    <a:cubicBezTo>
                      <a:pt x="389" y="110"/>
                      <a:pt x="439" y="92"/>
                      <a:pt x="496" y="92"/>
                    </a:cubicBezTo>
                    <a:close/>
                    <a:moveTo>
                      <a:pt x="496" y="1"/>
                    </a:moveTo>
                    <a:cubicBezTo>
                      <a:pt x="420" y="1"/>
                      <a:pt x="347" y="29"/>
                      <a:pt x="284" y="82"/>
                    </a:cubicBezTo>
                    <a:cubicBezTo>
                      <a:pt x="44" y="279"/>
                      <a:pt x="4" y="793"/>
                      <a:pt x="4" y="814"/>
                    </a:cubicBezTo>
                    <a:cubicBezTo>
                      <a:pt x="1" y="832"/>
                      <a:pt x="9" y="846"/>
                      <a:pt x="22" y="857"/>
                    </a:cubicBezTo>
                    <a:cubicBezTo>
                      <a:pt x="30" y="861"/>
                      <a:pt x="40" y="864"/>
                      <a:pt x="47" y="864"/>
                    </a:cubicBezTo>
                    <a:cubicBezTo>
                      <a:pt x="55" y="864"/>
                      <a:pt x="62" y="861"/>
                      <a:pt x="65" y="861"/>
                    </a:cubicBezTo>
                    <a:cubicBezTo>
                      <a:pt x="299" y="753"/>
                      <a:pt x="741" y="351"/>
                      <a:pt x="705" y="132"/>
                    </a:cubicBezTo>
                    <a:cubicBezTo>
                      <a:pt x="693" y="78"/>
                      <a:pt x="658" y="14"/>
                      <a:pt x="532" y="3"/>
                    </a:cubicBezTo>
                    <a:cubicBezTo>
                      <a:pt x="520" y="1"/>
                      <a:pt x="508" y="1"/>
                      <a:pt x="496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2" name="Google Shape;742;p31"/>
              <p:cNvSpPr/>
              <p:nvPr/>
            </p:nvSpPr>
            <p:spPr>
              <a:xfrm>
                <a:off x="5530867" y="2460324"/>
                <a:ext cx="185944" cy="209207"/>
              </a:xfrm>
              <a:custGeom>
                <a:avLst/>
                <a:gdLst/>
                <a:ahLst/>
                <a:cxnLst/>
                <a:rect l="l" t="t" r="r" b="b"/>
                <a:pathLst>
                  <a:path w="4732" h="5324" extrusionOk="0">
                    <a:moveTo>
                      <a:pt x="44" y="1"/>
                    </a:moveTo>
                    <a:lnTo>
                      <a:pt x="44" y="1"/>
                    </a:lnTo>
                    <a:cubicBezTo>
                      <a:pt x="274" y="1131"/>
                      <a:pt x="787" y="3421"/>
                      <a:pt x="1" y="4179"/>
                    </a:cubicBezTo>
                    <a:cubicBezTo>
                      <a:pt x="1" y="4179"/>
                      <a:pt x="320" y="5324"/>
                      <a:pt x="2420" y="5324"/>
                    </a:cubicBezTo>
                    <a:cubicBezTo>
                      <a:pt x="4732" y="5324"/>
                      <a:pt x="3518" y="4179"/>
                      <a:pt x="3518" y="4179"/>
                    </a:cubicBezTo>
                    <a:cubicBezTo>
                      <a:pt x="2255" y="3877"/>
                      <a:pt x="2280" y="2940"/>
                      <a:pt x="2496" y="2061"/>
                    </a:cubicBezTo>
                    <a:lnTo>
                      <a:pt x="44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3" name="Google Shape;743;p31"/>
              <p:cNvSpPr/>
              <p:nvPr/>
            </p:nvSpPr>
            <p:spPr>
              <a:xfrm>
                <a:off x="5716066" y="2364954"/>
                <a:ext cx="35444" cy="16268"/>
              </a:xfrm>
              <a:custGeom>
                <a:avLst/>
                <a:gdLst/>
                <a:ahLst/>
                <a:cxnLst/>
                <a:rect l="l" t="t" r="r" b="b"/>
                <a:pathLst>
                  <a:path w="902" h="414" extrusionOk="0">
                    <a:moveTo>
                      <a:pt x="668" y="0"/>
                    </a:moveTo>
                    <a:cubicBezTo>
                      <a:pt x="514" y="0"/>
                      <a:pt x="268" y="41"/>
                      <a:pt x="37" y="256"/>
                    </a:cubicBezTo>
                    <a:cubicBezTo>
                      <a:pt x="1" y="291"/>
                      <a:pt x="1" y="349"/>
                      <a:pt x="33" y="385"/>
                    </a:cubicBezTo>
                    <a:cubicBezTo>
                      <a:pt x="51" y="403"/>
                      <a:pt x="76" y="414"/>
                      <a:pt x="102" y="414"/>
                    </a:cubicBezTo>
                    <a:cubicBezTo>
                      <a:pt x="123" y="414"/>
                      <a:pt x="145" y="407"/>
                      <a:pt x="162" y="389"/>
                    </a:cubicBezTo>
                    <a:cubicBezTo>
                      <a:pt x="349" y="213"/>
                      <a:pt x="548" y="181"/>
                      <a:pt x="669" y="181"/>
                    </a:cubicBezTo>
                    <a:cubicBezTo>
                      <a:pt x="733" y="181"/>
                      <a:pt x="774" y="190"/>
                      <a:pt x="780" y="192"/>
                    </a:cubicBezTo>
                    <a:cubicBezTo>
                      <a:pt x="786" y="193"/>
                      <a:pt x="793" y="194"/>
                      <a:pt x="800" y="194"/>
                    </a:cubicBezTo>
                    <a:cubicBezTo>
                      <a:pt x="842" y="194"/>
                      <a:pt x="879" y="167"/>
                      <a:pt x="891" y="127"/>
                    </a:cubicBezTo>
                    <a:cubicBezTo>
                      <a:pt x="902" y="76"/>
                      <a:pt x="873" y="26"/>
                      <a:pt x="823" y="16"/>
                    </a:cubicBezTo>
                    <a:cubicBezTo>
                      <a:pt x="817" y="14"/>
                      <a:pt x="758" y="0"/>
                      <a:pt x="66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1"/>
              <p:cNvSpPr/>
              <p:nvPr/>
            </p:nvSpPr>
            <p:spPr>
              <a:xfrm>
                <a:off x="5721292" y="2426884"/>
                <a:ext cx="21887" cy="44757"/>
              </a:xfrm>
              <a:custGeom>
                <a:avLst/>
                <a:gdLst/>
                <a:ahLst/>
                <a:cxnLst/>
                <a:rect l="l" t="t" r="r" b="b"/>
                <a:pathLst>
                  <a:path w="557" h="1139" extrusionOk="0">
                    <a:moveTo>
                      <a:pt x="244" y="1"/>
                    </a:moveTo>
                    <a:lnTo>
                      <a:pt x="0" y="1056"/>
                    </a:lnTo>
                    <a:cubicBezTo>
                      <a:pt x="0" y="1056"/>
                      <a:pt x="159" y="1139"/>
                      <a:pt x="336" y="1139"/>
                    </a:cubicBezTo>
                    <a:cubicBezTo>
                      <a:pt x="410" y="1139"/>
                      <a:pt x="487" y="1125"/>
                      <a:pt x="557" y="1084"/>
                    </a:cubicBezTo>
                    <a:cubicBezTo>
                      <a:pt x="348" y="705"/>
                      <a:pt x="244" y="1"/>
                      <a:pt x="244" y="1"/>
                    </a:cubicBezTo>
                    <a:close/>
                  </a:path>
                </a:pathLst>
              </a:custGeom>
              <a:solidFill>
                <a:srgbClr val="DE575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5" name="Google Shape;745;p31"/>
              <p:cNvSpPr/>
              <p:nvPr/>
            </p:nvSpPr>
            <p:spPr>
              <a:xfrm>
                <a:off x="5726637" y="2406332"/>
                <a:ext cx="16543" cy="21691"/>
              </a:xfrm>
              <a:custGeom>
                <a:avLst/>
                <a:gdLst/>
                <a:ahLst/>
                <a:cxnLst/>
                <a:rect l="l" t="t" r="r" b="b"/>
                <a:pathLst>
                  <a:path w="421" h="552" extrusionOk="0">
                    <a:moveTo>
                      <a:pt x="248" y="1"/>
                    </a:moveTo>
                    <a:cubicBezTo>
                      <a:pt x="159" y="1"/>
                      <a:pt x="66" y="99"/>
                      <a:pt x="33" y="233"/>
                    </a:cubicBezTo>
                    <a:cubicBezTo>
                      <a:pt x="1" y="384"/>
                      <a:pt x="51" y="524"/>
                      <a:pt x="148" y="549"/>
                    </a:cubicBezTo>
                    <a:cubicBezTo>
                      <a:pt x="156" y="551"/>
                      <a:pt x="165" y="552"/>
                      <a:pt x="174" y="552"/>
                    </a:cubicBezTo>
                    <a:cubicBezTo>
                      <a:pt x="264" y="552"/>
                      <a:pt x="356" y="453"/>
                      <a:pt x="388" y="320"/>
                    </a:cubicBezTo>
                    <a:cubicBezTo>
                      <a:pt x="421" y="169"/>
                      <a:pt x="371" y="28"/>
                      <a:pt x="274" y="3"/>
                    </a:cubicBezTo>
                    <a:cubicBezTo>
                      <a:pt x="265" y="2"/>
                      <a:pt x="257" y="1"/>
                      <a:pt x="248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6" name="Google Shape;746;p31"/>
              <p:cNvSpPr/>
              <p:nvPr/>
            </p:nvSpPr>
            <p:spPr>
              <a:xfrm>
                <a:off x="5735557" y="2405743"/>
                <a:ext cx="15129" cy="4401"/>
              </a:xfrm>
              <a:custGeom>
                <a:avLst/>
                <a:gdLst/>
                <a:ahLst/>
                <a:cxnLst/>
                <a:rect l="l" t="t" r="r" b="b"/>
                <a:pathLst>
                  <a:path w="385" h="112" extrusionOk="0">
                    <a:moveTo>
                      <a:pt x="384" y="0"/>
                    </a:moveTo>
                    <a:lnTo>
                      <a:pt x="0" y="18"/>
                    </a:lnTo>
                    <a:cubicBezTo>
                      <a:pt x="43" y="88"/>
                      <a:pt x="97" y="111"/>
                      <a:pt x="151" y="111"/>
                    </a:cubicBezTo>
                    <a:cubicBezTo>
                      <a:pt x="268" y="111"/>
                      <a:pt x="384" y="0"/>
                      <a:pt x="38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7" name="Google Shape;747;p31"/>
              <p:cNvSpPr/>
              <p:nvPr/>
            </p:nvSpPr>
            <p:spPr>
              <a:xfrm>
                <a:off x="5651897" y="4608414"/>
                <a:ext cx="78865" cy="173527"/>
              </a:xfrm>
              <a:custGeom>
                <a:avLst/>
                <a:gdLst/>
                <a:ahLst/>
                <a:cxnLst/>
                <a:rect l="l" t="t" r="r" b="b"/>
                <a:pathLst>
                  <a:path w="2007" h="4416" extrusionOk="0">
                    <a:moveTo>
                      <a:pt x="101" y="1"/>
                    </a:moveTo>
                    <a:lnTo>
                      <a:pt x="1" y="4416"/>
                    </a:lnTo>
                    <a:lnTo>
                      <a:pt x="1907" y="4416"/>
                    </a:lnTo>
                    <a:lnTo>
                      <a:pt x="2007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1"/>
              <p:cNvSpPr/>
              <p:nvPr/>
            </p:nvSpPr>
            <p:spPr>
              <a:xfrm>
                <a:off x="5311559" y="4608414"/>
                <a:ext cx="97923" cy="173527"/>
              </a:xfrm>
              <a:custGeom>
                <a:avLst/>
                <a:gdLst/>
                <a:ahLst/>
                <a:cxnLst/>
                <a:rect l="l" t="t" r="r" b="b"/>
                <a:pathLst>
                  <a:path w="2492" h="4416" extrusionOk="0">
                    <a:moveTo>
                      <a:pt x="586" y="1"/>
                    </a:moveTo>
                    <a:lnTo>
                      <a:pt x="1" y="4416"/>
                    </a:lnTo>
                    <a:lnTo>
                      <a:pt x="1906" y="4416"/>
                    </a:lnTo>
                    <a:lnTo>
                      <a:pt x="2492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9" name="Google Shape;749;p31"/>
              <p:cNvSpPr/>
              <p:nvPr/>
            </p:nvSpPr>
            <p:spPr>
              <a:xfrm>
                <a:off x="5290811" y="4773298"/>
                <a:ext cx="214001" cy="85074"/>
              </a:xfrm>
              <a:custGeom>
                <a:avLst/>
                <a:gdLst/>
                <a:ahLst/>
                <a:cxnLst/>
                <a:rect l="l" t="t" r="r" b="b"/>
                <a:pathLst>
                  <a:path w="5446" h="2165" extrusionOk="0">
                    <a:moveTo>
                      <a:pt x="410" y="1"/>
                    </a:moveTo>
                    <a:cubicBezTo>
                      <a:pt x="331" y="1"/>
                      <a:pt x="270" y="54"/>
                      <a:pt x="259" y="130"/>
                    </a:cubicBezTo>
                    <a:lnTo>
                      <a:pt x="26" y="1824"/>
                    </a:lnTo>
                    <a:cubicBezTo>
                      <a:pt x="1" y="1998"/>
                      <a:pt x="152" y="2161"/>
                      <a:pt x="329" y="2161"/>
                    </a:cubicBezTo>
                    <a:cubicBezTo>
                      <a:pt x="331" y="2161"/>
                      <a:pt x="333" y="2161"/>
                      <a:pt x="335" y="2161"/>
                    </a:cubicBezTo>
                    <a:cubicBezTo>
                      <a:pt x="1082" y="2151"/>
                      <a:pt x="1440" y="2108"/>
                      <a:pt x="2381" y="2108"/>
                    </a:cubicBezTo>
                    <a:cubicBezTo>
                      <a:pt x="2962" y="2108"/>
                      <a:pt x="3809" y="2165"/>
                      <a:pt x="4609" y="2165"/>
                    </a:cubicBezTo>
                    <a:cubicBezTo>
                      <a:pt x="5392" y="2165"/>
                      <a:pt x="5446" y="1376"/>
                      <a:pt x="5112" y="1303"/>
                    </a:cubicBezTo>
                    <a:cubicBezTo>
                      <a:pt x="3615" y="984"/>
                      <a:pt x="3378" y="539"/>
                      <a:pt x="2873" y="115"/>
                    </a:cubicBezTo>
                    <a:cubicBezTo>
                      <a:pt x="2779" y="40"/>
                      <a:pt x="2668" y="1"/>
                      <a:pt x="2553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0" name="Google Shape;750;p31"/>
              <p:cNvSpPr/>
              <p:nvPr/>
            </p:nvSpPr>
            <p:spPr>
              <a:xfrm>
                <a:off x="5629184" y="4773298"/>
                <a:ext cx="227675" cy="85074"/>
              </a:xfrm>
              <a:custGeom>
                <a:avLst/>
                <a:gdLst/>
                <a:ahLst/>
                <a:cxnLst/>
                <a:rect l="l" t="t" r="r" b="b"/>
                <a:pathLst>
                  <a:path w="5794" h="2165" extrusionOk="0">
                    <a:moveTo>
                      <a:pt x="406" y="1"/>
                    </a:moveTo>
                    <a:cubicBezTo>
                      <a:pt x="331" y="1"/>
                      <a:pt x="267" y="54"/>
                      <a:pt x="255" y="130"/>
                    </a:cubicBezTo>
                    <a:lnTo>
                      <a:pt x="22" y="1824"/>
                    </a:lnTo>
                    <a:cubicBezTo>
                      <a:pt x="1" y="1998"/>
                      <a:pt x="148" y="2161"/>
                      <a:pt x="326" y="2161"/>
                    </a:cubicBezTo>
                    <a:cubicBezTo>
                      <a:pt x="328" y="2161"/>
                      <a:pt x="329" y="2161"/>
                      <a:pt x="331" y="2161"/>
                    </a:cubicBezTo>
                    <a:cubicBezTo>
                      <a:pt x="1077" y="2151"/>
                      <a:pt x="1437" y="2108"/>
                      <a:pt x="2381" y="2108"/>
                    </a:cubicBezTo>
                    <a:cubicBezTo>
                      <a:pt x="2959" y="2108"/>
                      <a:pt x="4157" y="2165"/>
                      <a:pt x="4957" y="2165"/>
                    </a:cubicBezTo>
                    <a:cubicBezTo>
                      <a:pt x="5740" y="2165"/>
                      <a:pt x="5794" y="1376"/>
                      <a:pt x="5460" y="1303"/>
                    </a:cubicBezTo>
                    <a:cubicBezTo>
                      <a:pt x="3967" y="984"/>
                      <a:pt x="3375" y="539"/>
                      <a:pt x="2868" y="115"/>
                    </a:cubicBezTo>
                    <a:cubicBezTo>
                      <a:pt x="2779" y="40"/>
                      <a:pt x="2664" y="1"/>
                      <a:pt x="2549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1" name="Google Shape;751;p31"/>
              <p:cNvSpPr/>
              <p:nvPr/>
            </p:nvSpPr>
            <p:spPr>
              <a:xfrm>
                <a:off x="5653744" y="4608571"/>
                <a:ext cx="77018" cy="89475"/>
              </a:xfrm>
              <a:custGeom>
                <a:avLst/>
                <a:gdLst/>
                <a:ahLst/>
                <a:cxnLst/>
                <a:rect l="l" t="t" r="r" b="b"/>
                <a:pathLst>
                  <a:path w="1960" h="2277" extrusionOk="0">
                    <a:moveTo>
                      <a:pt x="51" y="0"/>
                    </a:moveTo>
                    <a:lnTo>
                      <a:pt x="0" y="2276"/>
                    </a:lnTo>
                    <a:lnTo>
                      <a:pt x="1910" y="2276"/>
                    </a:lnTo>
                    <a:lnTo>
                      <a:pt x="1960" y="0"/>
                    </a:lnTo>
                    <a:close/>
                  </a:path>
                </a:pathLst>
              </a:custGeom>
              <a:solidFill>
                <a:srgbClr val="CE6F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2" name="Google Shape;752;p31"/>
              <p:cNvSpPr/>
              <p:nvPr/>
            </p:nvSpPr>
            <p:spPr>
              <a:xfrm>
                <a:off x="5322718" y="4608571"/>
                <a:ext cx="86763" cy="89475"/>
              </a:xfrm>
              <a:custGeom>
                <a:avLst/>
                <a:gdLst/>
                <a:ahLst/>
                <a:cxnLst/>
                <a:rect l="l" t="t" r="r" b="b"/>
                <a:pathLst>
                  <a:path w="2208" h="2277" extrusionOk="0">
                    <a:moveTo>
                      <a:pt x="302" y="0"/>
                    </a:moveTo>
                    <a:lnTo>
                      <a:pt x="0" y="2276"/>
                    </a:lnTo>
                    <a:lnTo>
                      <a:pt x="1906" y="2276"/>
                    </a:lnTo>
                    <a:lnTo>
                      <a:pt x="2208" y="0"/>
                    </a:lnTo>
                    <a:close/>
                  </a:path>
                </a:pathLst>
              </a:custGeom>
              <a:solidFill>
                <a:srgbClr val="CE6F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3" name="Google Shape;753;p31"/>
              <p:cNvSpPr/>
              <p:nvPr/>
            </p:nvSpPr>
            <p:spPr>
              <a:xfrm>
                <a:off x="5401860" y="2621986"/>
                <a:ext cx="429730" cy="473741"/>
              </a:xfrm>
              <a:custGeom>
                <a:avLst/>
                <a:gdLst/>
                <a:ahLst/>
                <a:cxnLst/>
                <a:rect l="l" t="t" r="r" b="b"/>
                <a:pathLst>
                  <a:path w="10936" h="12056" extrusionOk="0">
                    <a:moveTo>
                      <a:pt x="5294" y="1"/>
                    </a:moveTo>
                    <a:cubicBezTo>
                      <a:pt x="4661" y="1"/>
                      <a:pt x="4009" y="29"/>
                      <a:pt x="3284" y="65"/>
                    </a:cubicBezTo>
                    <a:cubicBezTo>
                      <a:pt x="1622" y="143"/>
                      <a:pt x="0" y="496"/>
                      <a:pt x="0" y="496"/>
                    </a:cubicBezTo>
                    <a:cubicBezTo>
                      <a:pt x="1551" y="6963"/>
                      <a:pt x="1558" y="8905"/>
                      <a:pt x="1450" y="12056"/>
                    </a:cubicBezTo>
                    <a:lnTo>
                      <a:pt x="9188" y="12056"/>
                    </a:lnTo>
                    <a:cubicBezTo>
                      <a:pt x="10936" y="872"/>
                      <a:pt x="10025" y="552"/>
                      <a:pt x="10025" y="552"/>
                    </a:cubicBezTo>
                    <a:cubicBezTo>
                      <a:pt x="10025" y="552"/>
                      <a:pt x="8313" y="201"/>
                      <a:pt x="6801" y="65"/>
                    </a:cubicBezTo>
                    <a:cubicBezTo>
                      <a:pt x="6292" y="19"/>
                      <a:pt x="5799" y="1"/>
                      <a:pt x="5294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4" name="Google Shape;754;p31"/>
              <p:cNvSpPr/>
              <p:nvPr/>
            </p:nvSpPr>
            <p:spPr>
              <a:xfrm>
                <a:off x="5744595" y="2726905"/>
                <a:ext cx="303515" cy="331846"/>
              </a:xfrm>
              <a:custGeom>
                <a:avLst/>
                <a:gdLst/>
                <a:ahLst/>
                <a:cxnLst/>
                <a:rect l="l" t="t" r="r" b="b"/>
                <a:pathLst>
                  <a:path w="7724" h="8445" extrusionOk="0">
                    <a:moveTo>
                      <a:pt x="1927" y="1"/>
                    </a:moveTo>
                    <a:lnTo>
                      <a:pt x="0" y="284"/>
                    </a:lnTo>
                    <a:cubicBezTo>
                      <a:pt x="79" y="844"/>
                      <a:pt x="179" y="1364"/>
                      <a:pt x="290" y="1896"/>
                    </a:cubicBezTo>
                    <a:cubicBezTo>
                      <a:pt x="398" y="2426"/>
                      <a:pt x="534" y="2954"/>
                      <a:pt x="682" y="3478"/>
                    </a:cubicBezTo>
                    <a:cubicBezTo>
                      <a:pt x="980" y="4530"/>
                      <a:pt x="1331" y="5578"/>
                      <a:pt x="1895" y="6608"/>
                    </a:cubicBezTo>
                    <a:cubicBezTo>
                      <a:pt x="2038" y="6866"/>
                      <a:pt x="2200" y="7121"/>
                      <a:pt x="2391" y="7376"/>
                    </a:cubicBezTo>
                    <a:cubicBezTo>
                      <a:pt x="2484" y="7502"/>
                      <a:pt x="2595" y="7628"/>
                      <a:pt x="2706" y="7749"/>
                    </a:cubicBezTo>
                    <a:cubicBezTo>
                      <a:pt x="2839" y="7890"/>
                      <a:pt x="2997" y="8026"/>
                      <a:pt x="3180" y="8141"/>
                    </a:cubicBezTo>
                    <a:cubicBezTo>
                      <a:pt x="3481" y="8337"/>
                      <a:pt x="3873" y="8445"/>
                      <a:pt x="4235" y="8445"/>
                    </a:cubicBezTo>
                    <a:cubicBezTo>
                      <a:pt x="4317" y="8445"/>
                      <a:pt x="4398" y="8439"/>
                      <a:pt x="4475" y="8428"/>
                    </a:cubicBezTo>
                    <a:cubicBezTo>
                      <a:pt x="4903" y="8374"/>
                      <a:pt x="5240" y="8213"/>
                      <a:pt x="5524" y="8037"/>
                    </a:cubicBezTo>
                    <a:cubicBezTo>
                      <a:pt x="6087" y="7678"/>
                      <a:pt x="6475" y="7237"/>
                      <a:pt x="6830" y="6791"/>
                    </a:cubicBezTo>
                    <a:cubicBezTo>
                      <a:pt x="7006" y="6569"/>
                      <a:pt x="7167" y="6339"/>
                      <a:pt x="7311" y="6102"/>
                    </a:cubicBezTo>
                    <a:cubicBezTo>
                      <a:pt x="7462" y="5862"/>
                      <a:pt x="7595" y="5632"/>
                      <a:pt x="7724" y="5367"/>
                    </a:cubicBezTo>
                    <a:lnTo>
                      <a:pt x="6909" y="4850"/>
                    </a:lnTo>
                    <a:cubicBezTo>
                      <a:pt x="6755" y="5025"/>
                      <a:pt x="6579" y="5219"/>
                      <a:pt x="6407" y="5398"/>
                    </a:cubicBezTo>
                    <a:cubicBezTo>
                      <a:pt x="6231" y="5574"/>
                      <a:pt x="6052" y="5746"/>
                      <a:pt x="5872" y="5912"/>
                    </a:cubicBezTo>
                    <a:cubicBezTo>
                      <a:pt x="5517" y="6238"/>
                      <a:pt x="5121" y="6522"/>
                      <a:pt x="4770" y="6684"/>
                    </a:cubicBezTo>
                    <a:cubicBezTo>
                      <a:pt x="4608" y="6756"/>
                      <a:pt x="4459" y="6792"/>
                      <a:pt x="4358" y="6792"/>
                    </a:cubicBezTo>
                    <a:cubicBezTo>
                      <a:pt x="4349" y="6792"/>
                      <a:pt x="4340" y="6792"/>
                      <a:pt x="4332" y="6791"/>
                    </a:cubicBezTo>
                    <a:cubicBezTo>
                      <a:pt x="4231" y="6784"/>
                      <a:pt x="4200" y="6755"/>
                      <a:pt x="4131" y="6702"/>
                    </a:cubicBezTo>
                    <a:cubicBezTo>
                      <a:pt x="4095" y="6672"/>
                      <a:pt x="4056" y="6629"/>
                      <a:pt x="4013" y="6576"/>
                    </a:cubicBezTo>
                    <a:cubicBezTo>
                      <a:pt x="3955" y="6497"/>
                      <a:pt x="3894" y="6422"/>
                      <a:pt x="3837" y="6332"/>
                    </a:cubicBezTo>
                    <a:cubicBezTo>
                      <a:pt x="3722" y="6160"/>
                      <a:pt x="3610" y="5966"/>
                      <a:pt x="3514" y="5754"/>
                    </a:cubicBezTo>
                    <a:cubicBezTo>
                      <a:pt x="3305" y="5342"/>
                      <a:pt x="3133" y="4882"/>
                      <a:pt x="2979" y="4415"/>
                    </a:cubicBezTo>
                    <a:cubicBezTo>
                      <a:pt x="2821" y="3949"/>
                      <a:pt x="2681" y="3464"/>
                      <a:pt x="2555" y="2976"/>
                    </a:cubicBezTo>
                    <a:cubicBezTo>
                      <a:pt x="2311" y="1999"/>
                      <a:pt x="2096" y="980"/>
                      <a:pt x="1927" y="1"/>
                    </a:cubicBez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5" name="Google Shape;755;p31"/>
              <p:cNvSpPr/>
              <p:nvPr/>
            </p:nvSpPr>
            <p:spPr>
              <a:xfrm>
                <a:off x="5682076" y="2638490"/>
                <a:ext cx="167161" cy="221034"/>
              </a:xfrm>
              <a:custGeom>
                <a:avLst/>
                <a:gdLst/>
                <a:ahLst/>
                <a:cxnLst/>
                <a:rect l="l" t="t" r="r" b="b"/>
                <a:pathLst>
                  <a:path w="4254" h="5625" extrusionOk="0">
                    <a:moveTo>
                      <a:pt x="2031" y="1"/>
                    </a:moveTo>
                    <a:cubicBezTo>
                      <a:pt x="1432" y="1"/>
                      <a:pt x="1040" y="273"/>
                      <a:pt x="600" y="911"/>
                    </a:cubicBezTo>
                    <a:cubicBezTo>
                      <a:pt x="1" y="1777"/>
                      <a:pt x="1235" y="5624"/>
                      <a:pt x="1235" y="5624"/>
                    </a:cubicBezTo>
                    <a:lnTo>
                      <a:pt x="4254" y="3564"/>
                    </a:lnTo>
                    <a:cubicBezTo>
                      <a:pt x="4254" y="3564"/>
                      <a:pt x="3684" y="330"/>
                      <a:pt x="2894" y="132"/>
                    </a:cubicBezTo>
                    <a:cubicBezTo>
                      <a:pt x="2559" y="47"/>
                      <a:pt x="2278" y="1"/>
                      <a:pt x="2031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6" name="Google Shape;756;p31"/>
              <p:cNvSpPr/>
              <p:nvPr/>
            </p:nvSpPr>
            <p:spPr>
              <a:xfrm>
                <a:off x="5997618" y="2884126"/>
                <a:ext cx="87038" cy="62676"/>
              </a:xfrm>
              <a:custGeom>
                <a:avLst/>
                <a:gdLst/>
                <a:ahLst/>
                <a:cxnLst/>
                <a:rect l="l" t="t" r="r" b="b"/>
                <a:pathLst>
                  <a:path w="2215" h="1595" extrusionOk="0">
                    <a:moveTo>
                      <a:pt x="423" y="1"/>
                    </a:moveTo>
                    <a:cubicBezTo>
                      <a:pt x="423" y="1"/>
                      <a:pt x="0" y="856"/>
                      <a:pt x="287" y="1595"/>
                    </a:cubicBezTo>
                    <a:lnTo>
                      <a:pt x="1181" y="1513"/>
                    </a:lnTo>
                    <a:lnTo>
                      <a:pt x="2214" y="37"/>
                    </a:lnTo>
                    <a:lnTo>
                      <a:pt x="423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57" name="Google Shape;757;p31"/>
              <p:cNvGrpSpPr/>
              <p:nvPr/>
            </p:nvGrpSpPr>
            <p:grpSpPr>
              <a:xfrm>
                <a:off x="5932859" y="2488224"/>
                <a:ext cx="384109" cy="413192"/>
                <a:chOff x="5932859" y="2488224"/>
                <a:chExt cx="384109" cy="413192"/>
              </a:xfrm>
            </p:grpSpPr>
            <p:sp>
              <p:nvSpPr>
                <p:cNvPr id="758" name="Google Shape;758;p31"/>
                <p:cNvSpPr/>
                <p:nvPr/>
              </p:nvSpPr>
              <p:spPr>
                <a:xfrm>
                  <a:off x="5978835" y="2512234"/>
                  <a:ext cx="274515" cy="2028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86" h="5163" extrusionOk="0">
                      <a:moveTo>
                        <a:pt x="3188" y="0"/>
                      </a:moveTo>
                      <a:cubicBezTo>
                        <a:pt x="1864" y="191"/>
                        <a:pt x="683" y="1088"/>
                        <a:pt x="191" y="2434"/>
                      </a:cubicBezTo>
                      <a:cubicBezTo>
                        <a:pt x="98" y="2689"/>
                        <a:pt x="36" y="2947"/>
                        <a:pt x="0" y="3209"/>
                      </a:cubicBezTo>
                      <a:lnTo>
                        <a:pt x="5718" y="542"/>
                      </a:lnTo>
                      <a:cubicBezTo>
                        <a:pt x="6085" y="772"/>
                        <a:pt x="6404" y="1063"/>
                        <a:pt x="6663" y="1393"/>
                      </a:cubicBezTo>
                      <a:lnTo>
                        <a:pt x="5632" y="1871"/>
                      </a:lnTo>
                      <a:lnTo>
                        <a:pt x="6986" y="1871"/>
                      </a:lnTo>
                      <a:cubicBezTo>
                        <a:pt x="6562" y="1120"/>
                        <a:pt x="5880" y="510"/>
                        <a:pt x="5004" y="194"/>
                      </a:cubicBezTo>
                      <a:cubicBezTo>
                        <a:pt x="4864" y="140"/>
                        <a:pt x="4724" y="101"/>
                        <a:pt x="4584" y="65"/>
                      </a:cubicBezTo>
                      <a:cubicBezTo>
                        <a:pt x="4251" y="40"/>
                        <a:pt x="3916" y="22"/>
                        <a:pt x="3580" y="11"/>
                      </a:cubicBezTo>
                      <a:cubicBezTo>
                        <a:pt x="3450" y="7"/>
                        <a:pt x="3321" y="4"/>
                        <a:pt x="3188" y="0"/>
                      </a:cubicBezTo>
                      <a:close/>
                      <a:moveTo>
                        <a:pt x="3623" y="2810"/>
                      </a:moveTo>
                      <a:lnTo>
                        <a:pt x="40" y="4476"/>
                      </a:lnTo>
                      <a:cubicBezTo>
                        <a:pt x="91" y="4713"/>
                        <a:pt x="162" y="4942"/>
                        <a:pt x="252" y="5162"/>
                      </a:cubicBezTo>
                      <a:lnTo>
                        <a:pt x="3623" y="3593"/>
                      </a:lnTo>
                      <a:lnTo>
                        <a:pt x="3623" y="281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9" name="Google Shape;759;p31"/>
                <p:cNvSpPr/>
                <p:nvPr/>
              </p:nvSpPr>
              <p:spPr>
                <a:xfrm>
                  <a:off x="6121163" y="2585716"/>
                  <a:ext cx="134743" cy="67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9" h="1724" extrusionOk="0">
                      <a:moveTo>
                        <a:pt x="2010" y="1"/>
                      </a:moveTo>
                      <a:lnTo>
                        <a:pt x="1" y="940"/>
                      </a:lnTo>
                      <a:lnTo>
                        <a:pt x="1" y="1723"/>
                      </a:lnTo>
                      <a:lnTo>
                        <a:pt x="3428" y="126"/>
                      </a:lnTo>
                      <a:cubicBezTo>
                        <a:pt x="3407" y="83"/>
                        <a:pt x="3385" y="44"/>
                        <a:pt x="3364" y="1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0" name="Google Shape;760;p31"/>
                <p:cNvSpPr/>
                <p:nvPr/>
              </p:nvSpPr>
              <p:spPr>
                <a:xfrm>
                  <a:off x="6121163" y="2618607"/>
                  <a:ext cx="151364" cy="1873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52" h="4767" extrusionOk="0">
                      <a:moveTo>
                        <a:pt x="3712" y="0"/>
                      </a:moveTo>
                      <a:cubicBezTo>
                        <a:pt x="3731" y="72"/>
                        <a:pt x="3749" y="145"/>
                        <a:pt x="3765" y="218"/>
                      </a:cubicBezTo>
                      <a:lnTo>
                        <a:pt x="3765" y="218"/>
                      </a:lnTo>
                      <a:cubicBezTo>
                        <a:pt x="3749" y="145"/>
                        <a:pt x="3731" y="72"/>
                        <a:pt x="3712" y="0"/>
                      </a:cubicBezTo>
                      <a:close/>
                      <a:moveTo>
                        <a:pt x="3765" y="218"/>
                      </a:moveTo>
                      <a:lnTo>
                        <a:pt x="3765" y="218"/>
                      </a:lnTo>
                      <a:cubicBezTo>
                        <a:pt x="3779" y="286"/>
                        <a:pt x="3792" y="355"/>
                        <a:pt x="3804" y="425"/>
                      </a:cubicBezTo>
                      <a:lnTo>
                        <a:pt x="3804" y="425"/>
                      </a:lnTo>
                      <a:cubicBezTo>
                        <a:pt x="3792" y="355"/>
                        <a:pt x="3779" y="286"/>
                        <a:pt x="3765" y="218"/>
                      </a:cubicBezTo>
                      <a:close/>
                      <a:moveTo>
                        <a:pt x="3804" y="425"/>
                      </a:moveTo>
                      <a:cubicBezTo>
                        <a:pt x="3830" y="593"/>
                        <a:pt x="3846" y="764"/>
                        <a:pt x="3848" y="936"/>
                      </a:cubicBezTo>
                      <a:lnTo>
                        <a:pt x="1" y="2731"/>
                      </a:lnTo>
                      <a:lnTo>
                        <a:pt x="1" y="4763"/>
                      </a:lnTo>
                      <a:cubicBezTo>
                        <a:pt x="32" y="4763"/>
                        <a:pt x="69" y="4766"/>
                        <a:pt x="101" y="4766"/>
                      </a:cubicBezTo>
                      <a:cubicBezTo>
                        <a:pt x="1633" y="4766"/>
                        <a:pt x="3069" y="3819"/>
                        <a:pt x="3622" y="2297"/>
                      </a:cubicBezTo>
                      <a:cubicBezTo>
                        <a:pt x="3776" y="1874"/>
                        <a:pt x="3851" y="1439"/>
                        <a:pt x="3851" y="1012"/>
                      </a:cubicBezTo>
                      <a:cubicBezTo>
                        <a:pt x="3851" y="857"/>
                        <a:pt x="3841" y="706"/>
                        <a:pt x="3823" y="556"/>
                      </a:cubicBezTo>
                      <a:cubicBezTo>
                        <a:pt x="3817" y="512"/>
                        <a:pt x="3811" y="468"/>
                        <a:pt x="3804" y="425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1" name="Google Shape;761;p31"/>
                <p:cNvSpPr/>
                <p:nvPr/>
              </p:nvSpPr>
              <p:spPr>
                <a:xfrm>
                  <a:off x="6121163" y="2585716"/>
                  <a:ext cx="79022" cy="3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11" h="941" extrusionOk="0">
                      <a:moveTo>
                        <a:pt x="1" y="1"/>
                      </a:moveTo>
                      <a:lnTo>
                        <a:pt x="1" y="940"/>
                      </a:lnTo>
                      <a:lnTo>
                        <a:pt x="2010" y="1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2" name="Google Shape;762;p31"/>
                <p:cNvSpPr/>
                <p:nvPr/>
              </p:nvSpPr>
              <p:spPr>
                <a:xfrm>
                  <a:off x="6121163" y="2590667"/>
                  <a:ext cx="151207" cy="1352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442" extrusionOk="0">
                      <a:moveTo>
                        <a:pt x="3428" y="0"/>
                      </a:moveTo>
                      <a:lnTo>
                        <a:pt x="1" y="1597"/>
                      </a:lnTo>
                      <a:lnTo>
                        <a:pt x="1" y="3442"/>
                      </a:lnTo>
                      <a:lnTo>
                        <a:pt x="3848" y="1647"/>
                      </a:lnTo>
                      <a:cubicBezTo>
                        <a:pt x="3844" y="1328"/>
                        <a:pt x="3794" y="1016"/>
                        <a:pt x="3712" y="711"/>
                      </a:cubicBezTo>
                      <a:cubicBezTo>
                        <a:pt x="3712" y="711"/>
                        <a:pt x="3708" y="711"/>
                        <a:pt x="3708" y="707"/>
                      </a:cubicBezTo>
                      <a:cubicBezTo>
                        <a:pt x="3640" y="463"/>
                        <a:pt x="3546" y="226"/>
                        <a:pt x="3428" y="0"/>
                      </a:cubicBez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3" name="Google Shape;763;p31"/>
                <p:cNvSpPr/>
                <p:nvPr/>
              </p:nvSpPr>
              <p:spPr>
                <a:xfrm>
                  <a:off x="6027758" y="2725883"/>
                  <a:ext cx="93444" cy="798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8" h="2033" extrusionOk="0">
                      <a:moveTo>
                        <a:pt x="2378" y="1"/>
                      </a:moveTo>
                      <a:lnTo>
                        <a:pt x="1" y="1107"/>
                      </a:lnTo>
                      <a:cubicBezTo>
                        <a:pt x="342" y="1405"/>
                        <a:pt x="741" y="1645"/>
                        <a:pt x="1189" y="1806"/>
                      </a:cubicBezTo>
                      <a:cubicBezTo>
                        <a:pt x="1581" y="1950"/>
                        <a:pt x="1979" y="2025"/>
                        <a:pt x="2378" y="2033"/>
                      </a:cubicBezTo>
                      <a:lnTo>
                        <a:pt x="2378" y="1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" name="Google Shape;764;p31"/>
                <p:cNvSpPr/>
                <p:nvPr/>
              </p:nvSpPr>
              <p:spPr>
                <a:xfrm>
                  <a:off x="5976438" y="2533532"/>
                  <a:ext cx="264220" cy="1546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24" h="3935" extrusionOk="0">
                      <a:moveTo>
                        <a:pt x="5779" y="0"/>
                      </a:moveTo>
                      <a:lnTo>
                        <a:pt x="61" y="2667"/>
                      </a:lnTo>
                      <a:cubicBezTo>
                        <a:pt x="1" y="3095"/>
                        <a:pt x="18" y="3525"/>
                        <a:pt x="101" y="3934"/>
                      </a:cubicBezTo>
                      <a:lnTo>
                        <a:pt x="3684" y="2268"/>
                      </a:lnTo>
                      <a:lnTo>
                        <a:pt x="3684" y="1329"/>
                      </a:lnTo>
                      <a:lnTo>
                        <a:pt x="5693" y="1329"/>
                      </a:lnTo>
                      <a:lnTo>
                        <a:pt x="6724" y="851"/>
                      </a:lnTo>
                      <a:cubicBezTo>
                        <a:pt x="6465" y="521"/>
                        <a:pt x="6146" y="230"/>
                        <a:pt x="5779" y="0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" name="Google Shape;765;p31"/>
                <p:cNvSpPr/>
                <p:nvPr/>
              </p:nvSpPr>
              <p:spPr>
                <a:xfrm>
                  <a:off x="5988698" y="2653422"/>
                  <a:ext cx="132503" cy="1159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2" h="2951" extrusionOk="0">
                      <a:moveTo>
                        <a:pt x="3372" y="0"/>
                      </a:moveTo>
                      <a:lnTo>
                        <a:pt x="1" y="1569"/>
                      </a:lnTo>
                      <a:cubicBezTo>
                        <a:pt x="220" y="2093"/>
                        <a:pt x="561" y="2570"/>
                        <a:pt x="995" y="2951"/>
                      </a:cubicBezTo>
                      <a:lnTo>
                        <a:pt x="3372" y="1845"/>
                      </a:lnTo>
                      <a:lnTo>
                        <a:pt x="3372" y="0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" name="Google Shape;766;p31"/>
                <p:cNvSpPr/>
                <p:nvPr/>
              </p:nvSpPr>
              <p:spPr>
                <a:xfrm>
                  <a:off x="5932859" y="2488224"/>
                  <a:ext cx="384109" cy="340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75" h="8660" extrusionOk="0">
                      <a:moveTo>
                        <a:pt x="4886" y="914"/>
                      </a:moveTo>
                      <a:cubicBezTo>
                        <a:pt x="5275" y="914"/>
                        <a:pt x="5670" y="981"/>
                        <a:pt x="6055" y="1121"/>
                      </a:cubicBezTo>
                      <a:cubicBezTo>
                        <a:pt x="7829" y="1767"/>
                        <a:pt x="8744" y="3727"/>
                        <a:pt x="8098" y="5500"/>
                      </a:cubicBezTo>
                      <a:cubicBezTo>
                        <a:pt x="7593" y="6887"/>
                        <a:pt x="6284" y="7747"/>
                        <a:pt x="4889" y="7747"/>
                      </a:cubicBezTo>
                      <a:cubicBezTo>
                        <a:pt x="4501" y="7747"/>
                        <a:pt x="4106" y="7680"/>
                        <a:pt x="3719" y="7539"/>
                      </a:cubicBezTo>
                      <a:cubicBezTo>
                        <a:pt x="1946" y="6893"/>
                        <a:pt x="1034" y="4933"/>
                        <a:pt x="1677" y="3160"/>
                      </a:cubicBezTo>
                      <a:cubicBezTo>
                        <a:pt x="2182" y="1773"/>
                        <a:pt x="3493" y="914"/>
                        <a:pt x="4886" y="914"/>
                      </a:cubicBezTo>
                      <a:close/>
                      <a:moveTo>
                        <a:pt x="4886" y="0"/>
                      </a:moveTo>
                      <a:cubicBezTo>
                        <a:pt x="3120" y="0"/>
                        <a:pt x="1459" y="1090"/>
                        <a:pt x="819" y="2848"/>
                      </a:cubicBezTo>
                      <a:cubicBezTo>
                        <a:pt x="0" y="5094"/>
                        <a:pt x="1160" y="7578"/>
                        <a:pt x="3407" y="8396"/>
                      </a:cubicBezTo>
                      <a:cubicBezTo>
                        <a:pt x="3896" y="8575"/>
                        <a:pt x="4397" y="8659"/>
                        <a:pt x="4890" y="8659"/>
                      </a:cubicBezTo>
                      <a:cubicBezTo>
                        <a:pt x="6657" y="8659"/>
                        <a:pt x="8316" y="7570"/>
                        <a:pt x="8956" y="5812"/>
                      </a:cubicBezTo>
                      <a:cubicBezTo>
                        <a:pt x="9774" y="3565"/>
                        <a:pt x="8615" y="1082"/>
                        <a:pt x="6368" y="263"/>
                      </a:cubicBezTo>
                      <a:cubicBezTo>
                        <a:pt x="5879" y="85"/>
                        <a:pt x="5379" y="0"/>
                        <a:pt x="4886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" name="Google Shape;767;p31"/>
                <p:cNvSpPr/>
                <p:nvPr/>
              </p:nvSpPr>
              <p:spPr>
                <a:xfrm>
                  <a:off x="6008032" y="2844399"/>
                  <a:ext cx="85231" cy="57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9" h="1451" extrusionOk="0">
                      <a:moveTo>
                        <a:pt x="1854" y="1"/>
                      </a:moveTo>
                      <a:cubicBezTo>
                        <a:pt x="1808" y="1"/>
                        <a:pt x="1763" y="15"/>
                        <a:pt x="1724" y="47"/>
                      </a:cubicBezTo>
                      <a:lnTo>
                        <a:pt x="1217" y="452"/>
                      </a:lnTo>
                      <a:cubicBezTo>
                        <a:pt x="1134" y="519"/>
                        <a:pt x="1033" y="553"/>
                        <a:pt x="932" y="553"/>
                      </a:cubicBezTo>
                      <a:cubicBezTo>
                        <a:pt x="848" y="553"/>
                        <a:pt x="764" y="530"/>
                        <a:pt x="690" y="485"/>
                      </a:cubicBezTo>
                      <a:lnTo>
                        <a:pt x="532" y="309"/>
                      </a:lnTo>
                      <a:cubicBezTo>
                        <a:pt x="498" y="270"/>
                        <a:pt x="453" y="251"/>
                        <a:pt x="408" y="251"/>
                      </a:cubicBezTo>
                      <a:cubicBezTo>
                        <a:pt x="361" y="251"/>
                        <a:pt x="314" y="272"/>
                        <a:pt x="281" y="313"/>
                      </a:cubicBezTo>
                      <a:lnTo>
                        <a:pt x="241" y="359"/>
                      </a:lnTo>
                      <a:cubicBezTo>
                        <a:pt x="158" y="460"/>
                        <a:pt x="108" y="578"/>
                        <a:pt x="90" y="707"/>
                      </a:cubicBezTo>
                      <a:lnTo>
                        <a:pt x="1" y="1450"/>
                      </a:lnTo>
                      <a:lnTo>
                        <a:pt x="381" y="1152"/>
                      </a:lnTo>
                      <a:lnTo>
                        <a:pt x="1949" y="1048"/>
                      </a:lnTo>
                      <a:lnTo>
                        <a:pt x="2097" y="736"/>
                      </a:lnTo>
                      <a:cubicBezTo>
                        <a:pt x="2161" y="592"/>
                        <a:pt x="2169" y="427"/>
                        <a:pt x="2111" y="280"/>
                      </a:cubicBezTo>
                      <a:lnTo>
                        <a:pt x="2053" y="137"/>
                      </a:lnTo>
                      <a:cubicBezTo>
                        <a:pt x="2019" y="51"/>
                        <a:pt x="1937" y="1"/>
                        <a:pt x="1854" y="1"/>
                      </a:cubicBezTo>
                      <a:close/>
                    </a:path>
                  </a:pathLst>
                </a:custGeom>
                <a:solidFill>
                  <a:srgbClr val="E4897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768" name="Google Shape;768;p31"/>
              <p:cNvSpPr/>
              <p:nvPr/>
            </p:nvSpPr>
            <p:spPr>
              <a:xfrm>
                <a:off x="5515934" y="2262864"/>
                <a:ext cx="241782" cy="287011"/>
              </a:xfrm>
              <a:custGeom>
                <a:avLst/>
                <a:gdLst/>
                <a:ahLst/>
                <a:cxnLst/>
                <a:rect l="l" t="t" r="r" b="b"/>
                <a:pathLst>
                  <a:path w="6153" h="7304" extrusionOk="0">
                    <a:moveTo>
                      <a:pt x="3019" y="0"/>
                    </a:moveTo>
                    <a:cubicBezTo>
                      <a:pt x="1817" y="0"/>
                      <a:pt x="702" y="866"/>
                      <a:pt x="485" y="2179"/>
                    </a:cubicBezTo>
                    <a:cubicBezTo>
                      <a:pt x="172" y="4046"/>
                      <a:pt x="0" y="4828"/>
                      <a:pt x="711" y="5995"/>
                    </a:cubicBezTo>
                    <a:cubicBezTo>
                      <a:pt x="1245" y="6869"/>
                      <a:pt x="2100" y="7303"/>
                      <a:pt x="2930" y="7303"/>
                    </a:cubicBezTo>
                    <a:cubicBezTo>
                      <a:pt x="3762" y="7303"/>
                      <a:pt x="4569" y="6866"/>
                      <a:pt x="5001" y="5998"/>
                    </a:cubicBezTo>
                    <a:cubicBezTo>
                      <a:pt x="5776" y="4440"/>
                      <a:pt x="6152" y="1648"/>
                      <a:pt x="4523" y="492"/>
                    </a:cubicBezTo>
                    <a:cubicBezTo>
                      <a:pt x="4046" y="154"/>
                      <a:pt x="3525" y="0"/>
                      <a:pt x="3019" y="0"/>
                    </a:cubicBez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9" name="Google Shape;769;p31"/>
              <p:cNvSpPr/>
              <p:nvPr/>
            </p:nvSpPr>
            <p:spPr>
              <a:xfrm>
                <a:off x="5262046" y="2236615"/>
                <a:ext cx="531583" cy="693989"/>
              </a:xfrm>
              <a:custGeom>
                <a:avLst/>
                <a:gdLst/>
                <a:ahLst/>
                <a:cxnLst/>
                <a:rect l="l" t="t" r="r" b="b"/>
                <a:pathLst>
                  <a:path w="13528" h="17661" extrusionOk="0">
                    <a:moveTo>
                      <a:pt x="8819" y="1"/>
                    </a:moveTo>
                    <a:cubicBezTo>
                      <a:pt x="7000" y="1"/>
                      <a:pt x="5307" y="902"/>
                      <a:pt x="5374" y="2937"/>
                    </a:cubicBezTo>
                    <a:cubicBezTo>
                      <a:pt x="5464" y="5665"/>
                      <a:pt x="5374" y="5708"/>
                      <a:pt x="4143" y="7129"/>
                    </a:cubicBezTo>
                    <a:cubicBezTo>
                      <a:pt x="2908" y="8550"/>
                      <a:pt x="1128" y="9746"/>
                      <a:pt x="3156" y="11663"/>
                    </a:cubicBezTo>
                    <a:cubicBezTo>
                      <a:pt x="5184" y="13576"/>
                      <a:pt x="0" y="16217"/>
                      <a:pt x="6088" y="17491"/>
                    </a:cubicBezTo>
                    <a:cubicBezTo>
                      <a:pt x="6643" y="17607"/>
                      <a:pt x="7183" y="17661"/>
                      <a:pt x="7700" y="17661"/>
                    </a:cubicBezTo>
                    <a:cubicBezTo>
                      <a:pt x="11143" y="17661"/>
                      <a:pt x="13527" y="15291"/>
                      <a:pt x="11936" y="13349"/>
                    </a:cubicBezTo>
                    <a:cubicBezTo>
                      <a:pt x="10226" y="11264"/>
                      <a:pt x="11917" y="10578"/>
                      <a:pt x="12093" y="8759"/>
                    </a:cubicBezTo>
                    <a:cubicBezTo>
                      <a:pt x="12269" y="6939"/>
                      <a:pt x="9623" y="6125"/>
                      <a:pt x="10586" y="4793"/>
                    </a:cubicBezTo>
                    <a:cubicBezTo>
                      <a:pt x="11548" y="3461"/>
                      <a:pt x="12315" y="870"/>
                      <a:pt x="10647" y="302"/>
                    </a:cubicBezTo>
                    <a:cubicBezTo>
                      <a:pt x="10065" y="104"/>
                      <a:pt x="9435" y="1"/>
                      <a:pt x="8819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0" name="Google Shape;770;p31"/>
              <p:cNvSpPr/>
              <p:nvPr/>
            </p:nvSpPr>
            <p:spPr>
              <a:xfrm>
                <a:off x="5622425" y="2234728"/>
                <a:ext cx="139969" cy="168772"/>
              </a:xfrm>
              <a:custGeom>
                <a:avLst/>
                <a:gdLst/>
                <a:ahLst/>
                <a:cxnLst/>
                <a:rect l="l" t="t" r="r" b="b"/>
                <a:pathLst>
                  <a:path w="3562" h="4295" extrusionOk="0">
                    <a:moveTo>
                      <a:pt x="1043" y="0"/>
                    </a:moveTo>
                    <a:cubicBezTo>
                      <a:pt x="721" y="0"/>
                      <a:pt x="372" y="24"/>
                      <a:pt x="0" y="63"/>
                    </a:cubicBezTo>
                    <a:lnTo>
                      <a:pt x="1167" y="4295"/>
                    </a:lnTo>
                    <a:cubicBezTo>
                      <a:pt x="1167" y="4295"/>
                      <a:pt x="3561" y="3347"/>
                      <a:pt x="3411" y="1728"/>
                    </a:cubicBezTo>
                    <a:cubicBezTo>
                      <a:pt x="3285" y="416"/>
                      <a:pt x="2408" y="0"/>
                      <a:pt x="104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1"/>
              <p:cNvSpPr/>
              <p:nvPr/>
            </p:nvSpPr>
            <p:spPr>
              <a:xfrm>
                <a:off x="5652761" y="2389278"/>
                <a:ext cx="53756" cy="71281"/>
              </a:xfrm>
              <a:custGeom>
                <a:avLst/>
                <a:gdLst/>
                <a:ahLst/>
                <a:cxnLst/>
                <a:rect l="l" t="t" r="r" b="b"/>
                <a:pathLst>
                  <a:path w="1368" h="1814" extrusionOk="0">
                    <a:moveTo>
                      <a:pt x="664" y="0"/>
                    </a:moveTo>
                    <a:cubicBezTo>
                      <a:pt x="357" y="0"/>
                      <a:pt x="94" y="250"/>
                      <a:pt x="50" y="592"/>
                    </a:cubicBezTo>
                    <a:cubicBezTo>
                      <a:pt x="0" y="979"/>
                      <a:pt x="133" y="1357"/>
                      <a:pt x="334" y="1611"/>
                    </a:cubicBezTo>
                    <a:cubicBezTo>
                      <a:pt x="446" y="1751"/>
                      <a:pt x="575" y="1813"/>
                      <a:pt x="702" y="1813"/>
                    </a:cubicBezTo>
                    <a:cubicBezTo>
                      <a:pt x="918" y="1813"/>
                      <a:pt x="1126" y="1634"/>
                      <a:pt x="1221" y="1360"/>
                    </a:cubicBezTo>
                    <a:cubicBezTo>
                      <a:pt x="1360" y="969"/>
                      <a:pt x="1368" y="301"/>
                      <a:pt x="951" y="75"/>
                    </a:cubicBezTo>
                    <a:cubicBezTo>
                      <a:pt x="855" y="24"/>
                      <a:pt x="757" y="0"/>
                      <a:pt x="664" y="0"/>
                    </a:cubicBez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1"/>
              <p:cNvSpPr/>
              <p:nvPr/>
            </p:nvSpPr>
            <p:spPr>
              <a:xfrm>
                <a:off x="5313405" y="3095694"/>
                <a:ext cx="369137" cy="1584964"/>
              </a:xfrm>
              <a:custGeom>
                <a:avLst/>
                <a:gdLst/>
                <a:ahLst/>
                <a:cxnLst/>
                <a:rect l="l" t="t" r="r" b="b"/>
                <a:pathLst>
                  <a:path w="9394" h="40335" extrusionOk="0">
                    <a:moveTo>
                      <a:pt x="3701" y="1"/>
                    </a:moveTo>
                    <a:cubicBezTo>
                      <a:pt x="1242" y="3458"/>
                      <a:pt x="2979" y="5726"/>
                      <a:pt x="1885" y="20632"/>
                    </a:cubicBezTo>
                    <a:cubicBezTo>
                      <a:pt x="1454" y="26523"/>
                      <a:pt x="0" y="40334"/>
                      <a:pt x="0" y="40334"/>
                    </a:cubicBezTo>
                    <a:lnTo>
                      <a:pt x="2599" y="40334"/>
                    </a:lnTo>
                    <a:cubicBezTo>
                      <a:pt x="2599" y="40334"/>
                      <a:pt x="6020" y="26046"/>
                      <a:pt x="6910" y="20090"/>
                    </a:cubicBezTo>
                    <a:cubicBezTo>
                      <a:pt x="7006" y="19426"/>
                      <a:pt x="7107" y="18723"/>
                      <a:pt x="7208" y="17991"/>
                    </a:cubicBezTo>
                    <a:cubicBezTo>
                      <a:pt x="7614" y="15087"/>
                      <a:pt x="8033" y="11716"/>
                      <a:pt x="8399" y="8684"/>
                    </a:cubicBezTo>
                    <a:cubicBezTo>
                      <a:pt x="8966" y="3932"/>
                      <a:pt x="9393" y="1"/>
                      <a:pt x="939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1"/>
              <p:cNvSpPr/>
              <p:nvPr/>
            </p:nvSpPr>
            <p:spPr>
              <a:xfrm>
                <a:off x="5296587" y="4630420"/>
                <a:ext cx="147042" cy="51948"/>
              </a:xfrm>
              <a:custGeom>
                <a:avLst/>
                <a:gdLst/>
                <a:ahLst/>
                <a:cxnLst/>
                <a:rect l="l" t="t" r="r" b="b"/>
                <a:pathLst>
                  <a:path w="3742" h="1322" extrusionOk="0">
                    <a:moveTo>
                      <a:pt x="3741" y="1"/>
                    </a:moveTo>
                    <a:lnTo>
                      <a:pt x="62" y="94"/>
                    </a:lnTo>
                    <a:lnTo>
                      <a:pt x="1" y="1321"/>
                    </a:lnTo>
                    <a:lnTo>
                      <a:pt x="3454" y="1321"/>
                    </a:lnTo>
                    <a:lnTo>
                      <a:pt x="3741" y="1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1"/>
              <p:cNvSpPr/>
              <p:nvPr/>
            </p:nvSpPr>
            <p:spPr>
              <a:xfrm>
                <a:off x="5519157" y="3329738"/>
                <a:ext cx="124329" cy="472955"/>
              </a:xfrm>
              <a:custGeom>
                <a:avLst/>
                <a:gdLst/>
                <a:ahLst/>
                <a:cxnLst/>
                <a:rect l="l" t="t" r="r" b="b"/>
                <a:pathLst>
                  <a:path w="3164" h="12036" extrusionOk="0">
                    <a:moveTo>
                      <a:pt x="2148" y="0"/>
                    </a:moveTo>
                    <a:cubicBezTo>
                      <a:pt x="1" y="1328"/>
                      <a:pt x="1365" y="8952"/>
                      <a:pt x="1972" y="12035"/>
                    </a:cubicBezTo>
                    <a:cubicBezTo>
                      <a:pt x="2378" y="9131"/>
                      <a:pt x="2797" y="5760"/>
                      <a:pt x="3163" y="2728"/>
                    </a:cubicBezTo>
                    <a:cubicBezTo>
                      <a:pt x="2984" y="1637"/>
                      <a:pt x="2664" y="682"/>
                      <a:pt x="214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1"/>
              <p:cNvSpPr/>
              <p:nvPr/>
            </p:nvSpPr>
            <p:spPr>
              <a:xfrm>
                <a:off x="5540180" y="3095694"/>
                <a:ext cx="271293" cy="1584964"/>
              </a:xfrm>
              <a:custGeom>
                <a:avLst/>
                <a:gdLst/>
                <a:ahLst/>
                <a:cxnLst/>
                <a:rect l="l" t="t" r="r" b="b"/>
                <a:pathLst>
                  <a:path w="6904" h="40335" extrusionOk="0">
                    <a:moveTo>
                      <a:pt x="1" y="1"/>
                    </a:moveTo>
                    <a:cubicBezTo>
                      <a:pt x="1" y="1"/>
                      <a:pt x="1785" y="14118"/>
                      <a:pt x="2075" y="20594"/>
                    </a:cubicBezTo>
                    <a:cubicBezTo>
                      <a:pt x="2341" y="26530"/>
                      <a:pt x="2621" y="40334"/>
                      <a:pt x="2621" y="40334"/>
                    </a:cubicBezTo>
                    <a:lnTo>
                      <a:pt x="5202" y="40334"/>
                    </a:lnTo>
                    <a:cubicBezTo>
                      <a:pt x="5202" y="40334"/>
                      <a:pt x="6723" y="26178"/>
                      <a:pt x="6813" y="20130"/>
                    </a:cubicBezTo>
                    <a:cubicBezTo>
                      <a:pt x="6903" y="14319"/>
                      <a:pt x="5668" y="1"/>
                      <a:pt x="5668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1"/>
              <p:cNvSpPr/>
              <p:nvPr/>
            </p:nvSpPr>
            <p:spPr>
              <a:xfrm>
                <a:off x="5624115" y="4630420"/>
                <a:ext cx="146885" cy="51948"/>
              </a:xfrm>
              <a:custGeom>
                <a:avLst/>
                <a:gdLst/>
                <a:ahLst/>
                <a:cxnLst/>
                <a:rect l="l" t="t" r="r" b="b"/>
                <a:pathLst>
                  <a:path w="3738" h="1322" extrusionOk="0">
                    <a:moveTo>
                      <a:pt x="3737" y="1"/>
                    </a:moveTo>
                    <a:lnTo>
                      <a:pt x="0" y="94"/>
                    </a:lnTo>
                    <a:lnTo>
                      <a:pt x="61" y="1321"/>
                    </a:lnTo>
                    <a:lnTo>
                      <a:pt x="3449" y="1321"/>
                    </a:lnTo>
                    <a:lnTo>
                      <a:pt x="3737" y="1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1"/>
              <p:cNvSpPr/>
              <p:nvPr/>
            </p:nvSpPr>
            <p:spPr>
              <a:xfrm>
                <a:off x="5439505" y="3075574"/>
                <a:ext cx="333025" cy="33872"/>
              </a:xfrm>
              <a:custGeom>
                <a:avLst/>
                <a:gdLst/>
                <a:ahLst/>
                <a:cxnLst/>
                <a:rect l="l" t="t" r="r" b="b"/>
                <a:pathLst>
                  <a:path w="8475" h="862" extrusionOk="0">
                    <a:moveTo>
                      <a:pt x="495" y="0"/>
                    </a:moveTo>
                    <a:cubicBezTo>
                      <a:pt x="438" y="0"/>
                      <a:pt x="388" y="25"/>
                      <a:pt x="370" y="57"/>
                    </a:cubicBezTo>
                    <a:lnTo>
                      <a:pt x="25" y="750"/>
                    </a:lnTo>
                    <a:cubicBezTo>
                      <a:pt x="0" y="804"/>
                      <a:pt x="65" y="862"/>
                      <a:pt x="154" y="862"/>
                    </a:cubicBezTo>
                    <a:lnTo>
                      <a:pt x="8273" y="862"/>
                    </a:lnTo>
                    <a:cubicBezTo>
                      <a:pt x="8341" y="862"/>
                      <a:pt x="8399" y="826"/>
                      <a:pt x="8402" y="783"/>
                    </a:cubicBezTo>
                    <a:lnTo>
                      <a:pt x="8470" y="90"/>
                    </a:lnTo>
                    <a:cubicBezTo>
                      <a:pt x="8475" y="39"/>
                      <a:pt x="8414" y="0"/>
                      <a:pt x="8338" y="0"/>
                    </a:cubicBezTo>
                    <a:close/>
                  </a:path>
                </a:pathLst>
              </a:custGeom>
              <a:solidFill>
                <a:srgbClr val="B7B7B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1"/>
              <p:cNvSpPr/>
              <p:nvPr/>
            </p:nvSpPr>
            <p:spPr>
              <a:xfrm>
                <a:off x="5484459" y="3073177"/>
                <a:ext cx="18115" cy="39216"/>
              </a:xfrm>
              <a:custGeom>
                <a:avLst/>
                <a:gdLst/>
                <a:ahLst/>
                <a:cxnLst/>
                <a:rect l="l" t="t" r="r" b="b"/>
                <a:pathLst>
                  <a:path w="461" h="998" extrusionOk="0">
                    <a:moveTo>
                      <a:pt x="177" y="0"/>
                    </a:moveTo>
                    <a:cubicBezTo>
                      <a:pt x="138" y="0"/>
                      <a:pt x="102" y="22"/>
                      <a:pt x="98" y="47"/>
                    </a:cubicBezTo>
                    <a:lnTo>
                      <a:pt x="4" y="948"/>
                    </a:lnTo>
                    <a:cubicBezTo>
                      <a:pt x="1" y="976"/>
                      <a:pt x="34" y="998"/>
                      <a:pt x="77" y="998"/>
                    </a:cubicBezTo>
                    <a:lnTo>
                      <a:pt x="284" y="998"/>
                    </a:lnTo>
                    <a:cubicBezTo>
                      <a:pt x="327" y="998"/>
                      <a:pt x="364" y="976"/>
                      <a:pt x="367" y="948"/>
                    </a:cubicBezTo>
                    <a:lnTo>
                      <a:pt x="461" y="47"/>
                    </a:lnTo>
                    <a:cubicBezTo>
                      <a:pt x="461" y="22"/>
                      <a:pt x="432" y="0"/>
                      <a:pt x="38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1"/>
              <p:cNvSpPr/>
              <p:nvPr/>
            </p:nvSpPr>
            <p:spPr>
              <a:xfrm>
                <a:off x="5684512" y="3073177"/>
                <a:ext cx="18076" cy="39216"/>
              </a:xfrm>
              <a:custGeom>
                <a:avLst/>
                <a:gdLst/>
                <a:ahLst/>
                <a:cxnLst/>
                <a:rect l="l" t="t" r="r" b="b"/>
                <a:pathLst>
                  <a:path w="460" h="998" extrusionOk="0">
                    <a:moveTo>
                      <a:pt x="176" y="0"/>
                    </a:moveTo>
                    <a:cubicBezTo>
                      <a:pt x="136" y="0"/>
                      <a:pt x="97" y="22"/>
                      <a:pt x="97" y="47"/>
                    </a:cubicBezTo>
                    <a:lnTo>
                      <a:pt x="4" y="948"/>
                    </a:lnTo>
                    <a:cubicBezTo>
                      <a:pt x="0" y="976"/>
                      <a:pt x="32" y="998"/>
                      <a:pt x="75" y="998"/>
                    </a:cubicBezTo>
                    <a:lnTo>
                      <a:pt x="283" y="998"/>
                    </a:lnTo>
                    <a:cubicBezTo>
                      <a:pt x="327" y="998"/>
                      <a:pt x="362" y="976"/>
                      <a:pt x="366" y="948"/>
                    </a:cubicBezTo>
                    <a:lnTo>
                      <a:pt x="459" y="47"/>
                    </a:lnTo>
                    <a:cubicBezTo>
                      <a:pt x="459" y="22"/>
                      <a:pt x="426" y="0"/>
                      <a:pt x="38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7475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61B8D1-6A69-A1FA-71B8-C37F01C326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60906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" name="Google Shape;427;p28"/>
          <p:cNvSpPr/>
          <p:nvPr/>
        </p:nvSpPr>
        <p:spPr>
          <a:xfrm>
            <a:off x="6311425" y="1116851"/>
            <a:ext cx="607500" cy="612900"/>
          </a:xfrm>
          <a:prstGeom prst="roundRect">
            <a:avLst>
              <a:gd name="adj" fmla="val 4313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03</a:t>
            </a:r>
            <a:endParaRPr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8" name="Google Shape;428;p28"/>
          <p:cNvSpPr/>
          <p:nvPr/>
        </p:nvSpPr>
        <p:spPr>
          <a:xfrm>
            <a:off x="6311425" y="2937576"/>
            <a:ext cx="607500" cy="612900"/>
          </a:xfrm>
          <a:prstGeom prst="roundRect">
            <a:avLst>
              <a:gd name="adj" fmla="val 4313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04</a:t>
            </a:r>
            <a:endParaRPr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9" name="Google Shape;429;p28"/>
          <p:cNvSpPr/>
          <p:nvPr/>
        </p:nvSpPr>
        <p:spPr>
          <a:xfrm>
            <a:off x="3711525" y="2937576"/>
            <a:ext cx="607500" cy="612900"/>
          </a:xfrm>
          <a:prstGeom prst="roundRect">
            <a:avLst>
              <a:gd name="adj" fmla="val 4313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02</a:t>
            </a:r>
            <a:endParaRPr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0" name="Google Shape;430;p28"/>
          <p:cNvSpPr/>
          <p:nvPr/>
        </p:nvSpPr>
        <p:spPr>
          <a:xfrm>
            <a:off x="3711525" y="1116851"/>
            <a:ext cx="607500" cy="612900"/>
          </a:xfrm>
          <a:prstGeom prst="roundRect">
            <a:avLst>
              <a:gd name="adj" fmla="val 4313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01</a:t>
            </a:r>
            <a:endParaRPr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1" name="Google Shape;431;p28"/>
          <p:cNvSpPr txBox="1">
            <a:spLocks noGrp="1"/>
          </p:cNvSpPr>
          <p:nvPr>
            <p:ph type="ctrTitle"/>
          </p:nvPr>
        </p:nvSpPr>
        <p:spPr>
          <a:xfrm>
            <a:off x="4319025" y="1263101"/>
            <a:ext cx="1679400" cy="32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EFACE</a:t>
            </a:r>
            <a:endParaRPr sz="1800" b="1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2" name="Google Shape;432;p28"/>
          <p:cNvSpPr txBox="1">
            <a:spLocks noGrp="1"/>
          </p:cNvSpPr>
          <p:nvPr>
            <p:ph type="subTitle" idx="1"/>
          </p:nvPr>
        </p:nvSpPr>
        <p:spPr>
          <a:xfrm>
            <a:off x="3782800" y="1837203"/>
            <a:ext cx="1899900" cy="503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" dirty="0"/>
              <a:t>Business Problem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" dirty="0"/>
              <a:t>Data descriptio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dirty="0"/>
          </a:p>
        </p:txBody>
      </p:sp>
      <p:sp>
        <p:nvSpPr>
          <p:cNvPr id="433" name="Google Shape;433;p28"/>
          <p:cNvSpPr txBox="1">
            <a:spLocks noGrp="1"/>
          </p:cNvSpPr>
          <p:nvPr>
            <p:ph type="ctrTitle" idx="2"/>
          </p:nvPr>
        </p:nvSpPr>
        <p:spPr>
          <a:xfrm>
            <a:off x="4319025" y="3083826"/>
            <a:ext cx="1770523" cy="32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HODOLOGY</a:t>
            </a:r>
            <a:endParaRPr sz="1800" b="1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4" name="Google Shape;434;p28"/>
          <p:cNvSpPr txBox="1">
            <a:spLocks noGrp="1"/>
          </p:cNvSpPr>
          <p:nvPr>
            <p:ph type="subTitle" idx="5"/>
          </p:nvPr>
        </p:nvSpPr>
        <p:spPr>
          <a:xfrm>
            <a:off x="3782799" y="3659793"/>
            <a:ext cx="2140219" cy="503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dirty="0"/>
              <a:t>Data Pre-processing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dirty="0"/>
              <a:t>Exploratory Data Analysis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-US" dirty="0"/>
          </a:p>
          <a:p>
            <a:pPr marL="22860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+mj-lt"/>
              <a:buAutoNum type="arabicPeriod"/>
            </a:pPr>
            <a:endParaRPr dirty="0"/>
          </a:p>
        </p:txBody>
      </p:sp>
      <p:sp>
        <p:nvSpPr>
          <p:cNvPr id="435" name="Google Shape;435;p28"/>
          <p:cNvSpPr txBox="1">
            <a:spLocks noGrp="1"/>
          </p:cNvSpPr>
          <p:nvPr>
            <p:ph type="ctrTitle" idx="3"/>
          </p:nvPr>
        </p:nvSpPr>
        <p:spPr>
          <a:xfrm>
            <a:off x="6913375" y="1263101"/>
            <a:ext cx="2154900" cy="32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" sz="18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VISULIZATION</a:t>
            </a:r>
            <a:endParaRPr sz="1800" b="1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6" name="Google Shape;436;p28"/>
          <p:cNvSpPr txBox="1">
            <a:spLocks noGrp="1"/>
          </p:cNvSpPr>
          <p:nvPr>
            <p:ph type="subTitle" idx="6"/>
          </p:nvPr>
        </p:nvSpPr>
        <p:spPr>
          <a:xfrm>
            <a:off x="6364525" y="1837203"/>
            <a:ext cx="2293130" cy="503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dirty="0"/>
              <a:t>Data Interpretation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dirty="0"/>
              <a:t>Business Insights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>
              <a:buClr>
                <a:schemeClr val="accent4"/>
              </a:buClr>
            </a:pPr>
            <a:endParaRPr lang="en-US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-US" dirty="0"/>
          </a:p>
        </p:txBody>
      </p:sp>
      <p:sp>
        <p:nvSpPr>
          <p:cNvPr id="437" name="Google Shape;437;p28"/>
          <p:cNvSpPr txBox="1">
            <a:spLocks noGrp="1"/>
          </p:cNvSpPr>
          <p:nvPr>
            <p:ph type="ctrTitle" idx="4"/>
          </p:nvPr>
        </p:nvSpPr>
        <p:spPr>
          <a:xfrm>
            <a:off x="6913375" y="3083826"/>
            <a:ext cx="1899900" cy="32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ODELING</a:t>
            </a:r>
            <a:endParaRPr sz="1800" b="1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8" name="Google Shape;438;p28"/>
          <p:cNvSpPr txBox="1">
            <a:spLocks noGrp="1"/>
          </p:cNvSpPr>
          <p:nvPr>
            <p:ph type="subTitle" idx="7"/>
          </p:nvPr>
        </p:nvSpPr>
        <p:spPr>
          <a:xfrm>
            <a:off x="6364524" y="3659794"/>
            <a:ext cx="2140219" cy="63390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dirty="0"/>
              <a:t>Logistic Regression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dirty="0"/>
              <a:t>Decision Tree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dirty="0"/>
              <a:t>Random Forest Classifier</a:t>
            </a:r>
          </a:p>
        </p:txBody>
      </p:sp>
      <p:grpSp>
        <p:nvGrpSpPr>
          <p:cNvPr id="440" name="Google Shape;440;p28"/>
          <p:cNvGrpSpPr/>
          <p:nvPr/>
        </p:nvGrpSpPr>
        <p:grpSpPr>
          <a:xfrm>
            <a:off x="411575" y="982900"/>
            <a:ext cx="2214990" cy="3181003"/>
            <a:chOff x="624596" y="982906"/>
            <a:chExt cx="2001980" cy="3181003"/>
          </a:xfrm>
        </p:grpSpPr>
        <p:sp>
          <p:nvSpPr>
            <p:cNvPr id="441" name="Google Shape;441;p28"/>
            <p:cNvSpPr/>
            <p:nvPr/>
          </p:nvSpPr>
          <p:spPr>
            <a:xfrm>
              <a:off x="692176" y="1142009"/>
              <a:ext cx="1934400" cy="3021900"/>
            </a:xfrm>
            <a:prstGeom prst="roundRect">
              <a:avLst>
                <a:gd name="adj" fmla="val 4313"/>
              </a:avLst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OVERVIEW</a:t>
              </a:r>
              <a:endParaRPr sz="18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2" name="Google Shape;442;p28"/>
            <p:cNvSpPr/>
            <p:nvPr/>
          </p:nvSpPr>
          <p:spPr>
            <a:xfrm>
              <a:off x="624596" y="982906"/>
              <a:ext cx="1881817" cy="2984405"/>
            </a:xfrm>
            <a:custGeom>
              <a:avLst/>
              <a:gdLst/>
              <a:ahLst/>
              <a:cxnLst/>
              <a:rect l="l" t="t" r="r" b="b"/>
              <a:pathLst>
                <a:path w="53747" h="74336" extrusionOk="0">
                  <a:moveTo>
                    <a:pt x="52246" y="65"/>
                  </a:moveTo>
                  <a:cubicBezTo>
                    <a:pt x="53040" y="65"/>
                    <a:pt x="53682" y="711"/>
                    <a:pt x="53682" y="1501"/>
                  </a:cubicBezTo>
                  <a:lnTo>
                    <a:pt x="53682" y="72835"/>
                  </a:lnTo>
                  <a:cubicBezTo>
                    <a:pt x="53682" y="73625"/>
                    <a:pt x="53040" y="74268"/>
                    <a:pt x="52246" y="74268"/>
                  </a:cubicBezTo>
                  <a:lnTo>
                    <a:pt x="1501" y="74268"/>
                  </a:lnTo>
                  <a:cubicBezTo>
                    <a:pt x="711" y="74268"/>
                    <a:pt x="65" y="73625"/>
                    <a:pt x="65" y="72835"/>
                  </a:cubicBezTo>
                  <a:lnTo>
                    <a:pt x="65" y="1501"/>
                  </a:lnTo>
                  <a:cubicBezTo>
                    <a:pt x="65" y="711"/>
                    <a:pt x="711" y="65"/>
                    <a:pt x="1501" y="65"/>
                  </a:cubicBezTo>
                  <a:close/>
                  <a:moveTo>
                    <a:pt x="1501" y="1"/>
                  </a:moveTo>
                  <a:cubicBezTo>
                    <a:pt x="676" y="1"/>
                    <a:pt x="0" y="675"/>
                    <a:pt x="0" y="1501"/>
                  </a:cubicBezTo>
                  <a:lnTo>
                    <a:pt x="0" y="72835"/>
                  </a:lnTo>
                  <a:cubicBezTo>
                    <a:pt x="0" y="73660"/>
                    <a:pt x="676" y="74336"/>
                    <a:pt x="1501" y="74336"/>
                  </a:cubicBezTo>
                  <a:lnTo>
                    <a:pt x="52246" y="74336"/>
                  </a:lnTo>
                  <a:cubicBezTo>
                    <a:pt x="53076" y="74336"/>
                    <a:pt x="53747" y="73660"/>
                    <a:pt x="53747" y="72835"/>
                  </a:cubicBezTo>
                  <a:lnTo>
                    <a:pt x="53747" y="1501"/>
                  </a:lnTo>
                  <a:cubicBezTo>
                    <a:pt x="53747" y="675"/>
                    <a:pt x="53076" y="1"/>
                    <a:pt x="52246" y="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3" name="Google Shape;443;p28"/>
          <p:cNvGrpSpPr/>
          <p:nvPr/>
        </p:nvGrpSpPr>
        <p:grpSpPr>
          <a:xfrm>
            <a:off x="0" y="4397412"/>
            <a:ext cx="4600713" cy="150450"/>
            <a:chOff x="0" y="4397412"/>
            <a:chExt cx="4600713" cy="150450"/>
          </a:xfrm>
        </p:grpSpPr>
        <p:sp>
          <p:nvSpPr>
            <p:cNvPr id="444" name="Google Shape;444;p28"/>
            <p:cNvSpPr/>
            <p:nvPr/>
          </p:nvSpPr>
          <p:spPr>
            <a:xfrm>
              <a:off x="0" y="4397412"/>
              <a:ext cx="4600713" cy="2416"/>
            </a:xfrm>
            <a:custGeom>
              <a:avLst/>
              <a:gdLst/>
              <a:ahLst/>
              <a:cxnLst/>
              <a:rect l="l" t="t" r="r" b="b"/>
              <a:pathLst>
                <a:path w="131402" h="69" extrusionOk="0">
                  <a:moveTo>
                    <a:pt x="0" y="1"/>
                  </a:moveTo>
                  <a:lnTo>
                    <a:pt x="0" y="69"/>
                  </a:lnTo>
                  <a:lnTo>
                    <a:pt x="131401" y="69"/>
                  </a:lnTo>
                  <a:lnTo>
                    <a:pt x="131401" y="1"/>
                  </a:lnTo>
                  <a:close/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445;p28"/>
            <p:cNvSpPr/>
            <p:nvPr/>
          </p:nvSpPr>
          <p:spPr>
            <a:xfrm>
              <a:off x="755786" y="4545586"/>
              <a:ext cx="305519" cy="2276"/>
            </a:xfrm>
            <a:custGeom>
              <a:avLst/>
              <a:gdLst/>
              <a:ahLst/>
              <a:cxnLst/>
              <a:rect l="l" t="t" r="r" b="b"/>
              <a:pathLst>
                <a:path w="8726" h="65" extrusionOk="0">
                  <a:moveTo>
                    <a:pt x="0" y="0"/>
                  </a:moveTo>
                  <a:lnTo>
                    <a:pt x="0" y="65"/>
                  </a:lnTo>
                  <a:lnTo>
                    <a:pt x="8726" y="65"/>
                  </a:lnTo>
                  <a:lnTo>
                    <a:pt x="8726" y="0"/>
                  </a:lnTo>
                  <a:close/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446;p28"/>
            <p:cNvSpPr/>
            <p:nvPr/>
          </p:nvSpPr>
          <p:spPr>
            <a:xfrm>
              <a:off x="1619552" y="4536412"/>
              <a:ext cx="497808" cy="2276"/>
            </a:xfrm>
            <a:custGeom>
              <a:avLst/>
              <a:gdLst/>
              <a:ahLst/>
              <a:cxnLst/>
              <a:rect l="l" t="t" r="r" b="b"/>
              <a:pathLst>
                <a:path w="14218" h="65" extrusionOk="0">
                  <a:moveTo>
                    <a:pt x="0" y="0"/>
                  </a:moveTo>
                  <a:lnTo>
                    <a:pt x="0" y="65"/>
                  </a:lnTo>
                  <a:lnTo>
                    <a:pt x="14217" y="65"/>
                  </a:lnTo>
                  <a:lnTo>
                    <a:pt x="14217" y="0"/>
                  </a:lnTo>
                  <a:close/>
                </a:path>
              </a:pathLst>
            </a:custGeom>
            <a:solidFill>
              <a:schemeClr val="dk1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28"/>
            <p:cNvSpPr/>
            <p:nvPr/>
          </p:nvSpPr>
          <p:spPr>
            <a:xfrm>
              <a:off x="1070481" y="4460119"/>
              <a:ext cx="175833" cy="2311"/>
            </a:xfrm>
            <a:custGeom>
              <a:avLst/>
              <a:gdLst/>
              <a:ahLst/>
              <a:cxnLst/>
              <a:rect l="l" t="t" r="r" b="b"/>
              <a:pathLst>
                <a:path w="5022" h="66" extrusionOk="0">
                  <a:moveTo>
                    <a:pt x="1" y="1"/>
                  </a:moveTo>
                  <a:lnTo>
                    <a:pt x="1" y="65"/>
                  </a:lnTo>
                  <a:lnTo>
                    <a:pt x="5022" y="65"/>
                  </a:lnTo>
                  <a:lnTo>
                    <a:pt x="5022" y="1"/>
                  </a:lnTo>
                  <a:close/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448;p28"/>
            <p:cNvSpPr/>
            <p:nvPr/>
          </p:nvSpPr>
          <p:spPr>
            <a:xfrm>
              <a:off x="2732853" y="4514424"/>
              <a:ext cx="418259" cy="2276"/>
            </a:xfrm>
            <a:custGeom>
              <a:avLst/>
              <a:gdLst/>
              <a:ahLst/>
              <a:cxnLst/>
              <a:rect l="l" t="t" r="r" b="b"/>
              <a:pathLst>
                <a:path w="11946" h="65" extrusionOk="0">
                  <a:moveTo>
                    <a:pt x="0" y="0"/>
                  </a:moveTo>
                  <a:lnTo>
                    <a:pt x="0" y="65"/>
                  </a:lnTo>
                  <a:lnTo>
                    <a:pt x="11946" y="65"/>
                  </a:lnTo>
                  <a:lnTo>
                    <a:pt x="11946" y="0"/>
                  </a:lnTo>
                  <a:close/>
                </a:path>
              </a:pathLst>
            </a:custGeom>
            <a:solidFill>
              <a:schemeClr val="dk1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41647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288186"/>
            <a:ext cx="4688410" cy="481200"/>
          </a:xfrm>
        </p:spPr>
        <p:txBody>
          <a:bodyPr vert="horz"/>
          <a:lstStyle/>
          <a:p>
            <a:pPr algn="l"/>
            <a:r>
              <a:rPr lang="en-US" b="1" u="sng" dirty="0">
                <a:latin typeface="Calibri" panose="020F0502020204030204" pitchFamily="34" charset="0"/>
                <a:cs typeface="Calibri" panose="020F0502020204030204" pitchFamily="34" charset="0"/>
              </a:rPr>
              <a:t>MODELING TECHNIQUES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7C8DAAE-ADD2-73C9-0BC4-91988823EA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2614012"/>
              </p:ext>
            </p:extLst>
          </p:nvPr>
        </p:nvGraphicFramePr>
        <p:xfrm>
          <a:off x="1366683" y="1150373"/>
          <a:ext cx="6253313" cy="38270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9140943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CB08374B-4352-8BAF-DA14-8167B7FC8C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flipH="1">
            <a:off x="3795250" y="1012722"/>
            <a:ext cx="5289754" cy="3720505"/>
          </a:xfrm>
        </p:spPr>
        <p:txBody>
          <a:bodyPr anchor="t"/>
          <a:lstStyle/>
          <a:p>
            <a:pPr marL="438150" indent="-285750">
              <a:buFont typeface="Arial" panose="020B0604020202020204" pitchFamily="34" charset="0"/>
              <a:buChar char="•"/>
            </a:pPr>
            <a:r>
              <a:rPr lang="en-US" sz="1500" dirty="0">
                <a:latin typeface="+mn-lt"/>
              </a:rPr>
              <a:t>The </a:t>
            </a:r>
            <a:r>
              <a:rPr lang="en-US" sz="1500" b="1" dirty="0">
                <a:solidFill>
                  <a:srgbClr val="C00000"/>
                </a:solidFill>
                <a:latin typeface="+mn-lt"/>
              </a:rPr>
              <a:t>accuracy</a:t>
            </a:r>
            <a:r>
              <a:rPr lang="en-US" sz="1500" dirty="0">
                <a:latin typeface="+mn-lt"/>
              </a:rPr>
              <a:t> is 0.353, which indicates that the </a:t>
            </a:r>
          </a:p>
          <a:p>
            <a:pPr marL="152400" indent="0">
              <a:buNone/>
            </a:pPr>
            <a:r>
              <a:rPr lang="en-US" sz="1500" dirty="0">
                <a:latin typeface="+mn-lt"/>
              </a:rPr>
              <a:t>    model is performing poorly in predicting the </a:t>
            </a:r>
          </a:p>
          <a:p>
            <a:pPr marL="152400" indent="0">
              <a:buNone/>
            </a:pPr>
            <a:r>
              <a:rPr lang="en-US" sz="1500" dirty="0">
                <a:latin typeface="+mn-lt"/>
              </a:rPr>
              <a:t>    outcome of the dependent variable. </a:t>
            </a:r>
          </a:p>
          <a:p>
            <a:pPr marL="152400" indent="0">
              <a:buNone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r>
              <a:rPr lang="en-US" sz="1500" dirty="0">
                <a:latin typeface="+mn-lt"/>
              </a:rPr>
              <a:t>This is not our focus of the analysis since the data is highly imbalanced. So, have applied class weights to the model in order to correct it </a:t>
            </a:r>
          </a:p>
          <a:p>
            <a:pPr marL="152400" indent="0">
              <a:buNone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r>
              <a:rPr lang="en-US" sz="1500" dirty="0">
                <a:latin typeface="+mn-lt"/>
              </a:rPr>
              <a:t>More focused on sensitivity i.e. true positives which is about 0.49, which is very low. </a:t>
            </a: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r>
              <a:rPr lang="en-US" sz="1500" dirty="0">
                <a:latin typeface="+mn-lt"/>
              </a:rPr>
              <a:t>Specificity is also very low i.e. 0.35 </a:t>
            </a: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  <a:p>
            <a:pPr marL="152400" indent="0">
              <a:buNone/>
            </a:pPr>
            <a:endParaRPr lang="en-US" sz="1500" dirty="0">
              <a:latin typeface="+mn-lt"/>
            </a:endParaRPr>
          </a:p>
          <a:p>
            <a:pPr marL="152400" indent="0">
              <a:buNone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396340"/>
            <a:ext cx="4688410" cy="481200"/>
          </a:xfrm>
        </p:spPr>
        <p:txBody>
          <a:bodyPr vert="horz"/>
          <a:lstStyle/>
          <a:p>
            <a:pPr algn="l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LOGISTIC REGRESSION</a:t>
            </a:r>
          </a:p>
        </p:txBody>
      </p:sp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0668C2EF-713B-D298-5D9C-88AA56F97A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068" y="1100475"/>
            <a:ext cx="3405243" cy="3632752"/>
          </a:xfrm>
          <a:prstGeom prst="rect">
            <a:avLst/>
          </a:prstGeom>
          <a:solidFill>
            <a:schemeClr val="accent1">
              <a:alpha val="82000"/>
            </a:schemeClr>
          </a:solidFill>
          <a:ln w="19050">
            <a:solidFill>
              <a:schemeClr val="accent1"/>
            </a:solidFill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1425B80-9AA1-59F9-9B1A-F6A5C9ACB844}"/>
              </a:ext>
            </a:extLst>
          </p:cNvPr>
          <p:cNvSpPr/>
          <p:nvPr/>
        </p:nvSpPr>
        <p:spPr>
          <a:xfrm>
            <a:off x="1469917" y="2015613"/>
            <a:ext cx="1342109" cy="211390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FCA611-2512-42A4-8F5A-FF7489EF52E8}"/>
              </a:ext>
            </a:extLst>
          </p:cNvPr>
          <p:cNvSpPr/>
          <p:nvPr/>
        </p:nvSpPr>
        <p:spPr>
          <a:xfrm>
            <a:off x="1238865" y="3230631"/>
            <a:ext cx="1877961" cy="382722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2499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2181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7856" y="360907"/>
            <a:ext cx="4688410" cy="481200"/>
          </a:xfrm>
        </p:spPr>
        <p:txBody>
          <a:bodyPr vert="horz"/>
          <a:lstStyle/>
          <a:p>
            <a:pPr algn="l"/>
            <a:b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DECISION TREE</a:t>
            </a:r>
            <a:b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 descr="Diagram, schematic&#10;&#10;Description automatically generated">
            <a:extLst>
              <a:ext uri="{FF2B5EF4-FFF2-40B4-BE49-F238E27FC236}">
                <a16:creationId xmlns:a16="http://schemas.microsoft.com/office/drawing/2014/main" id="{AD63A135-0007-B35C-AC59-29BF1B97A2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saturation sat="3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8863" y="973396"/>
            <a:ext cx="7433589" cy="4007132"/>
          </a:xfrm>
          <a:prstGeom prst="rect">
            <a:avLst/>
          </a:prstGeom>
          <a:ln w="25400">
            <a:solidFill>
              <a:schemeClr val="accent6">
                <a:lumMod val="10000"/>
              </a:schemeClr>
            </a:solidFill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0229139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396340"/>
            <a:ext cx="4688410" cy="481200"/>
          </a:xfrm>
        </p:spPr>
        <p:txBody>
          <a:bodyPr vert="horz"/>
          <a:lstStyle/>
          <a:p>
            <a:pPr algn="l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DECISION TREE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C590F65-02F1-6425-F27E-DFE668C9C1E5}"/>
              </a:ext>
            </a:extLst>
          </p:cNvPr>
          <p:cNvGrpSpPr/>
          <p:nvPr/>
        </p:nvGrpSpPr>
        <p:grpSpPr>
          <a:xfrm>
            <a:off x="468822" y="1059766"/>
            <a:ext cx="2706994" cy="3906754"/>
            <a:chOff x="3143201" y="1059766"/>
            <a:chExt cx="2706994" cy="3906754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14B1A832-B227-E6F6-DF90-FE091C7226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3201" y="1059766"/>
              <a:ext cx="2706994" cy="3906754"/>
            </a:xfrm>
            <a:prstGeom prst="rect">
              <a:avLst/>
            </a:prstGeom>
            <a:noFill/>
            <a:ln w="22225">
              <a:solidFill>
                <a:schemeClr val="accent6">
                  <a:lumMod val="1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D6C6AE6-0522-F0F3-40B8-CF8E6B9DE3B4}"/>
                </a:ext>
              </a:extLst>
            </p:cNvPr>
            <p:cNvSpPr/>
            <p:nvPr/>
          </p:nvSpPr>
          <p:spPr>
            <a:xfrm>
              <a:off x="3805082" y="3342970"/>
              <a:ext cx="1425679" cy="17698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2E10521-39F8-C0DB-1C80-1104D5A9DE1B}"/>
                </a:ext>
              </a:extLst>
            </p:cNvPr>
            <p:cNvSpPr/>
            <p:nvPr/>
          </p:nvSpPr>
          <p:spPr>
            <a:xfrm>
              <a:off x="3937819" y="2059855"/>
              <a:ext cx="1292942" cy="17698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80DEF51-29C5-B750-519B-A4C14C8A4D1C}"/>
                </a:ext>
              </a:extLst>
            </p:cNvPr>
            <p:cNvSpPr/>
            <p:nvPr/>
          </p:nvSpPr>
          <p:spPr>
            <a:xfrm>
              <a:off x="3805088" y="3519950"/>
              <a:ext cx="1425679" cy="17698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9" name="Subtitle 1">
            <a:extLst>
              <a:ext uri="{FF2B5EF4-FFF2-40B4-BE49-F238E27FC236}">
                <a16:creationId xmlns:a16="http://schemas.microsoft.com/office/drawing/2014/main" id="{6F43716C-AE99-9258-7D2D-78C99F789E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flipH="1">
            <a:off x="3372462" y="1524370"/>
            <a:ext cx="5289754" cy="2723165"/>
          </a:xfrm>
        </p:spPr>
        <p:txBody>
          <a:bodyPr anchor="t"/>
          <a:lstStyle/>
          <a:p>
            <a:pPr marL="438150" indent="-285750">
              <a:buFont typeface="Arial" panose="020B0604020202020204" pitchFamily="34" charset="0"/>
              <a:buChar char="•"/>
            </a:pPr>
            <a:r>
              <a:rPr lang="en-US" sz="1500" dirty="0">
                <a:latin typeface="+mn-lt"/>
              </a:rPr>
              <a:t>It can be observed that the </a:t>
            </a:r>
            <a:r>
              <a:rPr lang="en-US" sz="1500" b="1" dirty="0">
                <a:solidFill>
                  <a:srgbClr val="C00000"/>
                </a:solidFill>
                <a:latin typeface="+mn-lt"/>
              </a:rPr>
              <a:t>accuracy</a:t>
            </a:r>
            <a:r>
              <a:rPr lang="en-US" sz="1500" dirty="0">
                <a:latin typeface="+mn-lt"/>
              </a:rPr>
              <a:t> increases from 0.35 as per logistic regression to 0.75 as per decision tree</a:t>
            </a: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r>
              <a:rPr lang="en-US" sz="1500" dirty="0">
                <a:latin typeface="+mn-lt"/>
              </a:rPr>
              <a:t>As we are focused more on </a:t>
            </a:r>
            <a:r>
              <a:rPr lang="en-US" sz="1500" b="1" dirty="0">
                <a:solidFill>
                  <a:srgbClr val="C00000"/>
                </a:solidFill>
                <a:latin typeface="+mn-lt"/>
              </a:rPr>
              <a:t>sensitivity</a:t>
            </a:r>
            <a:r>
              <a:rPr lang="en-US" sz="1500" b="1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15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we observe that it increases from 0.49 as per logistic regression to 0.54 as per decision tree, which still low for predictions</a:t>
            </a: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r>
              <a:rPr lang="en-US" sz="1500" dirty="0">
                <a:latin typeface="+mn-lt"/>
              </a:rPr>
              <a:t>Specificity also increases from 0.35 as per logistic regression to 0.75 as per decision tree</a:t>
            </a: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  <a:p>
            <a:pPr marL="152400" indent="0">
              <a:buNone/>
            </a:pPr>
            <a:endParaRPr lang="en-US" sz="1500" dirty="0">
              <a:latin typeface="+mn-lt"/>
            </a:endParaRPr>
          </a:p>
          <a:p>
            <a:pPr marL="152400" indent="0">
              <a:buNone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10398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396340"/>
            <a:ext cx="4688410" cy="481200"/>
          </a:xfrm>
        </p:spPr>
        <p:txBody>
          <a:bodyPr vert="horz"/>
          <a:lstStyle/>
          <a:p>
            <a:pPr algn="l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RANDOM FOREST CLASSIFIER</a:t>
            </a:r>
          </a:p>
        </p:txBody>
      </p:sp>
      <p:sp>
        <p:nvSpPr>
          <p:cNvPr id="39" name="Subtitle 1">
            <a:extLst>
              <a:ext uri="{FF2B5EF4-FFF2-40B4-BE49-F238E27FC236}">
                <a16:creationId xmlns:a16="http://schemas.microsoft.com/office/drawing/2014/main" id="{6F43716C-AE99-9258-7D2D-78C99F789E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flipH="1">
            <a:off x="3490449" y="1062254"/>
            <a:ext cx="5289754" cy="3905845"/>
          </a:xfrm>
        </p:spPr>
        <p:txBody>
          <a:bodyPr anchor="t"/>
          <a:lstStyle/>
          <a:p>
            <a:pPr marL="152400" indent="0">
              <a:buNone/>
            </a:pPr>
            <a:endParaRPr lang="en-US" sz="1800" dirty="0"/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152400" indent="0">
              <a:buNone/>
            </a:pPr>
            <a:endParaRPr lang="en-US" sz="1800" dirty="0"/>
          </a:p>
          <a:p>
            <a:pPr marL="152400" indent="0">
              <a:buNone/>
            </a:pPr>
            <a:endParaRPr lang="en-US" sz="1800" dirty="0"/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DB397AD7-BCEF-DAC7-B07A-CEDC5666C2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86" y="1069310"/>
            <a:ext cx="4871885" cy="3630510"/>
          </a:xfrm>
          <a:prstGeom prst="rect">
            <a:avLst/>
          </a:prstGeom>
          <a:noFill/>
          <a:ln w="12700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65108F6-B103-486F-5F79-0A3603D7B757}"/>
              </a:ext>
            </a:extLst>
          </p:cNvPr>
          <p:cNvSpPr txBox="1"/>
          <p:nvPr/>
        </p:nvSpPr>
        <p:spPr>
          <a:xfrm>
            <a:off x="5357800" y="1606119"/>
            <a:ext cx="305883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Random Forest Graph depicts the most important variables used by the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The order of importance from top to botto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2AFB6E-841D-1693-A7DF-AF8A6E337C67}"/>
              </a:ext>
            </a:extLst>
          </p:cNvPr>
          <p:cNvSpPr txBox="1"/>
          <p:nvPr/>
        </p:nvSpPr>
        <p:spPr>
          <a:xfrm>
            <a:off x="3062959" y="1133181"/>
            <a:ext cx="747320" cy="169277"/>
          </a:xfrm>
          <a:prstGeom prst="rect">
            <a:avLst/>
          </a:prstGeom>
          <a:solidFill>
            <a:schemeClr val="dk1"/>
          </a:solidFill>
        </p:spPr>
        <p:txBody>
          <a:bodyPr wrap="none" rtlCol="0">
            <a:spAutoFit/>
          </a:bodyPr>
          <a:lstStyle/>
          <a:p>
            <a:r>
              <a:rPr lang="en-US" sz="500" dirty="0"/>
              <a:t>RANDOM FOREST</a:t>
            </a:r>
          </a:p>
        </p:txBody>
      </p:sp>
    </p:spTree>
    <p:extLst>
      <p:ext uri="{BB962C8B-B14F-4D97-AF65-F5344CB8AC3E}">
        <p14:creationId xmlns:p14="http://schemas.microsoft.com/office/powerpoint/2010/main" val="13232137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396340"/>
            <a:ext cx="4688410" cy="481200"/>
          </a:xfrm>
        </p:spPr>
        <p:txBody>
          <a:bodyPr vert="horz"/>
          <a:lstStyle/>
          <a:p>
            <a:pPr algn="l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RANDOM FOREST CLASSIFIER</a:t>
            </a:r>
          </a:p>
        </p:txBody>
      </p:sp>
      <p:sp>
        <p:nvSpPr>
          <p:cNvPr id="39" name="Subtitle 1">
            <a:extLst>
              <a:ext uri="{FF2B5EF4-FFF2-40B4-BE49-F238E27FC236}">
                <a16:creationId xmlns:a16="http://schemas.microsoft.com/office/drawing/2014/main" id="{6F43716C-AE99-9258-7D2D-78C99F789E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flipH="1">
            <a:off x="3490449" y="1062255"/>
            <a:ext cx="5289754" cy="3450752"/>
          </a:xfrm>
        </p:spPr>
        <p:txBody>
          <a:bodyPr anchor="t"/>
          <a:lstStyle/>
          <a:p>
            <a:pPr marL="438150" indent="-285750">
              <a:buFont typeface="Arial" panose="020B0604020202020204" pitchFamily="34" charset="0"/>
              <a:buChar char="•"/>
            </a:pPr>
            <a:r>
              <a:rPr lang="en-US" sz="1500" dirty="0">
                <a:latin typeface="+mn-lt"/>
              </a:rPr>
              <a:t>Random Forest Classifier is more sophisticated which is a non-linear bagging technique</a:t>
            </a: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r>
              <a:rPr lang="en-US" sz="1500" dirty="0">
                <a:latin typeface="+mn-lt"/>
              </a:rPr>
              <a:t>As we are focused more on </a:t>
            </a:r>
            <a:r>
              <a:rPr lang="en-US" sz="1500" b="1" dirty="0">
                <a:solidFill>
                  <a:srgbClr val="C00000"/>
                </a:solidFill>
                <a:latin typeface="+mn-lt"/>
              </a:rPr>
              <a:t>sensitivity</a:t>
            </a:r>
            <a:r>
              <a:rPr lang="en-US" sz="1500" b="1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, </a:t>
            </a:r>
            <a:r>
              <a:rPr lang="en-US" sz="15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we observe that it increases from 0.54 as per decision tree model to 0.81 as per random forest classifier which signifies that the model is capable of better predictions</a:t>
            </a: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r>
              <a:rPr lang="en-US" sz="1500" dirty="0">
                <a:latin typeface="+mn-lt"/>
              </a:rPr>
              <a:t>Specificity increases from 0.75 as per decision tree to 0.83 as per random forest classifier </a:t>
            </a: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r>
              <a:rPr lang="en-US" sz="1500" dirty="0">
                <a:latin typeface="+mn-lt"/>
              </a:rPr>
              <a:t>Accuracy also increases to 0.83 as per random forest classifier</a:t>
            </a: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  <a:p>
            <a:pPr marL="152400" indent="0">
              <a:buNone/>
            </a:pPr>
            <a:endParaRPr lang="en-US" sz="1500" dirty="0">
              <a:latin typeface="+mn-lt"/>
            </a:endParaRPr>
          </a:p>
          <a:p>
            <a:pPr marL="152400" indent="0">
              <a:buNone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  <a:p>
            <a:pPr marL="438150" indent="-285750">
              <a:buFont typeface="Arial" panose="020B0604020202020204" pitchFamily="34" charset="0"/>
              <a:buChar char="•"/>
            </a:pPr>
            <a:endParaRPr lang="en-US" sz="1500" dirty="0">
              <a:latin typeface="+mn-lt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59398CD5-B2C0-0379-DF7D-D19E71BF9E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822" y="1052637"/>
            <a:ext cx="2550816" cy="3694523"/>
          </a:xfrm>
          <a:prstGeom prst="rect">
            <a:avLst/>
          </a:prstGeom>
          <a:noFill/>
          <a:ln w="12700">
            <a:solidFill>
              <a:schemeClr val="accent6">
                <a:lumMod val="1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AF27F9-42AC-011F-55A7-F956141B2214}"/>
              </a:ext>
            </a:extLst>
          </p:cNvPr>
          <p:cNvSpPr/>
          <p:nvPr/>
        </p:nvSpPr>
        <p:spPr>
          <a:xfrm>
            <a:off x="1258529" y="3224981"/>
            <a:ext cx="1376516" cy="334296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03078A-8FC1-56A4-804F-80D9C1E430D3}"/>
              </a:ext>
            </a:extLst>
          </p:cNvPr>
          <p:cNvSpPr/>
          <p:nvPr/>
        </p:nvSpPr>
        <p:spPr>
          <a:xfrm>
            <a:off x="1410929" y="2027266"/>
            <a:ext cx="1224116" cy="170244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8968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396340"/>
            <a:ext cx="4688410" cy="481200"/>
          </a:xfrm>
        </p:spPr>
        <p:txBody>
          <a:bodyPr vert="horz"/>
          <a:lstStyle/>
          <a:p>
            <a:pPr algn="l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CONCLUS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E02431-716D-0587-009B-E91BFB8BCBE2}"/>
              </a:ext>
            </a:extLst>
          </p:cNvPr>
          <p:cNvSpPr txBox="1"/>
          <p:nvPr/>
        </p:nvSpPr>
        <p:spPr>
          <a:xfrm>
            <a:off x="192230" y="981542"/>
            <a:ext cx="8697194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Selected a sample of 100K to train and validate various supervised learning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Performed Logistic regression , Decision Tree and then applied Random Forest Classifier</a:t>
            </a:r>
          </a:p>
          <a:p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Chose the model based on highest sensitivity </a:t>
            </a:r>
            <a:r>
              <a:rPr lang="en-US" sz="1500" dirty="0" err="1"/>
              <a:t>i.e</a:t>
            </a:r>
            <a:r>
              <a:rPr lang="en-US" sz="1500" dirty="0"/>
              <a:t> True Positives as the positive class is 0 as per the R code which signifies that the model should be able to predict higher defaulters vis a vis actual defaulters in the dataset</a:t>
            </a:r>
          </a:p>
          <a:p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Random Forest classifier has the Best Sensitivity and Accuracy amongst all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Model will inform the issuer’s decision on whom to give a credit card to and what credit limit to prov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Model can also be served as an aid in decision making, instead of replacing human deci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Model can be enhanced with more data and computational resources</a:t>
            </a:r>
          </a:p>
          <a:p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13550063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FC4B7BE-71A5-E514-2BB3-B923D6A89E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F9B435-4049-3FB4-A193-4E0079083C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0" y="76200"/>
            <a:ext cx="9100874" cy="4876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055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BC2BB19-1420-0832-5E93-A0ED454972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12860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8" name="Google Shape;698;p31"/>
          <p:cNvSpPr txBox="1">
            <a:spLocks noGrp="1"/>
          </p:cNvSpPr>
          <p:nvPr>
            <p:ph type="ctrTitle"/>
          </p:nvPr>
        </p:nvSpPr>
        <p:spPr>
          <a:xfrm>
            <a:off x="1456650" y="1715300"/>
            <a:ext cx="1745100" cy="1104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>
              <a:buClr>
                <a:srgbClr val="000000"/>
              </a:buClr>
            </a:pPr>
            <a:r>
              <a:rPr lang="en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01. </a:t>
            </a:r>
            <a:br>
              <a:rPr lang="en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lang="en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EFACE </a:t>
            </a:r>
            <a:endParaRPr sz="18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699" name="Google Shape;699;p31"/>
          <p:cNvSpPr txBox="1">
            <a:spLocks noGrp="1"/>
          </p:cNvSpPr>
          <p:nvPr>
            <p:ph type="subTitle" idx="1"/>
          </p:nvPr>
        </p:nvSpPr>
        <p:spPr>
          <a:xfrm>
            <a:off x="889350" y="2819625"/>
            <a:ext cx="2312400" cy="1104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575FB1E-998B-A22E-7972-9AA621A19464}"/>
              </a:ext>
            </a:extLst>
          </p:cNvPr>
          <p:cNvGrpSpPr/>
          <p:nvPr/>
        </p:nvGrpSpPr>
        <p:grpSpPr>
          <a:xfrm>
            <a:off x="4572000" y="939979"/>
            <a:ext cx="4089954" cy="3146991"/>
            <a:chOff x="4394088" y="1329593"/>
            <a:chExt cx="4740975" cy="3379253"/>
          </a:xfrm>
        </p:grpSpPr>
        <p:grpSp>
          <p:nvGrpSpPr>
            <p:cNvPr id="682" name="Google Shape;682;p31"/>
            <p:cNvGrpSpPr/>
            <p:nvPr/>
          </p:nvGrpSpPr>
          <p:grpSpPr>
            <a:xfrm>
              <a:off x="4534350" y="4313399"/>
              <a:ext cx="4600713" cy="150450"/>
              <a:chOff x="0" y="4397412"/>
              <a:chExt cx="4600713" cy="150450"/>
            </a:xfrm>
          </p:grpSpPr>
          <p:sp>
            <p:nvSpPr>
              <p:cNvPr id="683" name="Google Shape;683;p31"/>
              <p:cNvSpPr/>
              <p:nvPr/>
            </p:nvSpPr>
            <p:spPr>
              <a:xfrm>
                <a:off x="0" y="4397412"/>
                <a:ext cx="4600713" cy="2416"/>
              </a:xfrm>
              <a:custGeom>
                <a:avLst/>
                <a:gdLst/>
                <a:ahLst/>
                <a:cxnLst/>
                <a:rect l="l" t="t" r="r" b="b"/>
                <a:pathLst>
                  <a:path w="131402" h="69" extrusionOk="0">
                    <a:moveTo>
                      <a:pt x="0" y="1"/>
                    </a:moveTo>
                    <a:lnTo>
                      <a:pt x="0" y="69"/>
                    </a:lnTo>
                    <a:lnTo>
                      <a:pt x="131401" y="69"/>
                    </a:lnTo>
                    <a:lnTo>
                      <a:pt x="131401" y="1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4" name="Google Shape;684;p31"/>
              <p:cNvSpPr/>
              <p:nvPr/>
            </p:nvSpPr>
            <p:spPr>
              <a:xfrm>
                <a:off x="755786" y="4545586"/>
                <a:ext cx="305519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8726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8726" y="65"/>
                    </a:lnTo>
                    <a:lnTo>
                      <a:pt x="8726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5" name="Google Shape;685;p31"/>
              <p:cNvSpPr/>
              <p:nvPr/>
            </p:nvSpPr>
            <p:spPr>
              <a:xfrm>
                <a:off x="1619552" y="4536412"/>
                <a:ext cx="497808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14218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14217" y="65"/>
                    </a:lnTo>
                    <a:lnTo>
                      <a:pt x="14217" y="0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6" name="Google Shape;686;p31"/>
              <p:cNvSpPr/>
              <p:nvPr/>
            </p:nvSpPr>
            <p:spPr>
              <a:xfrm>
                <a:off x="1070481" y="4460119"/>
                <a:ext cx="175833" cy="2311"/>
              </a:xfrm>
              <a:custGeom>
                <a:avLst/>
                <a:gdLst/>
                <a:ahLst/>
                <a:cxnLst/>
                <a:rect l="l" t="t" r="r" b="b"/>
                <a:pathLst>
                  <a:path w="5022" h="66" extrusionOk="0">
                    <a:moveTo>
                      <a:pt x="1" y="1"/>
                    </a:moveTo>
                    <a:lnTo>
                      <a:pt x="1" y="65"/>
                    </a:lnTo>
                    <a:lnTo>
                      <a:pt x="5022" y="65"/>
                    </a:lnTo>
                    <a:lnTo>
                      <a:pt x="5022" y="1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7" name="Google Shape;687;p31"/>
              <p:cNvSpPr/>
              <p:nvPr/>
            </p:nvSpPr>
            <p:spPr>
              <a:xfrm>
                <a:off x="2732853" y="4514424"/>
                <a:ext cx="418259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11946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11946" y="65"/>
                    </a:lnTo>
                    <a:lnTo>
                      <a:pt x="11946" y="0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688" name="Google Shape;688;p31"/>
            <p:cNvGrpSpPr/>
            <p:nvPr/>
          </p:nvGrpSpPr>
          <p:grpSpPr>
            <a:xfrm>
              <a:off x="5215723" y="1329593"/>
              <a:ext cx="3081703" cy="2757573"/>
              <a:chOff x="5215723" y="1479118"/>
              <a:chExt cx="3081703" cy="2757573"/>
            </a:xfrm>
          </p:grpSpPr>
          <p:grpSp>
            <p:nvGrpSpPr>
              <p:cNvPr id="689" name="Google Shape;689;p31"/>
              <p:cNvGrpSpPr/>
              <p:nvPr/>
            </p:nvGrpSpPr>
            <p:grpSpPr>
              <a:xfrm>
                <a:off x="5215723" y="1707350"/>
                <a:ext cx="3081703" cy="2529341"/>
                <a:chOff x="5150194" y="1591500"/>
                <a:chExt cx="3081703" cy="2529341"/>
              </a:xfrm>
            </p:grpSpPr>
            <p:sp>
              <p:nvSpPr>
                <p:cNvPr id="690" name="Google Shape;690;p31"/>
                <p:cNvSpPr/>
                <p:nvPr/>
              </p:nvSpPr>
              <p:spPr>
                <a:xfrm>
                  <a:off x="5150194" y="1591500"/>
                  <a:ext cx="1147444" cy="25293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540" h="64368" extrusionOk="0">
                      <a:moveTo>
                        <a:pt x="45240" y="58"/>
                      </a:moveTo>
                      <a:cubicBezTo>
                        <a:pt x="45926" y="58"/>
                        <a:pt x="46482" y="614"/>
                        <a:pt x="46482" y="1299"/>
                      </a:cubicBezTo>
                      <a:lnTo>
                        <a:pt x="46482" y="63068"/>
                      </a:lnTo>
                      <a:cubicBezTo>
                        <a:pt x="46482" y="63753"/>
                        <a:pt x="45926" y="64310"/>
                        <a:pt x="45240" y="64310"/>
                      </a:cubicBezTo>
                      <a:lnTo>
                        <a:pt x="1299" y="64310"/>
                      </a:lnTo>
                      <a:cubicBezTo>
                        <a:pt x="615" y="64310"/>
                        <a:pt x="58" y="63753"/>
                        <a:pt x="58" y="63068"/>
                      </a:cubicBezTo>
                      <a:lnTo>
                        <a:pt x="58" y="1299"/>
                      </a:lnTo>
                      <a:cubicBezTo>
                        <a:pt x="58" y="614"/>
                        <a:pt x="615" y="58"/>
                        <a:pt x="1299" y="58"/>
                      </a:cubicBezTo>
                      <a:close/>
                      <a:moveTo>
                        <a:pt x="1299" y="0"/>
                      </a:moveTo>
                      <a:cubicBezTo>
                        <a:pt x="582" y="0"/>
                        <a:pt x="0" y="582"/>
                        <a:pt x="0" y="1299"/>
                      </a:cubicBezTo>
                      <a:lnTo>
                        <a:pt x="0" y="63068"/>
                      </a:lnTo>
                      <a:cubicBezTo>
                        <a:pt x="0" y="63786"/>
                        <a:pt x="582" y="64368"/>
                        <a:pt x="1299" y="64368"/>
                      </a:cubicBezTo>
                      <a:lnTo>
                        <a:pt x="45240" y="64368"/>
                      </a:lnTo>
                      <a:cubicBezTo>
                        <a:pt x="45958" y="64368"/>
                        <a:pt x="46539" y="63786"/>
                        <a:pt x="46539" y="63068"/>
                      </a:cubicBezTo>
                      <a:lnTo>
                        <a:pt x="46539" y="1299"/>
                      </a:lnTo>
                      <a:cubicBezTo>
                        <a:pt x="46539" y="582"/>
                        <a:pt x="45958" y="0"/>
                        <a:pt x="45240" y="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1" name="Google Shape;691;p31"/>
                <p:cNvSpPr/>
                <p:nvPr/>
              </p:nvSpPr>
              <p:spPr>
                <a:xfrm>
                  <a:off x="6402990" y="1591500"/>
                  <a:ext cx="1828907" cy="25293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543" h="64368" extrusionOk="0">
                      <a:moveTo>
                        <a:pt x="45243" y="58"/>
                      </a:moveTo>
                      <a:cubicBezTo>
                        <a:pt x="45928" y="58"/>
                        <a:pt x="46485" y="614"/>
                        <a:pt x="46485" y="1299"/>
                      </a:cubicBezTo>
                      <a:lnTo>
                        <a:pt x="46485" y="63068"/>
                      </a:lnTo>
                      <a:cubicBezTo>
                        <a:pt x="46485" y="63753"/>
                        <a:pt x="45928" y="64310"/>
                        <a:pt x="45243" y="64310"/>
                      </a:cubicBezTo>
                      <a:lnTo>
                        <a:pt x="1299" y="64310"/>
                      </a:lnTo>
                      <a:cubicBezTo>
                        <a:pt x="617" y="64310"/>
                        <a:pt x="57" y="63753"/>
                        <a:pt x="57" y="63068"/>
                      </a:cubicBezTo>
                      <a:lnTo>
                        <a:pt x="57" y="1299"/>
                      </a:lnTo>
                      <a:cubicBezTo>
                        <a:pt x="57" y="614"/>
                        <a:pt x="617" y="58"/>
                        <a:pt x="1299" y="58"/>
                      </a:cubicBezTo>
                      <a:close/>
                      <a:moveTo>
                        <a:pt x="1299" y="0"/>
                      </a:moveTo>
                      <a:cubicBezTo>
                        <a:pt x="585" y="0"/>
                        <a:pt x="0" y="582"/>
                        <a:pt x="0" y="1299"/>
                      </a:cubicBezTo>
                      <a:lnTo>
                        <a:pt x="0" y="63068"/>
                      </a:lnTo>
                      <a:cubicBezTo>
                        <a:pt x="0" y="63786"/>
                        <a:pt x="585" y="64368"/>
                        <a:pt x="1299" y="64368"/>
                      </a:cubicBezTo>
                      <a:lnTo>
                        <a:pt x="45243" y="64368"/>
                      </a:lnTo>
                      <a:cubicBezTo>
                        <a:pt x="45961" y="64368"/>
                        <a:pt x="46542" y="63786"/>
                        <a:pt x="46542" y="63068"/>
                      </a:cubicBezTo>
                      <a:lnTo>
                        <a:pt x="46542" y="1299"/>
                      </a:lnTo>
                      <a:cubicBezTo>
                        <a:pt x="46542" y="582"/>
                        <a:pt x="45961" y="0"/>
                        <a:pt x="45243" y="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692" name="Google Shape;692;p31"/>
              <p:cNvGrpSpPr/>
              <p:nvPr/>
            </p:nvGrpSpPr>
            <p:grpSpPr>
              <a:xfrm>
                <a:off x="5723516" y="1479118"/>
                <a:ext cx="2288423" cy="1787926"/>
                <a:chOff x="5723516" y="1479118"/>
                <a:chExt cx="2288423" cy="1787926"/>
              </a:xfrm>
            </p:grpSpPr>
            <p:sp>
              <p:nvSpPr>
                <p:cNvPr id="693" name="Google Shape;693;p31"/>
                <p:cNvSpPr/>
                <p:nvPr/>
              </p:nvSpPr>
              <p:spPr>
                <a:xfrm>
                  <a:off x="5723516" y="1479118"/>
                  <a:ext cx="2288423" cy="2912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237" h="7413" extrusionOk="0">
                      <a:moveTo>
                        <a:pt x="1756" y="1"/>
                      </a:moveTo>
                      <a:cubicBezTo>
                        <a:pt x="791" y="1"/>
                        <a:pt x="1" y="794"/>
                        <a:pt x="1" y="1760"/>
                      </a:cubicBezTo>
                      <a:lnTo>
                        <a:pt x="1" y="7413"/>
                      </a:lnTo>
                      <a:lnTo>
                        <a:pt x="58237" y="7413"/>
                      </a:lnTo>
                      <a:lnTo>
                        <a:pt x="58237" y="1760"/>
                      </a:lnTo>
                      <a:cubicBezTo>
                        <a:pt x="58237" y="794"/>
                        <a:pt x="57448" y="1"/>
                        <a:pt x="56482" y="1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4" name="Google Shape;694;p31"/>
                <p:cNvSpPr/>
                <p:nvPr/>
              </p:nvSpPr>
              <p:spPr>
                <a:xfrm>
                  <a:off x="6229445" y="1572681"/>
                  <a:ext cx="104407" cy="1043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7" h="2656" extrusionOk="0">
                      <a:moveTo>
                        <a:pt x="1329" y="0"/>
                      </a:moveTo>
                      <a:cubicBezTo>
                        <a:pt x="597" y="0"/>
                        <a:pt x="1" y="595"/>
                        <a:pt x="1" y="1328"/>
                      </a:cubicBezTo>
                      <a:cubicBezTo>
                        <a:pt x="1" y="2060"/>
                        <a:pt x="597" y="2656"/>
                        <a:pt x="1329" y="2656"/>
                      </a:cubicBezTo>
                      <a:cubicBezTo>
                        <a:pt x="2065" y="2656"/>
                        <a:pt x="2656" y="2060"/>
                        <a:pt x="2656" y="1328"/>
                      </a:cubicBezTo>
                      <a:cubicBezTo>
                        <a:pt x="2656" y="595"/>
                        <a:pt x="2065" y="0"/>
                        <a:pt x="1329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5" name="Google Shape;695;p31"/>
                <p:cNvSpPr/>
                <p:nvPr/>
              </p:nvSpPr>
              <p:spPr>
                <a:xfrm>
                  <a:off x="6044560" y="1572681"/>
                  <a:ext cx="104407" cy="1043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7" h="2656" extrusionOk="0">
                      <a:moveTo>
                        <a:pt x="1328" y="0"/>
                      </a:moveTo>
                      <a:cubicBezTo>
                        <a:pt x="596" y="0"/>
                        <a:pt x="0" y="595"/>
                        <a:pt x="0" y="1328"/>
                      </a:cubicBezTo>
                      <a:cubicBezTo>
                        <a:pt x="0" y="2060"/>
                        <a:pt x="596" y="2656"/>
                        <a:pt x="1328" y="2656"/>
                      </a:cubicBezTo>
                      <a:cubicBezTo>
                        <a:pt x="2060" y="2656"/>
                        <a:pt x="2656" y="2060"/>
                        <a:pt x="2656" y="1328"/>
                      </a:cubicBezTo>
                      <a:cubicBezTo>
                        <a:pt x="2656" y="595"/>
                        <a:pt x="2060" y="0"/>
                        <a:pt x="1328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6" name="Google Shape;696;p31"/>
                <p:cNvSpPr/>
                <p:nvPr/>
              </p:nvSpPr>
              <p:spPr>
                <a:xfrm>
                  <a:off x="5859635" y="1572681"/>
                  <a:ext cx="104407" cy="1043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7" h="2656" extrusionOk="0">
                      <a:moveTo>
                        <a:pt x="1329" y="0"/>
                      </a:moveTo>
                      <a:cubicBezTo>
                        <a:pt x="593" y="0"/>
                        <a:pt x="0" y="595"/>
                        <a:pt x="0" y="1328"/>
                      </a:cubicBezTo>
                      <a:cubicBezTo>
                        <a:pt x="0" y="2060"/>
                        <a:pt x="593" y="2656"/>
                        <a:pt x="1329" y="2656"/>
                      </a:cubicBezTo>
                      <a:cubicBezTo>
                        <a:pt x="2061" y="2656"/>
                        <a:pt x="2656" y="2060"/>
                        <a:pt x="2656" y="1328"/>
                      </a:cubicBezTo>
                      <a:cubicBezTo>
                        <a:pt x="2656" y="595"/>
                        <a:pt x="2061" y="0"/>
                        <a:pt x="1329" y="0"/>
                      </a:cubicBezTo>
                      <a:close/>
                    </a:path>
                  </a:pathLst>
                </a:custGeom>
                <a:solidFill>
                  <a:schemeClr val="lt1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7" name="Google Shape;697;p31"/>
                <p:cNvSpPr/>
                <p:nvPr/>
              </p:nvSpPr>
              <p:spPr>
                <a:xfrm>
                  <a:off x="5723516" y="1770377"/>
                  <a:ext cx="2288423" cy="149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237" h="38088" extrusionOk="0">
                      <a:moveTo>
                        <a:pt x="1" y="1"/>
                      </a:moveTo>
                      <a:lnTo>
                        <a:pt x="1" y="36332"/>
                      </a:lnTo>
                      <a:cubicBezTo>
                        <a:pt x="1" y="37297"/>
                        <a:pt x="791" y="38087"/>
                        <a:pt x="1756" y="38087"/>
                      </a:cubicBezTo>
                      <a:lnTo>
                        <a:pt x="56482" y="38087"/>
                      </a:lnTo>
                      <a:cubicBezTo>
                        <a:pt x="57448" y="38087"/>
                        <a:pt x="58237" y="37297"/>
                        <a:pt x="58237" y="36332"/>
                      </a:cubicBezTo>
                      <a:lnTo>
                        <a:pt x="58237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00" name="Google Shape;700;p31"/>
            <p:cNvGrpSpPr/>
            <p:nvPr/>
          </p:nvGrpSpPr>
          <p:grpSpPr>
            <a:xfrm>
              <a:off x="4394088" y="3149994"/>
              <a:ext cx="1221060" cy="1220197"/>
              <a:chOff x="4394088" y="3299519"/>
              <a:chExt cx="1221060" cy="1220197"/>
            </a:xfrm>
          </p:grpSpPr>
          <p:sp>
            <p:nvSpPr>
              <p:cNvPr id="701" name="Google Shape;701;p31"/>
              <p:cNvSpPr/>
              <p:nvPr/>
            </p:nvSpPr>
            <p:spPr>
              <a:xfrm>
                <a:off x="5004504" y="3380350"/>
                <a:ext cx="610644" cy="1139359"/>
              </a:xfrm>
              <a:custGeom>
                <a:avLst/>
                <a:gdLst/>
                <a:ahLst/>
                <a:cxnLst/>
                <a:rect l="l" t="t" r="r" b="b"/>
                <a:pathLst>
                  <a:path w="15540" h="28995" extrusionOk="0">
                    <a:moveTo>
                      <a:pt x="7768" y="1"/>
                    </a:moveTo>
                    <a:lnTo>
                      <a:pt x="5740" y="3515"/>
                    </a:lnTo>
                    <a:cubicBezTo>
                      <a:pt x="9175" y="5492"/>
                      <a:pt x="11486" y="9203"/>
                      <a:pt x="11486" y="13457"/>
                    </a:cubicBezTo>
                    <a:cubicBezTo>
                      <a:pt x="11486" y="19799"/>
                      <a:pt x="6343" y="24939"/>
                      <a:pt x="1" y="24939"/>
                    </a:cubicBezTo>
                    <a:lnTo>
                      <a:pt x="1" y="28995"/>
                    </a:lnTo>
                    <a:cubicBezTo>
                      <a:pt x="8579" y="28995"/>
                      <a:pt x="15539" y="22035"/>
                      <a:pt x="15539" y="13457"/>
                    </a:cubicBezTo>
                    <a:cubicBezTo>
                      <a:pt x="15539" y="7707"/>
                      <a:pt x="12412" y="2685"/>
                      <a:pt x="776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2" name="Google Shape;702;p31"/>
              <p:cNvSpPr/>
              <p:nvPr/>
            </p:nvSpPr>
            <p:spPr>
              <a:xfrm>
                <a:off x="4394088" y="3909150"/>
                <a:ext cx="610448" cy="610566"/>
              </a:xfrm>
              <a:custGeom>
                <a:avLst/>
                <a:gdLst/>
                <a:ahLst/>
                <a:cxnLst/>
                <a:rect l="l" t="t" r="r" b="b"/>
                <a:pathLst>
                  <a:path w="15535" h="15538" extrusionOk="0">
                    <a:moveTo>
                      <a:pt x="0" y="0"/>
                    </a:moveTo>
                    <a:cubicBezTo>
                      <a:pt x="0" y="4117"/>
                      <a:pt x="1641" y="8076"/>
                      <a:pt x="4551" y="10984"/>
                    </a:cubicBezTo>
                    <a:cubicBezTo>
                      <a:pt x="7462" y="13894"/>
                      <a:pt x="11418" y="15538"/>
                      <a:pt x="15535" y="15538"/>
                    </a:cubicBezTo>
                    <a:lnTo>
                      <a:pt x="15535" y="11482"/>
                    </a:lnTo>
                    <a:cubicBezTo>
                      <a:pt x="9196" y="11482"/>
                      <a:pt x="4053" y="6342"/>
                      <a:pt x="4053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3" name="Google Shape;703;p31"/>
              <p:cNvSpPr/>
              <p:nvPr/>
            </p:nvSpPr>
            <p:spPr>
              <a:xfrm>
                <a:off x="4394088" y="3299519"/>
                <a:ext cx="915691" cy="609662"/>
              </a:xfrm>
              <a:custGeom>
                <a:avLst/>
                <a:gdLst/>
                <a:ahLst/>
                <a:cxnLst/>
                <a:rect l="l" t="t" r="r" b="b"/>
                <a:pathLst>
                  <a:path w="23303" h="15515" extrusionOk="0">
                    <a:moveTo>
                      <a:pt x="15601" y="0"/>
                    </a:moveTo>
                    <a:cubicBezTo>
                      <a:pt x="10214" y="0"/>
                      <a:pt x="4947" y="2787"/>
                      <a:pt x="2078" y="7750"/>
                    </a:cubicBezTo>
                    <a:cubicBezTo>
                      <a:pt x="721" y="10104"/>
                      <a:pt x="0" y="12790"/>
                      <a:pt x="0" y="15514"/>
                    </a:cubicBezTo>
                    <a:lnTo>
                      <a:pt x="4053" y="15514"/>
                    </a:lnTo>
                    <a:cubicBezTo>
                      <a:pt x="4053" y="9168"/>
                      <a:pt x="9196" y="4031"/>
                      <a:pt x="15535" y="4031"/>
                    </a:cubicBezTo>
                    <a:cubicBezTo>
                      <a:pt x="17627" y="4031"/>
                      <a:pt x="19590" y="4588"/>
                      <a:pt x="21274" y="5572"/>
                    </a:cubicBezTo>
                    <a:lnTo>
                      <a:pt x="23302" y="2058"/>
                    </a:lnTo>
                    <a:cubicBezTo>
                      <a:pt x="20882" y="662"/>
                      <a:pt x="18227" y="0"/>
                      <a:pt x="1560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04" name="Google Shape;704;p31"/>
            <p:cNvSpPr/>
            <p:nvPr/>
          </p:nvSpPr>
          <p:spPr>
            <a:xfrm>
              <a:off x="4670099" y="3237152"/>
              <a:ext cx="2593" cy="5973"/>
            </a:xfrm>
            <a:custGeom>
              <a:avLst/>
              <a:gdLst/>
              <a:ahLst/>
              <a:cxnLst/>
              <a:rect l="l" t="t" r="r" b="b"/>
              <a:pathLst>
                <a:path w="66" h="152" extrusionOk="0">
                  <a:moveTo>
                    <a:pt x="65" y="1"/>
                  </a:moveTo>
                  <a:cubicBezTo>
                    <a:pt x="54" y="1"/>
                    <a:pt x="40" y="4"/>
                    <a:pt x="29" y="12"/>
                  </a:cubicBezTo>
                  <a:cubicBezTo>
                    <a:pt x="4" y="30"/>
                    <a:pt x="0" y="65"/>
                    <a:pt x="19" y="90"/>
                  </a:cubicBezTo>
                  <a:cubicBezTo>
                    <a:pt x="32" y="112"/>
                    <a:pt x="50" y="130"/>
                    <a:pt x="65" y="152"/>
                  </a:cubicBezTo>
                  <a:lnTo>
                    <a:pt x="6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" name="Google Shape;705;p31"/>
            <p:cNvSpPr/>
            <p:nvPr/>
          </p:nvSpPr>
          <p:spPr>
            <a:xfrm>
              <a:off x="8052890" y="3127164"/>
              <a:ext cx="2554" cy="4951"/>
            </a:xfrm>
            <a:custGeom>
              <a:avLst/>
              <a:gdLst/>
              <a:ahLst/>
              <a:cxnLst/>
              <a:rect l="l" t="t" r="r" b="b"/>
              <a:pathLst>
                <a:path w="65" h="126" extrusionOk="0">
                  <a:moveTo>
                    <a:pt x="0" y="0"/>
                  </a:moveTo>
                  <a:lnTo>
                    <a:pt x="0" y="126"/>
                  </a:lnTo>
                  <a:cubicBezTo>
                    <a:pt x="18" y="126"/>
                    <a:pt x="36" y="116"/>
                    <a:pt x="47" y="98"/>
                  </a:cubicBezTo>
                  <a:cubicBezTo>
                    <a:pt x="65" y="73"/>
                    <a:pt x="58" y="36"/>
                    <a:pt x="29" y="18"/>
                  </a:cubicBezTo>
                  <a:cubicBezTo>
                    <a:pt x="18" y="15"/>
                    <a:pt x="11" y="8"/>
                    <a:pt x="0" y="0"/>
                  </a:cubicBezTo>
                  <a:close/>
                </a:path>
              </a:pathLst>
            </a:custGeom>
            <a:solidFill>
              <a:srgbClr val="FEFE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" name="Google Shape;706;p31"/>
            <p:cNvSpPr/>
            <p:nvPr/>
          </p:nvSpPr>
          <p:spPr>
            <a:xfrm>
              <a:off x="4670099" y="2168078"/>
              <a:ext cx="2593" cy="4833"/>
            </a:xfrm>
            <a:custGeom>
              <a:avLst/>
              <a:gdLst/>
              <a:ahLst/>
              <a:cxnLst/>
              <a:rect l="l" t="t" r="r" b="b"/>
              <a:pathLst>
                <a:path w="66" h="123" extrusionOk="0">
                  <a:moveTo>
                    <a:pt x="65" y="0"/>
                  </a:moveTo>
                  <a:cubicBezTo>
                    <a:pt x="54" y="4"/>
                    <a:pt x="47" y="7"/>
                    <a:pt x="37" y="15"/>
                  </a:cubicBezTo>
                  <a:cubicBezTo>
                    <a:pt x="11" y="29"/>
                    <a:pt x="0" y="65"/>
                    <a:pt x="15" y="90"/>
                  </a:cubicBezTo>
                  <a:cubicBezTo>
                    <a:pt x="25" y="111"/>
                    <a:pt x="44" y="122"/>
                    <a:pt x="65" y="122"/>
                  </a:cubicBezTo>
                  <a:lnTo>
                    <a:pt x="65" y="0"/>
                  </a:lnTo>
                  <a:close/>
                </a:path>
              </a:pathLst>
            </a:custGeom>
            <a:solidFill>
              <a:srgbClr val="D6E4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" name="Google Shape;707;p31"/>
            <p:cNvSpPr/>
            <p:nvPr/>
          </p:nvSpPr>
          <p:spPr>
            <a:xfrm>
              <a:off x="8052890" y="2518830"/>
              <a:ext cx="2554" cy="5973"/>
            </a:xfrm>
            <a:custGeom>
              <a:avLst/>
              <a:gdLst/>
              <a:ahLst/>
              <a:cxnLst/>
              <a:rect l="l" t="t" r="r" b="b"/>
              <a:pathLst>
                <a:path w="65" h="152" extrusionOk="0">
                  <a:moveTo>
                    <a:pt x="0" y="0"/>
                  </a:moveTo>
                  <a:lnTo>
                    <a:pt x="0" y="151"/>
                  </a:lnTo>
                  <a:cubicBezTo>
                    <a:pt x="15" y="134"/>
                    <a:pt x="29" y="112"/>
                    <a:pt x="43" y="94"/>
                  </a:cubicBezTo>
                  <a:cubicBezTo>
                    <a:pt x="65" y="69"/>
                    <a:pt x="58" y="33"/>
                    <a:pt x="36" y="15"/>
                  </a:cubicBezTo>
                  <a:cubicBezTo>
                    <a:pt x="25" y="8"/>
                    <a:pt x="11" y="0"/>
                    <a:pt x="0" y="0"/>
                  </a:cubicBezTo>
                  <a:close/>
                </a:path>
              </a:pathLst>
            </a:custGeom>
            <a:solidFill>
              <a:srgbClr val="CCD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708" name="Google Shape;708;p31"/>
            <p:cNvGrpSpPr/>
            <p:nvPr/>
          </p:nvGrpSpPr>
          <p:grpSpPr>
            <a:xfrm>
              <a:off x="4710406" y="1665960"/>
              <a:ext cx="3380414" cy="2313100"/>
              <a:chOff x="4710406" y="1815485"/>
              <a:chExt cx="3380414" cy="2313100"/>
            </a:xfrm>
          </p:grpSpPr>
          <p:sp>
            <p:nvSpPr>
              <p:cNvPr id="709" name="Google Shape;709;p31"/>
              <p:cNvSpPr/>
              <p:nvPr/>
            </p:nvSpPr>
            <p:spPr>
              <a:xfrm>
                <a:off x="4710406" y="1815485"/>
                <a:ext cx="3380234" cy="2313100"/>
              </a:xfrm>
              <a:custGeom>
                <a:avLst/>
                <a:gdLst/>
                <a:ahLst/>
                <a:cxnLst/>
                <a:rect l="l" t="t" r="r" b="b"/>
                <a:pathLst>
                  <a:path w="86022" h="58865" extrusionOk="0">
                    <a:moveTo>
                      <a:pt x="2190" y="1"/>
                    </a:moveTo>
                    <a:cubicBezTo>
                      <a:pt x="987" y="1"/>
                      <a:pt x="0" y="983"/>
                      <a:pt x="0" y="2186"/>
                    </a:cubicBezTo>
                    <a:lnTo>
                      <a:pt x="0" y="56679"/>
                    </a:lnTo>
                    <a:cubicBezTo>
                      <a:pt x="0" y="57881"/>
                      <a:pt x="987" y="58865"/>
                      <a:pt x="2190" y="58865"/>
                    </a:cubicBezTo>
                    <a:lnTo>
                      <a:pt x="83832" y="58865"/>
                    </a:lnTo>
                    <a:cubicBezTo>
                      <a:pt x="85034" y="58865"/>
                      <a:pt x="86021" y="57881"/>
                      <a:pt x="86021" y="56679"/>
                    </a:cubicBezTo>
                    <a:lnTo>
                      <a:pt x="86021" y="2186"/>
                    </a:lnTo>
                    <a:cubicBezTo>
                      <a:pt x="86021" y="983"/>
                      <a:pt x="85034" y="1"/>
                      <a:pt x="83832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0" name="Google Shape;710;p31"/>
              <p:cNvSpPr/>
              <p:nvPr/>
            </p:nvSpPr>
            <p:spPr>
              <a:xfrm>
                <a:off x="4710425" y="2037750"/>
                <a:ext cx="3380234" cy="1927813"/>
              </a:xfrm>
              <a:custGeom>
                <a:avLst/>
                <a:gdLst/>
                <a:ahLst/>
                <a:cxnLst/>
                <a:rect l="l" t="t" r="r" b="b"/>
                <a:pathLst>
                  <a:path w="86022" h="49060" extrusionOk="0">
                    <a:moveTo>
                      <a:pt x="0" y="1"/>
                    </a:moveTo>
                    <a:lnTo>
                      <a:pt x="0" y="49059"/>
                    </a:lnTo>
                    <a:lnTo>
                      <a:pt x="86021" y="49059"/>
                    </a:lnTo>
                    <a:lnTo>
                      <a:pt x="86021" y="1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11" name="Google Shape;711;p31"/>
              <p:cNvGrpSpPr/>
              <p:nvPr/>
            </p:nvGrpSpPr>
            <p:grpSpPr>
              <a:xfrm>
                <a:off x="4710585" y="2281922"/>
                <a:ext cx="3380235" cy="1683652"/>
                <a:chOff x="4710585" y="2281922"/>
                <a:chExt cx="3380235" cy="1683652"/>
              </a:xfrm>
            </p:grpSpPr>
            <p:sp>
              <p:nvSpPr>
                <p:cNvPr id="712" name="Google Shape;712;p31"/>
                <p:cNvSpPr/>
                <p:nvPr/>
              </p:nvSpPr>
              <p:spPr>
                <a:xfrm>
                  <a:off x="4710585" y="3230006"/>
                  <a:ext cx="3380234" cy="447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022" h="11383" extrusionOk="0">
                      <a:moveTo>
                        <a:pt x="84485" y="464"/>
                      </a:moveTo>
                      <a:lnTo>
                        <a:pt x="84485" y="582"/>
                      </a:lnTo>
                      <a:cubicBezTo>
                        <a:pt x="85006" y="769"/>
                        <a:pt x="85512" y="1009"/>
                        <a:pt x="85989" y="1304"/>
                      </a:cubicBezTo>
                      <a:cubicBezTo>
                        <a:pt x="86000" y="1311"/>
                        <a:pt x="86011" y="1314"/>
                        <a:pt x="86021" y="1314"/>
                      </a:cubicBezTo>
                      <a:lnTo>
                        <a:pt x="86021" y="1188"/>
                      </a:lnTo>
                      <a:cubicBezTo>
                        <a:pt x="85534" y="890"/>
                        <a:pt x="85017" y="650"/>
                        <a:pt x="84485" y="464"/>
                      </a:cubicBezTo>
                      <a:close/>
                      <a:moveTo>
                        <a:pt x="0" y="3988"/>
                      </a:moveTo>
                      <a:lnTo>
                        <a:pt x="0" y="4139"/>
                      </a:lnTo>
                      <a:cubicBezTo>
                        <a:pt x="467" y="4760"/>
                        <a:pt x="980" y="5348"/>
                        <a:pt x="1536" y="5898"/>
                      </a:cubicBezTo>
                      <a:lnTo>
                        <a:pt x="1536" y="5740"/>
                      </a:lnTo>
                      <a:cubicBezTo>
                        <a:pt x="994" y="5194"/>
                        <a:pt x="499" y="4620"/>
                        <a:pt x="47" y="4009"/>
                      </a:cubicBezTo>
                      <a:cubicBezTo>
                        <a:pt x="36" y="3996"/>
                        <a:pt x="18" y="3988"/>
                        <a:pt x="0" y="3988"/>
                      </a:cubicBezTo>
                      <a:close/>
                      <a:moveTo>
                        <a:pt x="81772" y="0"/>
                      </a:moveTo>
                      <a:cubicBezTo>
                        <a:pt x="80738" y="0"/>
                        <a:pt x="79708" y="201"/>
                        <a:pt x="78764" y="603"/>
                      </a:cubicBezTo>
                      <a:cubicBezTo>
                        <a:pt x="77540" y="1131"/>
                        <a:pt x="76470" y="1971"/>
                        <a:pt x="75437" y="2785"/>
                      </a:cubicBezTo>
                      <a:cubicBezTo>
                        <a:pt x="74690" y="3375"/>
                        <a:pt x="73918" y="3984"/>
                        <a:pt x="73093" y="4469"/>
                      </a:cubicBezTo>
                      <a:cubicBezTo>
                        <a:pt x="71201" y="5578"/>
                        <a:pt x="68918" y="6128"/>
                        <a:pt x="66183" y="6128"/>
                      </a:cubicBezTo>
                      <a:cubicBezTo>
                        <a:pt x="64687" y="6128"/>
                        <a:pt x="63054" y="5966"/>
                        <a:pt x="61276" y="5636"/>
                      </a:cubicBezTo>
                      <a:cubicBezTo>
                        <a:pt x="59949" y="5388"/>
                        <a:pt x="58603" y="5076"/>
                        <a:pt x="57304" y="4774"/>
                      </a:cubicBezTo>
                      <a:cubicBezTo>
                        <a:pt x="54662" y="4160"/>
                        <a:pt x="51930" y="3525"/>
                        <a:pt x="49203" y="3418"/>
                      </a:cubicBezTo>
                      <a:cubicBezTo>
                        <a:pt x="48911" y="3406"/>
                        <a:pt x="48625" y="3399"/>
                        <a:pt x="48337" y="3399"/>
                      </a:cubicBezTo>
                      <a:cubicBezTo>
                        <a:pt x="46183" y="3399"/>
                        <a:pt x="44066" y="3711"/>
                        <a:pt x="41980" y="4207"/>
                      </a:cubicBezTo>
                      <a:lnTo>
                        <a:pt x="41980" y="4326"/>
                      </a:lnTo>
                      <a:cubicBezTo>
                        <a:pt x="44066" y="3827"/>
                        <a:pt x="46183" y="3514"/>
                        <a:pt x="48337" y="3514"/>
                      </a:cubicBezTo>
                      <a:cubicBezTo>
                        <a:pt x="48625" y="3514"/>
                        <a:pt x="48911" y="3518"/>
                        <a:pt x="49195" y="3532"/>
                      </a:cubicBezTo>
                      <a:cubicBezTo>
                        <a:pt x="51916" y="3636"/>
                        <a:pt x="54640" y="4271"/>
                        <a:pt x="57274" y="4885"/>
                      </a:cubicBezTo>
                      <a:cubicBezTo>
                        <a:pt x="58578" y="5187"/>
                        <a:pt x="59927" y="5499"/>
                        <a:pt x="61255" y="5747"/>
                      </a:cubicBezTo>
                      <a:cubicBezTo>
                        <a:pt x="63039" y="6077"/>
                        <a:pt x="64679" y="6242"/>
                        <a:pt x="66183" y="6242"/>
                      </a:cubicBezTo>
                      <a:cubicBezTo>
                        <a:pt x="68940" y="6242"/>
                        <a:pt x="71241" y="5686"/>
                        <a:pt x="73151" y="4566"/>
                      </a:cubicBezTo>
                      <a:cubicBezTo>
                        <a:pt x="73983" y="4077"/>
                        <a:pt x="74758" y="3468"/>
                        <a:pt x="75508" y="2876"/>
                      </a:cubicBezTo>
                      <a:cubicBezTo>
                        <a:pt x="76535" y="2064"/>
                        <a:pt x="77597" y="1228"/>
                        <a:pt x="78810" y="708"/>
                      </a:cubicBezTo>
                      <a:cubicBezTo>
                        <a:pt x="79740" y="309"/>
                        <a:pt x="80753" y="115"/>
                        <a:pt x="81772" y="115"/>
                      </a:cubicBezTo>
                      <a:cubicBezTo>
                        <a:pt x="82648" y="115"/>
                        <a:pt x="83531" y="259"/>
                        <a:pt x="84371" y="542"/>
                      </a:cubicBezTo>
                      <a:lnTo>
                        <a:pt x="84371" y="424"/>
                      </a:lnTo>
                      <a:cubicBezTo>
                        <a:pt x="83531" y="144"/>
                        <a:pt x="82648" y="0"/>
                        <a:pt x="81772" y="0"/>
                      </a:cubicBezTo>
                      <a:close/>
                      <a:moveTo>
                        <a:pt x="37756" y="5439"/>
                      </a:moveTo>
                      <a:cubicBezTo>
                        <a:pt x="36091" y="5994"/>
                        <a:pt x="34446" y="6619"/>
                        <a:pt x="32817" y="7233"/>
                      </a:cubicBezTo>
                      <a:cubicBezTo>
                        <a:pt x="31177" y="7854"/>
                        <a:pt x="29483" y="8497"/>
                        <a:pt x="27806" y="9057"/>
                      </a:cubicBezTo>
                      <a:cubicBezTo>
                        <a:pt x="23360" y="10546"/>
                        <a:pt x="19530" y="11267"/>
                        <a:pt x="15983" y="11267"/>
                      </a:cubicBezTo>
                      <a:cubicBezTo>
                        <a:pt x="15014" y="11267"/>
                        <a:pt x="14066" y="11214"/>
                        <a:pt x="13137" y="11106"/>
                      </a:cubicBezTo>
                      <a:cubicBezTo>
                        <a:pt x="8614" y="10589"/>
                        <a:pt x="4551" y="8708"/>
                        <a:pt x="1651" y="5851"/>
                      </a:cubicBezTo>
                      <a:lnTo>
                        <a:pt x="1651" y="6009"/>
                      </a:lnTo>
                      <a:cubicBezTo>
                        <a:pt x="4562" y="8841"/>
                        <a:pt x="8618" y="10704"/>
                        <a:pt x="13122" y="11220"/>
                      </a:cubicBezTo>
                      <a:cubicBezTo>
                        <a:pt x="14060" y="11328"/>
                        <a:pt x="15011" y="11382"/>
                        <a:pt x="15983" y="11382"/>
                      </a:cubicBezTo>
                      <a:cubicBezTo>
                        <a:pt x="19540" y="11382"/>
                        <a:pt x="23381" y="10657"/>
                        <a:pt x="27843" y="9164"/>
                      </a:cubicBezTo>
                      <a:cubicBezTo>
                        <a:pt x="29522" y="8604"/>
                        <a:pt x="31216" y="7962"/>
                        <a:pt x="32860" y="7341"/>
                      </a:cubicBezTo>
                      <a:cubicBezTo>
                        <a:pt x="34472" y="6731"/>
                        <a:pt x="36105" y="6113"/>
                        <a:pt x="37756" y="5557"/>
                      </a:cubicBezTo>
                      <a:lnTo>
                        <a:pt x="37756" y="5439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13" name="Google Shape;713;p31"/>
                <p:cNvGrpSpPr/>
                <p:nvPr/>
              </p:nvGrpSpPr>
              <p:grpSpPr>
                <a:xfrm>
                  <a:off x="4710585" y="2281922"/>
                  <a:ext cx="3380235" cy="634850"/>
                  <a:chOff x="4672653" y="2281922"/>
                  <a:chExt cx="3380235" cy="634850"/>
                </a:xfrm>
              </p:grpSpPr>
              <p:sp>
                <p:nvSpPr>
                  <p:cNvPr id="714" name="Google Shape;714;p31"/>
                  <p:cNvSpPr/>
                  <p:nvPr/>
                </p:nvSpPr>
                <p:spPr>
                  <a:xfrm>
                    <a:off x="4672653" y="2293200"/>
                    <a:ext cx="60514" cy="29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40" h="744" extrusionOk="0">
                        <a:moveTo>
                          <a:pt x="1539" y="0"/>
                        </a:moveTo>
                        <a:lnTo>
                          <a:pt x="1539" y="0"/>
                        </a:lnTo>
                        <a:cubicBezTo>
                          <a:pt x="1005" y="151"/>
                          <a:pt x="489" y="356"/>
                          <a:pt x="0" y="621"/>
                        </a:cubicBezTo>
                        <a:lnTo>
                          <a:pt x="0" y="743"/>
                        </a:lnTo>
                        <a:cubicBezTo>
                          <a:pt x="7" y="743"/>
                          <a:pt x="18" y="739"/>
                          <a:pt x="25" y="736"/>
                        </a:cubicBezTo>
                        <a:cubicBezTo>
                          <a:pt x="506" y="474"/>
                          <a:pt x="1012" y="270"/>
                          <a:pt x="1536" y="119"/>
                        </a:cubicBezTo>
                        <a:cubicBezTo>
                          <a:pt x="1536" y="79"/>
                          <a:pt x="1539" y="40"/>
                          <a:pt x="1539" y="0"/>
                        </a:cubicBezTo>
                        <a:close/>
                      </a:path>
                    </a:pathLst>
                  </a:custGeom>
                  <a:solidFill>
                    <a:schemeClr val="accent3"/>
                  </a:solidFill>
                  <a:ln w="9525" cap="flat" cmpd="sng">
                    <a:solidFill>
                      <a:schemeClr val="accent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15" name="Google Shape;715;p31"/>
                  <p:cNvSpPr/>
                  <p:nvPr/>
                </p:nvSpPr>
                <p:spPr>
                  <a:xfrm>
                    <a:off x="4737530" y="2281922"/>
                    <a:ext cx="3315358" cy="6348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4371" h="16156" extrusionOk="0">
                        <a:moveTo>
                          <a:pt x="84370" y="9834"/>
                        </a:moveTo>
                        <a:cubicBezTo>
                          <a:pt x="84352" y="9834"/>
                          <a:pt x="84335" y="9842"/>
                          <a:pt x="84324" y="9856"/>
                        </a:cubicBezTo>
                        <a:cubicBezTo>
                          <a:pt x="83871" y="10434"/>
                          <a:pt x="83373" y="10976"/>
                          <a:pt x="82834" y="11482"/>
                        </a:cubicBezTo>
                        <a:lnTo>
                          <a:pt x="82834" y="11636"/>
                        </a:lnTo>
                        <a:cubicBezTo>
                          <a:pt x="83391" y="11123"/>
                          <a:pt x="83904" y="10574"/>
                          <a:pt x="84370" y="9985"/>
                        </a:cubicBezTo>
                        <a:lnTo>
                          <a:pt x="84370" y="9834"/>
                        </a:lnTo>
                        <a:close/>
                        <a:moveTo>
                          <a:pt x="2021" y="0"/>
                        </a:moveTo>
                        <a:cubicBezTo>
                          <a:pt x="1339" y="0"/>
                          <a:pt x="660" y="86"/>
                          <a:pt x="4" y="255"/>
                        </a:cubicBezTo>
                        <a:cubicBezTo>
                          <a:pt x="4" y="298"/>
                          <a:pt x="0" y="334"/>
                          <a:pt x="0" y="377"/>
                        </a:cubicBezTo>
                        <a:cubicBezTo>
                          <a:pt x="657" y="201"/>
                          <a:pt x="1339" y="111"/>
                          <a:pt x="2025" y="111"/>
                        </a:cubicBezTo>
                        <a:cubicBezTo>
                          <a:pt x="3234" y="111"/>
                          <a:pt x="4454" y="388"/>
                          <a:pt x="5557" y="940"/>
                        </a:cubicBezTo>
                        <a:cubicBezTo>
                          <a:pt x="6770" y="1547"/>
                          <a:pt x="7832" y="2459"/>
                          <a:pt x="8862" y="3342"/>
                        </a:cubicBezTo>
                        <a:cubicBezTo>
                          <a:pt x="9609" y="3988"/>
                          <a:pt x="10388" y="4652"/>
                          <a:pt x="11216" y="5201"/>
                        </a:cubicBezTo>
                        <a:cubicBezTo>
                          <a:pt x="13482" y="6690"/>
                          <a:pt x="16307" y="7427"/>
                          <a:pt x="19784" y="7427"/>
                        </a:cubicBezTo>
                        <a:cubicBezTo>
                          <a:pt x="20833" y="7427"/>
                          <a:pt x="21938" y="7362"/>
                          <a:pt x="23108" y="7229"/>
                        </a:cubicBezTo>
                        <a:cubicBezTo>
                          <a:pt x="24439" y="7078"/>
                          <a:pt x="25786" y="6859"/>
                          <a:pt x="27088" y="6651"/>
                        </a:cubicBezTo>
                        <a:cubicBezTo>
                          <a:pt x="29497" y="6259"/>
                          <a:pt x="31977" y="5861"/>
                          <a:pt x="34461" y="5861"/>
                        </a:cubicBezTo>
                        <a:lnTo>
                          <a:pt x="34777" y="5861"/>
                        </a:lnTo>
                        <a:cubicBezTo>
                          <a:pt x="34953" y="5840"/>
                          <a:pt x="35129" y="5825"/>
                          <a:pt x="35305" y="5825"/>
                        </a:cubicBezTo>
                        <a:cubicBezTo>
                          <a:pt x="35595" y="5825"/>
                          <a:pt x="35883" y="5858"/>
                          <a:pt x="36173" y="5926"/>
                        </a:cubicBezTo>
                        <a:cubicBezTo>
                          <a:pt x="41485" y="6342"/>
                          <a:pt x="46575" y="8628"/>
                          <a:pt x="51506" y="10847"/>
                        </a:cubicBezTo>
                        <a:cubicBezTo>
                          <a:pt x="53147" y="11587"/>
                          <a:pt x="54845" y="12347"/>
                          <a:pt x="56521" y="13029"/>
                        </a:cubicBezTo>
                        <a:cubicBezTo>
                          <a:pt x="61751" y="15150"/>
                          <a:pt x="66126" y="16156"/>
                          <a:pt x="70189" y="16156"/>
                        </a:cubicBezTo>
                        <a:cubicBezTo>
                          <a:pt x="70544" y="16156"/>
                          <a:pt x="70892" y="16149"/>
                          <a:pt x="71245" y="16134"/>
                        </a:cubicBezTo>
                        <a:cubicBezTo>
                          <a:pt x="75749" y="15937"/>
                          <a:pt x="79805" y="14365"/>
                          <a:pt x="82720" y="11741"/>
                        </a:cubicBezTo>
                        <a:lnTo>
                          <a:pt x="82720" y="11587"/>
                        </a:lnTo>
                        <a:cubicBezTo>
                          <a:pt x="79819" y="14235"/>
                          <a:pt x="75759" y="15826"/>
                          <a:pt x="71237" y="16019"/>
                        </a:cubicBezTo>
                        <a:cubicBezTo>
                          <a:pt x="70889" y="16033"/>
                          <a:pt x="70541" y="16041"/>
                          <a:pt x="70189" y="16041"/>
                        </a:cubicBezTo>
                        <a:cubicBezTo>
                          <a:pt x="66141" y="16041"/>
                          <a:pt x="61776" y="15039"/>
                          <a:pt x="56564" y="12925"/>
                        </a:cubicBezTo>
                        <a:cubicBezTo>
                          <a:pt x="54891" y="12243"/>
                          <a:pt x="53194" y="11482"/>
                          <a:pt x="51553" y="10743"/>
                        </a:cubicBezTo>
                        <a:cubicBezTo>
                          <a:pt x="46303" y="8381"/>
                          <a:pt x="40871" y="5941"/>
                          <a:pt x="35172" y="5757"/>
                        </a:cubicBezTo>
                        <a:cubicBezTo>
                          <a:pt x="34935" y="5750"/>
                          <a:pt x="34698" y="5747"/>
                          <a:pt x="34461" y="5747"/>
                        </a:cubicBezTo>
                        <a:cubicBezTo>
                          <a:pt x="31970" y="5747"/>
                          <a:pt x="29483" y="6148"/>
                          <a:pt x="27071" y="6536"/>
                        </a:cubicBezTo>
                        <a:cubicBezTo>
                          <a:pt x="25771" y="6748"/>
                          <a:pt x="24426" y="6963"/>
                          <a:pt x="23097" y="7114"/>
                        </a:cubicBezTo>
                        <a:cubicBezTo>
                          <a:pt x="21931" y="7247"/>
                          <a:pt x="20829" y="7315"/>
                          <a:pt x="19784" y="7315"/>
                        </a:cubicBezTo>
                        <a:cubicBezTo>
                          <a:pt x="16328" y="7315"/>
                          <a:pt x="13525" y="6582"/>
                          <a:pt x="11281" y="5104"/>
                        </a:cubicBezTo>
                        <a:cubicBezTo>
                          <a:pt x="10456" y="4562"/>
                          <a:pt x="9680" y="3898"/>
                          <a:pt x="8934" y="3256"/>
                        </a:cubicBezTo>
                        <a:cubicBezTo>
                          <a:pt x="7900" y="2369"/>
                          <a:pt x="6831" y="1450"/>
                          <a:pt x="5607" y="837"/>
                        </a:cubicBezTo>
                        <a:cubicBezTo>
                          <a:pt x="4487" y="277"/>
                          <a:pt x="3252" y="0"/>
                          <a:pt x="2021" y="0"/>
                        </a:cubicBezTo>
                        <a:close/>
                      </a:path>
                    </a:pathLst>
                  </a:custGeom>
                  <a:solidFill>
                    <a:schemeClr val="accent3"/>
                  </a:solidFill>
                  <a:ln w="9525" cap="flat" cmpd="sng">
                    <a:solidFill>
                      <a:schemeClr val="accent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716" name="Google Shape;716;p31"/>
                <p:cNvSpPr/>
                <p:nvPr/>
              </p:nvSpPr>
              <p:spPr>
                <a:xfrm>
                  <a:off x="4921590" y="3223954"/>
                  <a:ext cx="166021" cy="7416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5" h="18873" extrusionOk="0">
                      <a:moveTo>
                        <a:pt x="0" y="0"/>
                      </a:moveTo>
                      <a:lnTo>
                        <a:pt x="0" y="18872"/>
                      </a:lnTo>
                      <a:lnTo>
                        <a:pt x="4225" y="18872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17" name="Google Shape;717;p31"/>
                <p:cNvSpPr/>
                <p:nvPr/>
              </p:nvSpPr>
              <p:spPr>
                <a:xfrm>
                  <a:off x="5168405" y="3072588"/>
                  <a:ext cx="166179" cy="8929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9" h="22725" extrusionOk="0">
                      <a:moveTo>
                        <a:pt x="1" y="1"/>
                      </a:moveTo>
                      <a:lnTo>
                        <a:pt x="1" y="22724"/>
                      </a:lnTo>
                      <a:lnTo>
                        <a:pt x="4229" y="22724"/>
                      </a:lnTo>
                      <a:lnTo>
                        <a:pt x="4229" y="1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18" name="Google Shape;718;p31"/>
                <p:cNvSpPr/>
                <p:nvPr/>
              </p:nvSpPr>
              <p:spPr>
                <a:xfrm>
                  <a:off x="5415377" y="2923933"/>
                  <a:ext cx="166179" cy="1041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9" h="26508" extrusionOk="0">
                      <a:moveTo>
                        <a:pt x="1" y="0"/>
                      </a:moveTo>
                      <a:lnTo>
                        <a:pt x="1" y="26507"/>
                      </a:lnTo>
                      <a:lnTo>
                        <a:pt x="4229" y="26507"/>
                      </a:lnTo>
                      <a:lnTo>
                        <a:pt x="4229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19" name="Google Shape;719;p31"/>
                <p:cNvSpPr/>
                <p:nvPr/>
              </p:nvSpPr>
              <p:spPr>
                <a:xfrm>
                  <a:off x="5662310" y="2741719"/>
                  <a:ext cx="166100" cy="1223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7" h="31145" extrusionOk="0">
                      <a:moveTo>
                        <a:pt x="1" y="0"/>
                      </a:moveTo>
                      <a:lnTo>
                        <a:pt x="1" y="31144"/>
                      </a:lnTo>
                      <a:lnTo>
                        <a:pt x="4226" y="31144"/>
                      </a:lnTo>
                      <a:lnTo>
                        <a:pt x="4226" y="0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0" name="Google Shape;720;p31"/>
                <p:cNvSpPr/>
                <p:nvPr/>
              </p:nvSpPr>
              <p:spPr>
                <a:xfrm>
                  <a:off x="5909282" y="3001659"/>
                  <a:ext cx="166061" cy="96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24530" extrusionOk="0">
                      <a:moveTo>
                        <a:pt x="1" y="0"/>
                      </a:moveTo>
                      <a:lnTo>
                        <a:pt x="1" y="24529"/>
                      </a:lnTo>
                      <a:lnTo>
                        <a:pt x="4225" y="24529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1" name="Google Shape;721;p31"/>
                <p:cNvSpPr/>
                <p:nvPr/>
              </p:nvSpPr>
              <p:spPr>
                <a:xfrm>
                  <a:off x="6156254" y="2640416"/>
                  <a:ext cx="166061" cy="13251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33723" extrusionOk="0">
                      <a:moveTo>
                        <a:pt x="1" y="1"/>
                      </a:moveTo>
                      <a:lnTo>
                        <a:pt x="1" y="33722"/>
                      </a:lnTo>
                      <a:lnTo>
                        <a:pt x="4225" y="33722"/>
                      </a:lnTo>
                      <a:lnTo>
                        <a:pt x="4225" y="1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2" name="Google Shape;722;p31"/>
                <p:cNvSpPr/>
                <p:nvPr/>
              </p:nvSpPr>
              <p:spPr>
                <a:xfrm>
                  <a:off x="6403226" y="3091489"/>
                  <a:ext cx="166061" cy="8740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22244" extrusionOk="0">
                      <a:moveTo>
                        <a:pt x="1" y="0"/>
                      </a:moveTo>
                      <a:lnTo>
                        <a:pt x="1" y="22243"/>
                      </a:lnTo>
                      <a:lnTo>
                        <a:pt x="4225" y="22243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3" name="Google Shape;723;p31"/>
                <p:cNvSpPr/>
                <p:nvPr/>
              </p:nvSpPr>
              <p:spPr>
                <a:xfrm>
                  <a:off x="6650080" y="2798266"/>
                  <a:ext cx="166179" cy="11672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9" h="29706" extrusionOk="0">
                      <a:moveTo>
                        <a:pt x="0" y="1"/>
                      </a:moveTo>
                      <a:lnTo>
                        <a:pt x="0" y="29705"/>
                      </a:lnTo>
                      <a:lnTo>
                        <a:pt x="4228" y="29705"/>
                      </a:lnTo>
                      <a:lnTo>
                        <a:pt x="4228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4" name="Google Shape;724;p31"/>
                <p:cNvSpPr/>
                <p:nvPr/>
              </p:nvSpPr>
              <p:spPr>
                <a:xfrm>
                  <a:off x="6897013" y="3673574"/>
                  <a:ext cx="166218" cy="292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0" h="7431" extrusionOk="0">
                      <a:moveTo>
                        <a:pt x="1" y="1"/>
                      </a:moveTo>
                      <a:lnTo>
                        <a:pt x="1" y="7430"/>
                      </a:lnTo>
                      <a:lnTo>
                        <a:pt x="4229" y="7430"/>
                      </a:lnTo>
                      <a:lnTo>
                        <a:pt x="4229" y="1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1"/>
                <p:cNvSpPr/>
                <p:nvPr/>
              </p:nvSpPr>
              <p:spPr>
                <a:xfrm>
                  <a:off x="7143985" y="2724901"/>
                  <a:ext cx="166061" cy="124066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31573" extrusionOk="0">
                      <a:moveTo>
                        <a:pt x="1" y="1"/>
                      </a:moveTo>
                      <a:lnTo>
                        <a:pt x="1" y="31572"/>
                      </a:lnTo>
                      <a:lnTo>
                        <a:pt x="4225" y="31572"/>
                      </a:lnTo>
                      <a:lnTo>
                        <a:pt x="4225" y="1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1"/>
                <p:cNvSpPr/>
                <p:nvPr/>
              </p:nvSpPr>
              <p:spPr>
                <a:xfrm>
                  <a:off x="7390957" y="2381065"/>
                  <a:ext cx="166061" cy="15844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40323" extrusionOk="0">
                      <a:moveTo>
                        <a:pt x="1" y="0"/>
                      </a:moveTo>
                      <a:lnTo>
                        <a:pt x="1" y="40322"/>
                      </a:lnTo>
                      <a:lnTo>
                        <a:pt x="4225" y="40322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1"/>
                <p:cNvSpPr/>
                <p:nvPr/>
              </p:nvSpPr>
              <p:spPr>
                <a:xfrm>
                  <a:off x="7637929" y="3115184"/>
                  <a:ext cx="166061" cy="850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21641" extrusionOk="0">
                      <a:moveTo>
                        <a:pt x="1" y="0"/>
                      </a:moveTo>
                      <a:lnTo>
                        <a:pt x="1" y="21640"/>
                      </a:lnTo>
                      <a:lnTo>
                        <a:pt x="4225" y="21640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8" name="Google Shape;728;p31"/>
            <p:cNvGrpSpPr/>
            <p:nvPr/>
          </p:nvGrpSpPr>
          <p:grpSpPr>
            <a:xfrm>
              <a:off x="5262046" y="2085203"/>
              <a:ext cx="1054922" cy="2623643"/>
              <a:chOff x="5262046" y="2234728"/>
              <a:chExt cx="1054922" cy="2623643"/>
            </a:xfrm>
          </p:grpSpPr>
          <p:sp>
            <p:nvSpPr>
              <p:cNvPr id="729" name="Google Shape;729;p31"/>
              <p:cNvSpPr/>
              <p:nvPr/>
            </p:nvSpPr>
            <p:spPr>
              <a:xfrm>
                <a:off x="6104070" y="2510819"/>
                <a:ext cx="54895" cy="4008"/>
              </a:xfrm>
              <a:custGeom>
                <a:avLst/>
                <a:gdLst/>
                <a:ahLst/>
                <a:cxnLst/>
                <a:rect l="l" t="t" r="r" b="b"/>
                <a:pathLst>
                  <a:path w="1397" h="102" extrusionOk="0">
                    <a:moveTo>
                      <a:pt x="529" y="0"/>
                    </a:moveTo>
                    <a:cubicBezTo>
                      <a:pt x="353" y="0"/>
                      <a:pt x="177" y="15"/>
                      <a:pt x="1" y="36"/>
                    </a:cubicBezTo>
                    <a:cubicBezTo>
                      <a:pt x="134" y="40"/>
                      <a:pt x="263" y="43"/>
                      <a:pt x="393" y="47"/>
                    </a:cubicBezTo>
                    <a:cubicBezTo>
                      <a:pt x="729" y="58"/>
                      <a:pt x="1064" y="76"/>
                      <a:pt x="1397" y="101"/>
                    </a:cubicBezTo>
                    <a:cubicBezTo>
                      <a:pt x="1107" y="33"/>
                      <a:pt x="819" y="0"/>
                      <a:pt x="529" y="0"/>
                    </a:cubicBezTo>
                    <a:close/>
                  </a:path>
                </a:pathLst>
              </a:custGeom>
              <a:solidFill>
                <a:srgbClr val="C2D6F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0" name="Google Shape;730;p31"/>
              <p:cNvSpPr/>
              <p:nvPr/>
            </p:nvSpPr>
            <p:spPr>
              <a:xfrm>
                <a:off x="6266871" y="2618410"/>
                <a:ext cx="157" cy="236"/>
              </a:xfrm>
              <a:custGeom>
                <a:avLst/>
                <a:gdLst/>
                <a:ahLst/>
                <a:cxnLst/>
                <a:rect l="l" t="t" r="r" b="b"/>
                <a:pathLst>
                  <a:path w="4" h="6" extrusionOk="0">
                    <a:moveTo>
                      <a:pt x="0" y="1"/>
                    </a:moveTo>
                    <a:cubicBezTo>
                      <a:pt x="0" y="5"/>
                      <a:pt x="4" y="5"/>
                      <a:pt x="4" y="5"/>
                    </a:cubicBezTo>
                    <a:cubicBezTo>
                      <a:pt x="4" y="5"/>
                      <a:pt x="0" y="5"/>
                      <a:pt x="0" y="1"/>
                    </a:cubicBezTo>
                    <a:close/>
                  </a:path>
                </a:pathLst>
              </a:custGeom>
              <a:solidFill>
                <a:srgbClr val="99BDF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1" name="Google Shape;731;p31"/>
              <p:cNvSpPr/>
              <p:nvPr/>
            </p:nvSpPr>
            <p:spPr>
              <a:xfrm>
                <a:off x="5977067" y="2638333"/>
                <a:ext cx="3340" cy="49826"/>
              </a:xfrm>
              <a:custGeom>
                <a:avLst/>
                <a:gdLst/>
                <a:ahLst/>
                <a:cxnLst/>
                <a:rect l="l" t="t" r="r" b="b"/>
                <a:pathLst>
                  <a:path w="85" h="1268" extrusionOk="0">
                    <a:moveTo>
                      <a:pt x="42" y="0"/>
                    </a:moveTo>
                    <a:cubicBezTo>
                      <a:pt x="9" y="244"/>
                      <a:pt x="1" y="487"/>
                      <a:pt x="15" y="728"/>
                    </a:cubicBezTo>
                    <a:lnTo>
                      <a:pt x="15" y="728"/>
                    </a:lnTo>
                    <a:cubicBezTo>
                      <a:pt x="2" y="487"/>
                      <a:pt x="11" y="243"/>
                      <a:pt x="45" y="0"/>
                    </a:cubicBezTo>
                    <a:close/>
                    <a:moveTo>
                      <a:pt x="15" y="728"/>
                    </a:moveTo>
                    <a:lnTo>
                      <a:pt x="15" y="728"/>
                    </a:lnTo>
                    <a:cubicBezTo>
                      <a:pt x="26" y="910"/>
                      <a:pt x="49" y="1091"/>
                      <a:pt x="85" y="1267"/>
                    </a:cubicBezTo>
                    <a:cubicBezTo>
                      <a:pt x="75" y="1213"/>
                      <a:pt x="63" y="1156"/>
                      <a:pt x="56" y="1099"/>
                    </a:cubicBezTo>
                    <a:cubicBezTo>
                      <a:pt x="37" y="976"/>
                      <a:pt x="23" y="852"/>
                      <a:pt x="15" y="728"/>
                    </a:cubicBezTo>
                    <a:close/>
                  </a:path>
                </a:pathLst>
              </a:custGeom>
              <a:solidFill>
                <a:srgbClr val="E6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2" name="Google Shape;732;p31"/>
              <p:cNvSpPr/>
              <p:nvPr/>
            </p:nvSpPr>
            <p:spPr>
              <a:xfrm>
                <a:off x="5988698" y="2715077"/>
                <a:ext cx="39099" cy="54306"/>
              </a:xfrm>
              <a:custGeom>
                <a:avLst/>
                <a:gdLst/>
                <a:ahLst/>
                <a:cxnLst/>
                <a:rect l="l" t="t" r="r" b="b"/>
                <a:pathLst>
                  <a:path w="995" h="1382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220" y="527"/>
                      <a:pt x="557" y="1001"/>
                      <a:pt x="995" y="1382"/>
                    </a:cubicBezTo>
                    <a:cubicBezTo>
                      <a:pt x="561" y="1001"/>
                      <a:pt x="220" y="524"/>
                      <a:pt x="1" y="0"/>
                    </a:cubicBezTo>
                    <a:close/>
                  </a:path>
                </a:pathLst>
              </a:custGeom>
              <a:solidFill>
                <a:srgbClr val="E6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3" name="Google Shape;733;p31"/>
              <p:cNvSpPr/>
              <p:nvPr/>
            </p:nvSpPr>
            <p:spPr>
              <a:xfrm>
                <a:off x="5965592" y="2784355"/>
                <a:ext cx="125548" cy="256714"/>
              </a:xfrm>
              <a:custGeom>
                <a:avLst/>
                <a:gdLst/>
                <a:ahLst/>
                <a:cxnLst/>
                <a:rect l="l" t="t" r="r" b="b"/>
                <a:pathLst>
                  <a:path w="3195" h="6533" extrusionOk="0">
                    <a:moveTo>
                      <a:pt x="2729" y="0"/>
                    </a:moveTo>
                    <a:cubicBezTo>
                      <a:pt x="2573" y="0"/>
                      <a:pt x="2423" y="83"/>
                      <a:pt x="2344" y="229"/>
                    </a:cubicBezTo>
                    <a:cubicBezTo>
                      <a:pt x="1838" y="1169"/>
                      <a:pt x="1414" y="2139"/>
                      <a:pt x="1001" y="3115"/>
                    </a:cubicBezTo>
                    <a:cubicBezTo>
                      <a:pt x="804" y="3606"/>
                      <a:pt x="600" y="4091"/>
                      <a:pt x="417" y="4590"/>
                    </a:cubicBezTo>
                    <a:lnTo>
                      <a:pt x="137" y="5329"/>
                    </a:lnTo>
                    <a:cubicBezTo>
                      <a:pt x="44" y="5577"/>
                      <a:pt x="0" y="5843"/>
                      <a:pt x="173" y="6187"/>
                    </a:cubicBezTo>
                    <a:cubicBezTo>
                      <a:pt x="284" y="6404"/>
                      <a:pt x="505" y="6533"/>
                      <a:pt x="736" y="6533"/>
                    </a:cubicBezTo>
                    <a:cubicBezTo>
                      <a:pt x="819" y="6533"/>
                      <a:pt x="903" y="6516"/>
                      <a:pt x="983" y="6481"/>
                    </a:cubicBezTo>
                    <a:cubicBezTo>
                      <a:pt x="1339" y="6330"/>
                      <a:pt x="1475" y="6101"/>
                      <a:pt x="1561" y="5850"/>
                    </a:cubicBezTo>
                    <a:lnTo>
                      <a:pt x="1823" y="5103"/>
                    </a:lnTo>
                    <a:cubicBezTo>
                      <a:pt x="2007" y="4604"/>
                      <a:pt x="2161" y="4098"/>
                      <a:pt x="2326" y="3595"/>
                    </a:cubicBezTo>
                    <a:cubicBezTo>
                      <a:pt x="2638" y="2587"/>
                      <a:pt x="2936" y="1571"/>
                      <a:pt x="3155" y="523"/>
                    </a:cubicBezTo>
                    <a:cubicBezTo>
                      <a:pt x="3195" y="340"/>
                      <a:pt x="3108" y="146"/>
                      <a:pt x="2936" y="53"/>
                    </a:cubicBezTo>
                    <a:cubicBezTo>
                      <a:pt x="2870" y="17"/>
                      <a:pt x="2799" y="0"/>
                      <a:pt x="27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4" name="Google Shape;734;p31"/>
              <p:cNvSpPr/>
              <p:nvPr/>
            </p:nvSpPr>
            <p:spPr>
              <a:xfrm>
                <a:off x="5288021" y="2719557"/>
                <a:ext cx="227950" cy="308348"/>
              </a:xfrm>
              <a:custGeom>
                <a:avLst/>
                <a:gdLst/>
                <a:ahLst/>
                <a:cxnLst/>
                <a:rect l="l" t="t" r="r" b="b"/>
                <a:pathLst>
                  <a:path w="5801" h="7847" extrusionOk="0">
                    <a:moveTo>
                      <a:pt x="2024" y="1"/>
                    </a:moveTo>
                    <a:cubicBezTo>
                      <a:pt x="1928" y="130"/>
                      <a:pt x="1863" y="223"/>
                      <a:pt x="1788" y="331"/>
                    </a:cubicBezTo>
                    <a:cubicBezTo>
                      <a:pt x="1716" y="438"/>
                      <a:pt x="1648" y="543"/>
                      <a:pt x="1579" y="650"/>
                    </a:cubicBezTo>
                    <a:cubicBezTo>
                      <a:pt x="1446" y="866"/>
                      <a:pt x="1321" y="1081"/>
                      <a:pt x="1203" y="1303"/>
                    </a:cubicBezTo>
                    <a:cubicBezTo>
                      <a:pt x="966" y="1745"/>
                      <a:pt x="761" y="2204"/>
                      <a:pt x="582" y="2678"/>
                    </a:cubicBezTo>
                    <a:cubicBezTo>
                      <a:pt x="227" y="3626"/>
                      <a:pt x="0" y="4652"/>
                      <a:pt x="15" y="5718"/>
                    </a:cubicBezTo>
                    <a:cubicBezTo>
                      <a:pt x="15" y="5822"/>
                      <a:pt x="18" y="6049"/>
                      <a:pt x="68" y="6256"/>
                    </a:cubicBezTo>
                    <a:cubicBezTo>
                      <a:pt x="115" y="6465"/>
                      <a:pt x="205" y="6680"/>
                      <a:pt x="330" y="6864"/>
                    </a:cubicBezTo>
                    <a:cubicBezTo>
                      <a:pt x="585" y="7240"/>
                      <a:pt x="933" y="7452"/>
                      <a:pt x="1235" y="7578"/>
                    </a:cubicBezTo>
                    <a:cubicBezTo>
                      <a:pt x="1544" y="7707"/>
                      <a:pt x="1831" y="7768"/>
                      <a:pt x="2104" y="7804"/>
                    </a:cubicBezTo>
                    <a:cubicBezTo>
                      <a:pt x="2380" y="7840"/>
                      <a:pt x="2642" y="7847"/>
                      <a:pt x="2901" y="7847"/>
                    </a:cubicBezTo>
                    <a:cubicBezTo>
                      <a:pt x="3927" y="7822"/>
                      <a:pt x="4860" y="7628"/>
                      <a:pt x="5800" y="7341"/>
                    </a:cubicBezTo>
                    <a:lnTo>
                      <a:pt x="5603" y="6397"/>
                    </a:lnTo>
                    <a:cubicBezTo>
                      <a:pt x="5166" y="6423"/>
                      <a:pt x="4720" y="6442"/>
                      <a:pt x="4281" y="6442"/>
                    </a:cubicBezTo>
                    <a:cubicBezTo>
                      <a:pt x="3831" y="6442"/>
                      <a:pt x="3389" y="6422"/>
                      <a:pt x="2972" y="6372"/>
                    </a:cubicBezTo>
                    <a:cubicBezTo>
                      <a:pt x="2563" y="6325"/>
                      <a:pt x="2161" y="6225"/>
                      <a:pt x="1928" y="6092"/>
                    </a:cubicBezTo>
                    <a:cubicBezTo>
                      <a:pt x="1809" y="6024"/>
                      <a:pt x="1763" y="5959"/>
                      <a:pt x="1769" y="5938"/>
                    </a:cubicBezTo>
                    <a:lnTo>
                      <a:pt x="1773" y="5905"/>
                    </a:lnTo>
                    <a:lnTo>
                      <a:pt x="1784" y="5754"/>
                    </a:lnTo>
                    <a:cubicBezTo>
                      <a:pt x="1834" y="4961"/>
                      <a:pt x="2061" y="4157"/>
                      <a:pt x="2376" y="3382"/>
                    </a:cubicBezTo>
                    <a:cubicBezTo>
                      <a:pt x="2538" y="2991"/>
                      <a:pt x="2728" y="2610"/>
                      <a:pt x="2929" y="2237"/>
                    </a:cubicBezTo>
                    <a:cubicBezTo>
                      <a:pt x="3030" y="2050"/>
                      <a:pt x="3137" y="1863"/>
                      <a:pt x="3249" y="1684"/>
                    </a:cubicBezTo>
                    <a:lnTo>
                      <a:pt x="3417" y="1419"/>
                    </a:lnTo>
                    <a:cubicBezTo>
                      <a:pt x="3471" y="1336"/>
                      <a:pt x="3539" y="1235"/>
                      <a:pt x="3578" y="1178"/>
                    </a:cubicBezTo>
                    <a:lnTo>
                      <a:pt x="2024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1"/>
              <p:cNvSpPr/>
              <p:nvPr/>
            </p:nvSpPr>
            <p:spPr>
              <a:xfrm>
                <a:off x="5297766" y="2639787"/>
                <a:ext cx="193528" cy="199147"/>
              </a:xfrm>
              <a:custGeom>
                <a:avLst/>
                <a:gdLst/>
                <a:ahLst/>
                <a:cxnLst/>
                <a:rect l="l" t="t" r="r" b="b"/>
                <a:pathLst>
                  <a:path w="4925" h="5068" extrusionOk="0">
                    <a:moveTo>
                      <a:pt x="2971" y="1"/>
                    </a:moveTo>
                    <a:cubicBezTo>
                      <a:pt x="2873" y="1"/>
                      <a:pt x="2766" y="14"/>
                      <a:pt x="2649" y="43"/>
                    </a:cubicBezTo>
                    <a:cubicBezTo>
                      <a:pt x="1863" y="236"/>
                      <a:pt x="0" y="3338"/>
                      <a:pt x="0" y="3338"/>
                    </a:cubicBezTo>
                    <a:lnTo>
                      <a:pt x="4174" y="5067"/>
                    </a:lnTo>
                    <a:cubicBezTo>
                      <a:pt x="4174" y="5067"/>
                      <a:pt x="4924" y="2705"/>
                      <a:pt x="4454" y="1761"/>
                    </a:cubicBezTo>
                    <a:cubicBezTo>
                      <a:pt x="4017" y="883"/>
                      <a:pt x="3772" y="1"/>
                      <a:pt x="2971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1"/>
              <p:cNvSpPr/>
              <p:nvPr/>
            </p:nvSpPr>
            <p:spPr>
              <a:xfrm>
                <a:off x="5488310" y="2958906"/>
                <a:ext cx="102442" cy="63068"/>
              </a:xfrm>
              <a:custGeom>
                <a:avLst/>
                <a:gdLst/>
                <a:ahLst/>
                <a:cxnLst/>
                <a:rect l="l" t="t" r="r" b="b"/>
                <a:pathLst>
                  <a:path w="2607" h="1605" extrusionOk="0">
                    <a:moveTo>
                      <a:pt x="2606" y="1"/>
                    </a:moveTo>
                    <a:lnTo>
                      <a:pt x="696" y="202"/>
                    </a:lnTo>
                    <a:lnTo>
                      <a:pt x="0" y="765"/>
                    </a:lnTo>
                    <a:cubicBezTo>
                      <a:pt x="312" y="1494"/>
                      <a:pt x="1533" y="1605"/>
                      <a:pt x="1533" y="1605"/>
                    </a:cubicBezTo>
                    <a:lnTo>
                      <a:pt x="2606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1"/>
              <p:cNvSpPr/>
              <p:nvPr/>
            </p:nvSpPr>
            <p:spPr>
              <a:xfrm>
                <a:off x="5548510" y="2958906"/>
                <a:ext cx="95801" cy="96076"/>
              </a:xfrm>
              <a:custGeom>
                <a:avLst/>
                <a:gdLst/>
                <a:ahLst/>
                <a:cxnLst/>
                <a:rect l="l" t="t" r="r" b="b"/>
                <a:pathLst>
                  <a:path w="2438" h="2445" extrusionOk="0">
                    <a:moveTo>
                      <a:pt x="1074" y="1"/>
                    </a:moveTo>
                    <a:lnTo>
                      <a:pt x="1" y="1605"/>
                    </a:lnTo>
                    <a:lnTo>
                      <a:pt x="970" y="2445"/>
                    </a:lnTo>
                    <a:lnTo>
                      <a:pt x="2438" y="851"/>
                    </a:lnTo>
                    <a:lnTo>
                      <a:pt x="1074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1"/>
              <p:cNvSpPr/>
              <p:nvPr/>
            </p:nvSpPr>
            <p:spPr>
              <a:xfrm>
                <a:off x="5395494" y="4767365"/>
                <a:ext cx="39099" cy="18940"/>
              </a:xfrm>
              <a:custGeom>
                <a:avLst/>
                <a:gdLst/>
                <a:ahLst/>
                <a:cxnLst/>
                <a:rect l="l" t="t" r="r" b="b"/>
                <a:pathLst>
                  <a:path w="995" h="482" extrusionOk="0">
                    <a:moveTo>
                      <a:pt x="796" y="88"/>
                    </a:moveTo>
                    <a:cubicBezTo>
                      <a:pt x="818" y="88"/>
                      <a:pt x="836" y="91"/>
                      <a:pt x="851" y="98"/>
                    </a:cubicBezTo>
                    <a:cubicBezTo>
                      <a:pt x="865" y="105"/>
                      <a:pt x="883" y="119"/>
                      <a:pt x="890" y="159"/>
                    </a:cubicBezTo>
                    <a:cubicBezTo>
                      <a:pt x="901" y="227"/>
                      <a:pt x="887" y="281"/>
                      <a:pt x="843" y="316"/>
                    </a:cubicBezTo>
                    <a:cubicBezTo>
                      <a:pt x="789" y="368"/>
                      <a:pt x="685" y="393"/>
                      <a:pt x="545" y="393"/>
                    </a:cubicBezTo>
                    <a:cubicBezTo>
                      <a:pt x="438" y="393"/>
                      <a:pt x="310" y="378"/>
                      <a:pt x="166" y="349"/>
                    </a:cubicBezTo>
                    <a:cubicBezTo>
                      <a:pt x="372" y="227"/>
                      <a:pt x="650" y="88"/>
                      <a:pt x="796" y="88"/>
                    </a:cubicBezTo>
                    <a:close/>
                    <a:moveTo>
                      <a:pt x="792" y="1"/>
                    </a:moveTo>
                    <a:cubicBezTo>
                      <a:pt x="533" y="1"/>
                      <a:pt x="82" y="297"/>
                      <a:pt x="25" y="334"/>
                    </a:cubicBezTo>
                    <a:cubicBezTo>
                      <a:pt x="11" y="342"/>
                      <a:pt x="0" y="359"/>
                      <a:pt x="4" y="378"/>
                    </a:cubicBezTo>
                    <a:cubicBezTo>
                      <a:pt x="7" y="396"/>
                      <a:pt x="22" y="410"/>
                      <a:pt x="40" y="414"/>
                    </a:cubicBezTo>
                    <a:cubicBezTo>
                      <a:pt x="172" y="446"/>
                      <a:pt x="366" y="482"/>
                      <a:pt x="542" y="482"/>
                    </a:cubicBezTo>
                    <a:cubicBezTo>
                      <a:pt x="689" y="482"/>
                      <a:pt x="825" y="457"/>
                      <a:pt x="905" y="385"/>
                    </a:cubicBezTo>
                    <a:cubicBezTo>
                      <a:pt x="969" y="328"/>
                      <a:pt x="994" y="245"/>
                      <a:pt x="980" y="144"/>
                    </a:cubicBezTo>
                    <a:cubicBezTo>
                      <a:pt x="969" y="69"/>
                      <a:pt x="923" y="33"/>
                      <a:pt x="887" y="19"/>
                    </a:cubicBezTo>
                    <a:cubicBezTo>
                      <a:pt x="860" y="7"/>
                      <a:pt x="828" y="1"/>
                      <a:pt x="792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9" name="Google Shape;739;p31"/>
              <p:cNvSpPr/>
              <p:nvPr/>
            </p:nvSpPr>
            <p:spPr>
              <a:xfrm>
                <a:off x="5395612" y="4749799"/>
                <a:ext cx="23341" cy="33990"/>
              </a:xfrm>
              <a:custGeom>
                <a:avLst/>
                <a:gdLst/>
                <a:ahLst/>
                <a:cxnLst/>
                <a:rect l="l" t="t" r="r" b="b"/>
                <a:pathLst>
                  <a:path w="594" h="865" extrusionOk="0">
                    <a:moveTo>
                      <a:pt x="385" y="92"/>
                    </a:moveTo>
                    <a:cubicBezTo>
                      <a:pt x="446" y="100"/>
                      <a:pt x="456" y="125"/>
                      <a:pt x="461" y="147"/>
                    </a:cubicBezTo>
                    <a:cubicBezTo>
                      <a:pt x="489" y="279"/>
                      <a:pt x="274" y="588"/>
                      <a:pt x="94" y="731"/>
                    </a:cubicBezTo>
                    <a:cubicBezTo>
                      <a:pt x="101" y="548"/>
                      <a:pt x="144" y="240"/>
                      <a:pt x="267" y="132"/>
                    </a:cubicBezTo>
                    <a:cubicBezTo>
                      <a:pt x="295" y="103"/>
                      <a:pt x="327" y="92"/>
                      <a:pt x="367" y="92"/>
                    </a:cubicBezTo>
                    <a:close/>
                    <a:moveTo>
                      <a:pt x="361" y="0"/>
                    </a:moveTo>
                    <a:cubicBezTo>
                      <a:pt x="303" y="0"/>
                      <a:pt x="250" y="22"/>
                      <a:pt x="206" y="64"/>
                    </a:cubicBezTo>
                    <a:cubicBezTo>
                      <a:pt x="1" y="246"/>
                      <a:pt x="1" y="796"/>
                      <a:pt x="1" y="818"/>
                    </a:cubicBezTo>
                    <a:cubicBezTo>
                      <a:pt x="1" y="836"/>
                      <a:pt x="12" y="849"/>
                      <a:pt x="22" y="857"/>
                    </a:cubicBezTo>
                    <a:cubicBezTo>
                      <a:pt x="30" y="861"/>
                      <a:pt x="37" y="864"/>
                      <a:pt x="47" y="864"/>
                    </a:cubicBezTo>
                    <a:cubicBezTo>
                      <a:pt x="55" y="864"/>
                      <a:pt x="62" y="861"/>
                      <a:pt x="69" y="857"/>
                    </a:cubicBezTo>
                    <a:cubicBezTo>
                      <a:pt x="249" y="756"/>
                      <a:pt x="593" y="344"/>
                      <a:pt x="550" y="128"/>
                    </a:cubicBezTo>
                    <a:cubicBezTo>
                      <a:pt x="542" y="89"/>
                      <a:pt x="511" y="17"/>
                      <a:pt x="396" y="3"/>
                    </a:cubicBezTo>
                    <a:cubicBezTo>
                      <a:pt x="384" y="1"/>
                      <a:pt x="373" y="0"/>
                      <a:pt x="36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0" name="Google Shape;740;p31"/>
              <p:cNvSpPr/>
              <p:nvPr/>
            </p:nvSpPr>
            <p:spPr>
              <a:xfrm>
                <a:off x="5732413" y="4767404"/>
                <a:ext cx="46722" cy="19058"/>
              </a:xfrm>
              <a:custGeom>
                <a:avLst/>
                <a:gdLst/>
                <a:ahLst/>
                <a:cxnLst/>
                <a:rect l="l" t="t" r="r" b="b"/>
                <a:pathLst>
                  <a:path w="1189" h="485" extrusionOk="0">
                    <a:moveTo>
                      <a:pt x="977" y="88"/>
                    </a:moveTo>
                    <a:cubicBezTo>
                      <a:pt x="1011" y="88"/>
                      <a:pt x="1039" y="93"/>
                      <a:pt x="1060" y="104"/>
                    </a:cubicBezTo>
                    <a:cubicBezTo>
                      <a:pt x="1081" y="115"/>
                      <a:pt x="1089" y="129"/>
                      <a:pt x="1092" y="154"/>
                    </a:cubicBezTo>
                    <a:cubicBezTo>
                      <a:pt x="1099" y="215"/>
                      <a:pt x="1081" y="262"/>
                      <a:pt x="1042" y="298"/>
                    </a:cubicBezTo>
                    <a:cubicBezTo>
                      <a:pt x="973" y="361"/>
                      <a:pt x="830" y="392"/>
                      <a:pt x="634" y="392"/>
                    </a:cubicBezTo>
                    <a:cubicBezTo>
                      <a:pt x="506" y="392"/>
                      <a:pt x="356" y="378"/>
                      <a:pt x="188" y="352"/>
                    </a:cubicBezTo>
                    <a:cubicBezTo>
                      <a:pt x="449" y="225"/>
                      <a:pt x="798" y="88"/>
                      <a:pt x="977" y="88"/>
                    </a:cubicBezTo>
                    <a:close/>
                    <a:moveTo>
                      <a:pt x="979" y="0"/>
                    </a:moveTo>
                    <a:cubicBezTo>
                      <a:pt x="673" y="0"/>
                      <a:pt x="100" y="293"/>
                      <a:pt x="26" y="330"/>
                    </a:cubicBezTo>
                    <a:cubicBezTo>
                      <a:pt x="12" y="341"/>
                      <a:pt x="1" y="358"/>
                      <a:pt x="4" y="377"/>
                    </a:cubicBezTo>
                    <a:cubicBezTo>
                      <a:pt x="4" y="395"/>
                      <a:pt x="19" y="409"/>
                      <a:pt x="40" y="416"/>
                    </a:cubicBezTo>
                    <a:cubicBezTo>
                      <a:pt x="202" y="449"/>
                      <a:pt x="428" y="484"/>
                      <a:pt x="640" y="484"/>
                    </a:cubicBezTo>
                    <a:cubicBezTo>
                      <a:pt x="830" y="484"/>
                      <a:pt x="1003" y="452"/>
                      <a:pt x="1103" y="366"/>
                    </a:cubicBezTo>
                    <a:cubicBezTo>
                      <a:pt x="1164" y="308"/>
                      <a:pt x="1189" y="237"/>
                      <a:pt x="1182" y="143"/>
                    </a:cubicBezTo>
                    <a:cubicBezTo>
                      <a:pt x="1175" y="93"/>
                      <a:pt x="1150" y="50"/>
                      <a:pt x="1103" y="25"/>
                    </a:cubicBezTo>
                    <a:cubicBezTo>
                      <a:pt x="1070" y="8"/>
                      <a:pt x="1028" y="0"/>
                      <a:pt x="979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1"/>
              <p:cNvSpPr/>
              <p:nvPr/>
            </p:nvSpPr>
            <p:spPr>
              <a:xfrm>
                <a:off x="5732413" y="4749799"/>
                <a:ext cx="29118" cy="33990"/>
              </a:xfrm>
              <a:custGeom>
                <a:avLst/>
                <a:gdLst/>
                <a:ahLst/>
                <a:cxnLst/>
                <a:rect l="l" t="t" r="r" b="b"/>
                <a:pathLst>
                  <a:path w="741" h="865" extrusionOk="0">
                    <a:moveTo>
                      <a:pt x="525" y="92"/>
                    </a:moveTo>
                    <a:cubicBezTo>
                      <a:pt x="607" y="100"/>
                      <a:pt x="612" y="135"/>
                      <a:pt x="615" y="147"/>
                    </a:cubicBezTo>
                    <a:cubicBezTo>
                      <a:pt x="637" y="276"/>
                      <a:pt x="332" y="599"/>
                      <a:pt x="102" y="738"/>
                    </a:cubicBezTo>
                    <a:cubicBezTo>
                      <a:pt x="123" y="588"/>
                      <a:pt x="184" y="279"/>
                      <a:pt x="342" y="150"/>
                    </a:cubicBezTo>
                    <a:cubicBezTo>
                      <a:pt x="389" y="110"/>
                      <a:pt x="439" y="92"/>
                      <a:pt x="496" y="92"/>
                    </a:cubicBezTo>
                    <a:close/>
                    <a:moveTo>
                      <a:pt x="496" y="1"/>
                    </a:moveTo>
                    <a:cubicBezTo>
                      <a:pt x="420" y="1"/>
                      <a:pt x="347" y="29"/>
                      <a:pt x="284" y="82"/>
                    </a:cubicBezTo>
                    <a:cubicBezTo>
                      <a:pt x="44" y="279"/>
                      <a:pt x="4" y="793"/>
                      <a:pt x="4" y="814"/>
                    </a:cubicBezTo>
                    <a:cubicBezTo>
                      <a:pt x="1" y="832"/>
                      <a:pt x="9" y="846"/>
                      <a:pt x="22" y="857"/>
                    </a:cubicBezTo>
                    <a:cubicBezTo>
                      <a:pt x="30" y="861"/>
                      <a:pt x="40" y="864"/>
                      <a:pt x="47" y="864"/>
                    </a:cubicBezTo>
                    <a:cubicBezTo>
                      <a:pt x="55" y="864"/>
                      <a:pt x="62" y="861"/>
                      <a:pt x="65" y="861"/>
                    </a:cubicBezTo>
                    <a:cubicBezTo>
                      <a:pt x="299" y="753"/>
                      <a:pt x="741" y="351"/>
                      <a:pt x="705" y="132"/>
                    </a:cubicBezTo>
                    <a:cubicBezTo>
                      <a:pt x="693" y="78"/>
                      <a:pt x="658" y="14"/>
                      <a:pt x="532" y="3"/>
                    </a:cubicBezTo>
                    <a:cubicBezTo>
                      <a:pt x="520" y="1"/>
                      <a:pt x="508" y="1"/>
                      <a:pt x="496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2" name="Google Shape;742;p31"/>
              <p:cNvSpPr/>
              <p:nvPr/>
            </p:nvSpPr>
            <p:spPr>
              <a:xfrm>
                <a:off x="5530867" y="2460324"/>
                <a:ext cx="185944" cy="209207"/>
              </a:xfrm>
              <a:custGeom>
                <a:avLst/>
                <a:gdLst/>
                <a:ahLst/>
                <a:cxnLst/>
                <a:rect l="l" t="t" r="r" b="b"/>
                <a:pathLst>
                  <a:path w="4732" h="5324" extrusionOk="0">
                    <a:moveTo>
                      <a:pt x="44" y="1"/>
                    </a:moveTo>
                    <a:lnTo>
                      <a:pt x="44" y="1"/>
                    </a:lnTo>
                    <a:cubicBezTo>
                      <a:pt x="274" y="1131"/>
                      <a:pt x="787" y="3421"/>
                      <a:pt x="1" y="4179"/>
                    </a:cubicBezTo>
                    <a:cubicBezTo>
                      <a:pt x="1" y="4179"/>
                      <a:pt x="320" y="5324"/>
                      <a:pt x="2420" y="5324"/>
                    </a:cubicBezTo>
                    <a:cubicBezTo>
                      <a:pt x="4732" y="5324"/>
                      <a:pt x="3518" y="4179"/>
                      <a:pt x="3518" y="4179"/>
                    </a:cubicBezTo>
                    <a:cubicBezTo>
                      <a:pt x="2255" y="3877"/>
                      <a:pt x="2280" y="2940"/>
                      <a:pt x="2496" y="2061"/>
                    </a:cubicBezTo>
                    <a:lnTo>
                      <a:pt x="44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3" name="Google Shape;743;p31"/>
              <p:cNvSpPr/>
              <p:nvPr/>
            </p:nvSpPr>
            <p:spPr>
              <a:xfrm>
                <a:off x="5716066" y="2364954"/>
                <a:ext cx="35444" cy="16268"/>
              </a:xfrm>
              <a:custGeom>
                <a:avLst/>
                <a:gdLst/>
                <a:ahLst/>
                <a:cxnLst/>
                <a:rect l="l" t="t" r="r" b="b"/>
                <a:pathLst>
                  <a:path w="902" h="414" extrusionOk="0">
                    <a:moveTo>
                      <a:pt x="668" y="0"/>
                    </a:moveTo>
                    <a:cubicBezTo>
                      <a:pt x="514" y="0"/>
                      <a:pt x="268" y="41"/>
                      <a:pt x="37" y="256"/>
                    </a:cubicBezTo>
                    <a:cubicBezTo>
                      <a:pt x="1" y="291"/>
                      <a:pt x="1" y="349"/>
                      <a:pt x="33" y="385"/>
                    </a:cubicBezTo>
                    <a:cubicBezTo>
                      <a:pt x="51" y="403"/>
                      <a:pt x="76" y="414"/>
                      <a:pt x="102" y="414"/>
                    </a:cubicBezTo>
                    <a:cubicBezTo>
                      <a:pt x="123" y="414"/>
                      <a:pt x="145" y="407"/>
                      <a:pt x="162" y="389"/>
                    </a:cubicBezTo>
                    <a:cubicBezTo>
                      <a:pt x="349" y="213"/>
                      <a:pt x="548" y="181"/>
                      <a:pt x="669" y="181"/>
                    </a:cubicBezTo>
                    <a:cubicBezTo>
                      <a:pt x="733" y="181"/>
                      <a:pt x="774" y="190"/>
                      <a:pt x="780" y="192"/>
                    </a:cubicBezTo>
                    <a:cubicBezTo>
                      <a:pt x="786" y="193"/>
                      <a:pt x="793" y="194"/>
                      <a:pt x="800" y="194"/>
                    </a:cubicBezTo>
                    <a:cubicBezTo>
                      <a:pt x="842" y="194"/>
                      <a:pt x="879" y="167"/>
                      <a:pt x="891" y="127"/>
                    </a:cubicBezTo>
                    <a:cubicBezTo>
                      <a:pt x="902" y="76"/>
                      <a:pt x="873" y="26"/>
                      <a:pt x="823" y="16"/>
                    </a:cubicBezTo>
                    <a:cubicBezTo>
                      <a:pt x="817" y="14"/>
                      <a:pt x="758" y="0"/>
                      <a:pt x="66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1"/>
              <p:cNvSpPr/>
              <p:nvPr/>
            </p:nvSpPr>
            <p:spPr>
              <a:xfrm>
                <a:off x="5721292" y="2426884"/>
                <a:ext cx="21887" cy="44757"/>
              </a:xfrm>
              <a:custGeom>
                <a:avLst/>
                <a:gdLst/>
                <a:ahLst/>
                <a:cxnLst/>
                <a:rect l="l" t="t" r="r" b="b"/>
                <a:pathLst>
                  <a:path w="557" h="1139" extrusionOk="0">
                    <a:moveTo>
                      <a:pt x="244" y="1"/>
                    </a:moveTo>
                    <a:lnTo>
                      <a:pt x="0" y="1056"/>
                    </a:lnTo>
                    <a:cubicBezTo>
                      <a:pt x="0" y="1056"/>
                      <a:pt x="159" y="1139"/>
                      <a:pt x="336" y="1139"/>
                    </a:cubicBezTo>
                    <a:cubicBezTo>
                      <a:pt x="410" y="1139"/>
                      <a:pt x="487" y="1125"/>
                      <a:pt x="557" y="1084"/>
                    </a:cubicBezTo>
                    <a:cubicBezTo>
                      <a:pt x="348" y="705"/>
                      <a:pt x="244" y="1"/>
                      <a:pt x="244" y="1"/>
                    </a:cubicBezTo>
                    <a:close/>
                  </a:path>
                </a:pathLst>
              </a:custGeom>
              <a:solidFill>
                <a:srgbClr val="DE575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5" name="Google Shape;745;p31"/>
              <p:cNvSpPr/>
              <p:nvPr/>
            </p:nvSpPr>
            <p:spPr>
              <a:xfrm>
                <a:off x="5726637" y="2406332"/>
                <a:ext cx="16543" cy="21691"/>
              </a:xfrm>
              <a:custGeom>
                <a:avLst/>
                <a:gdLst/>
                <a:ahLst/>
                <a:cxnLst/>
                <a:rect l="l" t="t" r="r" b="b"/>
                <a:pathLst>
                  <a:path w="421" h="552" extrusionOk="0">
                    <a:moveTo>
                      <a:pt x="248" y="1"/>
                    </a:moveTo>
                    <a:cubicBezTo>
                      <a:pt x="159" y="1"/>
                      <a:pt x="66" y="99"/>
                      <a:pt x="33" y="233"/>
                    </a:cubicBezTo>
                    <a:cubicBezTo>
                      <a:pt x="1" y="384"/>
                      <a:pt x="51" y="524"/>
                      <a:pt x="148" y="549"/>
                    </a:cubicBezTo>
                    <a:cubicBezTo>
                      <a:pt x="156" y="551"/>
                      <a:pt x="165" y="552"/>
                      <a:pt x="174" y="552"/>
                    </a:cubicBezTo>
                    <a:cubicBezTo>
                      <a:pt x="264" y="552"/>
                      <a:pt x="356" y="453"/>
                      <a:pt x="388" y="320"/>
                    </a:cubicBezTo>
                    <a:cubicBezTo>
                      <a:pt x="421" y="169"/>
                      <a:pt x="371" y="28"/>
                      <a:pt x="274" y="3"/>
                    </a:cubicBezTo>
                    <a:cubicBezTo>
                      <a:pt x="265" y="2"/>
                      <a:pt x="257" y="1"/>
                      <a:pt x="248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6" name="Google Shape;746;p31"/>
              <p:cNvSpPr/>
              <p:nvPr/>
            </p:nvSpPr>
            <p:spPr>
              <a:xfrm>
                <a:off x="5735557" y="2405743"/>
                <a:ext cx="15129" cy="4401"/>
              </a:xfrm>
              <a:custGeom>
                <a:avLst/>
                <a:gdLst/>
                <a:ahLst/>
                <a:cxnLst/>
                <a:rect l="l" t="t" r="r" b="b"/>
                <a:pathLst>
                  <a:path w="385" h="112" extrusionOk="0">
                    <a:moveTo>
                      <a:pt x="384" y="0"/>
                    </a:moveTo>
                    <a:lnTo>
                      <a:pt x="0" y="18"/>
                    </a:lnTo>
                    <a:cubicBezTo>
                      <a:pt x="43" y="88"/>
                      <a:pt x="97" y="111"/>
                      <a:pt x="151" y="111"/>
                    </a:cubicBezTo>
                    <a:cubicBezTo>
                      <a:pt x="268" y="111"/>
                      <a:pt x="384" y="0"/>
                      <a:pt x="38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7" name="Google Shape;747;p31"/>
              <p:cNvSpPr/>
              <p:nvPr/>
            </p:nvSpPr>
            <p:spPr>
              <a:xfrm>
                <a:off x="5651897" y="4608414"/>
                <a:ext cx="78865" cy="173527"/>
              </a:xfrm>
              <a:custGeom>
                <a:avLst/>
                <a:gdLst/>
                <a:ahLst/>
                <a:cxnLst/>
                <a:rect l="l" t="t" r="r" b="b"/>
                <a:pathLst>
                  <a:path w="2007" h="4416" extrusionOk="0">
                    <a:moveTo>
                      <a:pt x="101" y="1"/>
                    </a:moveTo>
                    <a:lnTo>
                      <a:pt x="1" y="4416"/>
                    </a:lnTo>
                    <a:lnTo>
                      <a:pt x="1907" y="4416"/>
                    </a:lnTo>
                    <a:lnTo>
                      <a:pt x="2007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1"/>
              <p:cNvSpPr/>
              <p:nvPr/>
            </p:nvSpPr>
            <p:spPr>
              <a:xfrm>
                <a:off x="5311559" y="4608414"/>
                <a:ext cx="97923" cy="173527"/>
              </a:xfrm>
              <a:custGeom>
                <a:avLst/>
                <a:gdLst/>
                <a:ahLst/>
                <a:cxnLst/>
                <a:rect l="l" t="t" r="r" b="b"/>
                <a:pathLst>
                  <a:path w="2492" h="4416" extrusionOk="0">
                    <a:moveTo>
                      <a:pt x="586" y="1"/>
                    </a:moveTo>
                    <a:lnTo>
                      <a:pt x="1" y="4416"/>
                    </a:lnTo>
                    <a:lnTo>
                      <a:pt x="1906" y="4416"/>
                    </a:lnTo>
                    <a:lnTo>
                      <a:pt x="2492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9" name="Google Shape;749;p31"/>
              <p:cNvSpPr/>
              <p:nvPr/>
            </p:nvSpPr>
            <p:spPr>
              <a:xfrm>
                <a:off x="5290811" y="4773298"/>
                <a:ext cx="214001" cy="85074"/>
              </a:xfrm>
              <a:custGeom>
                <a:avLst/>
                <a:gdLst/>
                <a:ahLst/>
                <a:cxnLst/>
                <a:rect l="l" t="t" r="r" b="b"/>
                <a:pathLst>
                  <a:path w="5446" h="2165" extrusionOk="0">
                    <a:moveTo>
                      <a:pt x="410" y="1"/>
                    </a:moveTo>
                    <a:cubicBezTo>
                      <a:pt x="331" y="1"/>
                      <a:pt x="270" y="54"/>
                      <a:pt x="259" y="130"/>
                    </a:cubicBezTo>
                    <a:lnTo>
                      <a:pt x="26" y="1824"/>
                    </a:lnTo>
                    <a:cubicBezTo>
                      <a:pt x="1" y="1998"/>
                      <a:pt x="152" y="2161"/>
                      <a:pt x="329" y="2161"/>
                    </a:cubicBezTo>
                    <a:cubicBezTo>
                      <a:pt x="331" y="2161"/>
                      <a:pt x="333" y="2161"/>
                      <a:pt x="335" y="2161"/>
                    </a:cubicBezTo>
                    <a:cubicBezTo>
                      <a:pt x="1082" y="2151"/>
                      <a:pt x="1440" y="2108"/>
                      <a:pt x="2381" y="2108"/>
                    </a:cubicBezTo>
                    <a:cubicBezTo>
                      <a:pt x="2962" y="2108"/>
                      <a:pt x="3809" y="2165"/>
                      <a:pt x="4609" y="2165"/>
                    </a:cubicBezTo>
                    <a:cubicBezTo>
                      <a:pt x="5392" y="2165"/>
                      <a:pt x="5446" y="1376"/>
                      <a:pt x="5112" y="1303"/>
                    </a:cubicBezTo>
                    <a:cubicBezTo>
                      <a:pt x="3615" y="984"/>
                      <a:pt x="3378" y="539"/>
                      <a:pt x="2873" y="115"/>
                    </a:cubicBezTo>
                    <a:cubicBezTo>
                      <a:pt x="2779" y="40"/>
                      <a:pt x="2668" y="1"/>
                      <a:pt x="2553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0" name="Google Shape;750;p31"/>
              <p:cNvSpPr/>
              <p:nvPr/>
            </p:nvSpPr>
            <p:spPr>
              <a:xfrm>
                <a:off x="5629184" y="4773298"/>
                <a:ext cx="227675" cy="85074"/>
              </a:xfrm>
              <a:custGeom>
                <a:avLst/>
                <a:gdLst/>
                <a:ahLst/>
                <a:cxnLst/>
                <a:rect l="l" t="t" r="r" b="b"/>
                <a:pathLst>
                  <a:path w="5794" h="2165" extrusionOk="0">
                    <a:moveTo>
                      <a:pt x="406" y="1"/>
                    </a:moveTo>
                    <a:cubicBezTo>
                      <a:pt x="331" y="1"/>
                      <a:pt x="267" y="54"/>
                      <a:pt x="255" y="130"/>
                    </a:cubicBezTo>
                    <a:lnTo>
                      <a:pt x="22" y="1824"/>
                    </a:lnTo>
                    <a:cubicBezTo>
                      <a:pt x="1" y="1998"/>
                      <a:pt x="148" y="2161"/>
                      <a:pt x="326" y="2161"/>
                    </a:cubicBezTo>
                    <a:cubicBezTo>
                      <a:pt x="328" y="2161"/>
                      <a:pt x="329" y="2161"/>
                      <a:pt x="331" y="2161"/>
                    </a:cubicBezTo>
                    <a:cubicBezTo>
                      <a:pt x="1077" y="2151"/>
                      <a:pt x="1437" y="2108"/>
                      <a:pt x="2381" y="2108"/>
                    </a:cubicBezTo>
                    <a:cubicBezTo>
                      <a:pt x="2959" y="2108"/>
                      <a:pt x="4157" y="2165"/>
                      <a:pt x="4957" y="2165"/>
                    </a:cubicBezTo>
                    <a:cubicBezTo>
                      <a:pt x="5740" y="2165"/>
                      <a:pt x="5794" y="1376"/>
                      <a:pt x="5460" y="1303"/>
                    </a:cubicBezTo>
                    <a:cubicBezTo>
                      <a:pt x="3967" y="984"/>
                      <a:pt x="3375" y="539"/>
                      <a:pt x="2868" y="115"/>
                    </a:cubicBezTo>
                    <a:cubicBezTo>
                      <a:pt x="2779" y="40"/>
                      <a:pt x="2664" y="1"/>
                      <a:pt x="2549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1" name="Google Shape;751;p31"/>
              <p:cNvSpPr/>
              <p:nvPr/>
            </p:nvSpPr>
            <p:spPr>
              <a:xfrm>
                <a:off x="5653744" y="4608571"/>
                <a:ext cx="77018" cy="89475"/>
              </a:xfrm>
              <a:custGeom>
                <a:avLst/>
                <a:gdLst/>
                <a:ahLst/>
                <a:cxnLst/>
                <a:rect l="l" t="t" r="r" b="b"/>
                <a:pathLst>
                  <a:path w="1960" h="2277" extrusionOk="0">
                    <a:moveTo>
                      <a:pt x="51" y="0"/>
                    </a:moveTo>
                    <a:lnTo>
                      <a:pt x="0" y="2276"/>
                    </a:lnTo>
                    <a:lnTo>
                      <a:pt x="1910" y="2276"/>
                    </a:lnTo>
                    <a:lnTo>
                      <a:pt x="1960" y="0"/>
                    </a:lnTo>
                    <a:close/>
                  </a:path>
                </a:pathLst>
              </a:custGeom>
              <a:solidFill>
                <a:srgbClr val="CE6F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2" name="Google Shape;752;p31"/>
              <p:cNvSpPr/>
              <p:nvPr/>
            </p:nvSpPr>
            <p:spPr>
              <a:xfrm>
                <a:off x="5322718" y="4608571"/>
                <a:ext cx="86763" cy="89475"/>
              </a:xfrm>
              <a:custGeom>
                <a:avLst/>
                <a:gdLst/>
                <a:ahLst/>
                <a:cxnLst/>
                <a:rect l="l" t="t" r="r" b="b"/>
                <a:pathLst>
                  <a:path w="2208" h="2277" extrusionOk="0">
                    <a:moveTo>
                      <a:pt x="302" y="0"/>
                    </a:moveTo>
                    <a:lnTo>
                      <a:pt x="0" y="2276"/>
                    </a:lnTo>
                    <a:lnTo>
                      <a:pt x="1906" y="2276"/>
                    </a:lnTo>
                    <a:lnTo>
                      <a:pt x="2208" y="0"/>
                    </a:lnTo>
                    <a:close/>
                  </a:path>
                </a:pathLst>
              </a:custGeom>
              <a:solidFill>
                <a:srgbClr val="CE6F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3" name="Google Shape;753;p31"/>
              <p:cNvSpPr/>
              <p:nvPr/>
            </p:nvSpPr>
            <p:spPr>
              <a:xfrm>
                <a:off x="5401860" y="2621986"/>
                <a:ext cx="429730" cy="473741"/>
              </a:xfrm>
              <a:custGeom>
                <a:avLst/>
                <a:gdLst/>
                <a:ahLst/>
                <a:cxnLst/>
                <a:rect l="l" t="t" r="r" b="b"/>
                <a:pathLst>
                  <a:path w="10936" h="12056" extrusionOk="0">
                    <a:moveTo>
                      <a:pt x="5294" y="1"/>
                    </a:moveTo>
                    <a:cubicBezTo>
                      <a:pt x="4661" y="1"/>
                      <a:pt x="4009" y="29"/>
                      <a:pt x="3284" y="65"/>
                    </a:cubicBezTo>
                    <a:cubicBezTo>
                      <a:pt x="1622" y="143"/>
                      <a:pt x="0" y="496"/>
                      <a:pt x="0" y="496"/>
                    </a:cubicBezTo>
                    <a:cubicBezTo>
                      <a:pt x="1551" y="6963"/>
                      <a:pt x="1558" y="8905"/>
                      <a:pt x="1450" y="12056"/>
                    </a:cubicBezTo>
                    <a:lnTo>
                      <a:pt x="9188" y="12056"/>
                    </a:lnTo>
                    <a:cubicBezTo>
                      <a:pt x="10936" y="872"/>
                      <a:pt x="10025" y="552"/>
                      <a:pt x="10025" y="552"/>
                    </a:cubicBezTo>
                    <a:cubicBezTo>
                      <a:pt x="10025" y="552"/>
                      <a:pt x="8313" y="201"/>
                      <a:pt x="6801" y="65"/>
                    </a:cubicBezTo>
                    <a:cubicBezTo>
                      <a:pt x="6292" y="19"/>
                      <a:pt x="5799" y="1"/>
                      <a:pt x="5294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4" name="Google Shape;754;p31"/>
              <p:cNvSpPr/>
              <p:nvPr/>
            </p:nvSpPr>
            <p:spPr>
              <a:xfrm>
                <a:off x="5744595" y="2726905"/>
                <a:ext cx="303515" cy="331846"/>
              </a:xfrm>
              <a:custGeom>
                <a:avLst/>
                <a:gdLst/>
                <a:ahLst/>
                <a:cxnLst/>
                <a:rect l="l" t="t" r="r" b="b"/>
                <a:pathLst>
                  <a:path w="7724" h="8445" extrusionOk="0">
                    <a:moveTo>
                      <a:pt x="1927" y="1"/>
                    </a:moveTo>
                    <a:lnTo>
                      <a:pt x="0" y="284"/>
                    </a:lnTo>
                    <a:cubicBezTo>
                      <a:pt x="79" y="844"/>
                      <a:pt x="179" y="1364"/>
                      <a:pt x="290" y="1896"/>
                    </a:cubicBezTo>
                    <a:cubicBezTo>
                      <a:pt x="398" y="2426"/>
                      <a:pt x="534" y="2954"/>
                      <a:pt x="682" y="3478"/>
                    </a:cubicBezTo>
                    <a:cubicBezTo>
                      <a:pt x="980" y="4530"/>
                      <a:pt x="1331" y="5578"/>
                      <a:pt x="1895" y="6608"/>
                    </a:cubicBezTo>
                    <a:cubicBezTo>
                      <a:pt x="2038" y="6866"/>
                      <a:pt x="2200" y="7121"/>
                      <a:pt x="2391" y="7376"/>
                    </a:cubicBezTo>
                    <a:cubicBezTo>
                      <a:pt x="2484" y="7502"/>
                      <a:pt x="2595" y="7628"/>
                      <a:pt x="2706" y="7749"/>
                    </a:cubicBezTo>
                    <a:cubicBezTo>
                      <a:pt x="2839" y="7890"/>
                      <a:pt x="2997" y="8026"/>
                      <a:pt x="3180" y="8141"/>
                    </a:cubicBezTo>
                    <a:cubicBezTo>
                      <a:pt x="3481" y="8337"/>
                      <a:pt x="3873" y="8445"/>
                      <a:pt x="4235" y="8445"/>
                    </a:cubicBezTo>
                    <a:cubicBezTo>
                      <a:pt x="4317" y="8445"/>
                      <a:pt x="4398" y="8439"/>
                      <a:pt x="4475" y="8428"/>
                    </a:cubicBezTo>
                    <a:cubicBezTo>
                      <a:pt x="4903" y="8374"/>
                      <a:pt x="5240" y="8213"/>
                      <a:pt x="5524" y="8037"/>
                    </a:cubicBezTo>
                    <a:cubicBezTo>
                      <a:pt x="6087" y="7678"/>
                      <a:pt x="6475" y="7237"/>
                      <a:pt x="6830" y="6791"/>
                    </a:cubicBezTo>
                    <a:cubicBezTo>
                      <a:pt x="7006" y="6569"/>
                      <a:pt x="7167" y="6339"/>
                      <a:pt x="7311" y="6102"/>
                    </a:cubicBezTo>
                    <a:cubicBezTo>
                      <a:pt x="7462" y="5862"/>
                      <a:pt x="7595" y="5632"/>
                      <a:pt x="7724" y="5367"/>
                    </a:cubicBezTo>
                    <a:lnTo>
                      <a:pt x="6909" y="4850"/>
                    </a:lnTo>
                    <a:cubicBezTo>
                      <a:pt x="6755" y="5025"/>
                      <a:pt x="6579" y="5219"/>
                      <a:pt x="6407" y="5398"/>
                    </a:cubicBezTo>
                    <a:cubicBezTo>
                      <a:pt x="6231" y="5574"/>
                      <a:pt x="6052" y="5746"/>
                      <a:pt x="5872" y="5912"/>
                    </a:cubicBezTo>
                    <a:cubicBezTo>
                      <a:pt x="5517" y="6238"/>
                      <a:pt x="5121" y="6522"/>
                      <a:pt x="4770" y="6684"/>
                    </a:cubicBezTo>
                    <a:cubicBezTo>
                      <a:pt x="4608" y="6756"/>
                      <a:pt x="4459" y="6792"/>
                      <a:pt x="4358" y="6792"/>
                    </a:cubicBezTo>
                    <a:cubicBezTo>
                      <a:pt x="4349" y="6792"/>
                      <a:pt x="4340" y="6792"/>
                      <a:pt x="4332" y="6791"/>
                    </a:cubicBezTo>
                    <a:cubicBezTo>
                      <a:pt x="4231" y="6784"/>
                      <a:pt x="4200" y="6755"/>
                      <a:pt x="4131" y="6702"/>
                    </a:cubicBezTo>
                    <a:cubicBezTo>
                      <a:pt x="4095" y="6672"/>
                      <a:pt x="4056" y="6629"/>
                      <a:pt x="4013" y="6576"/>
                    </a:cubicBezTo>
                    <a:cubicBezTo>
                      <a:pt x="3955" y="6497"/>
                      <a:pt x="3894" y="6422"/>
                      <a:pt x="3837" y="6332"/>
                    </a:cubicBezTo>
                    <a:cubicBezTo>
                      <a:pt x="3722" y="6160"/>
                      <a:pt x="3610" y="5966"/>
                      <a:pt x="3514" y="5754"/>
                    </a:cubicBezTo>
                    <a:cubicBezTo>
                      <a:pt x="3305" y="5342"/>
                      <a:pt x="3133" y="4882"/>
                      <a:pt x="2979" y="4415"/>
                    </a:cubicBezTo>
                    <a:cubicBezTo>
                      <a:pt x="2821" y="3949"/>
                      <a:pt x="2681" y="3464"/>
                      <a:pt x="2555" y="2976"/>
                    </a:cubicBezTo>
                    <a:cubicBezTo>
                      <a:pt x="2311" y="1999"/>
                      <a:pt x="2096" y="980"/>
                      <a:pt x="1927" y="1"/>
                    </a:cubicBez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5" name="Google Shape;755;p31"/>
              <p:cNvSpPr/>
              <p:nvPr/>
            </p:nvSpPr>
            <p:spPr>
              <a:xfrm>
                <a:off x="5682076" y="2638490"/>
                <a:ext cx="167161" cy="221034"/>
              </a:xfrm>
              <a:custGeom>
                <a:avLst/>
                <a:gdLst/>
                <a:ahLst/>
                <a:cxnLst/>
                <a:rect l="l" t="t" r="r" b="b"/>
                <a:pathLst>
                  <a:path w="4254" h="5625" extrusionOk="0">
                    <a:moveTo>
                      <a:pt x="2031" y="1"/>
                    </a:moveTo>
                    <a:cubicBezTo>
                      <a:pt x="1432" y="1"/>
                      <a:pt x="1040" y="273"/>
                      <a:pt x="600" y="911"/>
                    </a:cubicBezTo>
                    <a:cubicBezTo>
                      <a:pt x="1" y="1777"/>
                      <a:pt x="1235" y="5624"/>
                      <a:pt x="1235" y="5624"/>
                    </a:cubicBezTo>
                    <a:lnTo>
                      <a:pt x="4254" y="3564"/>
                    </a:lnTo>
                    <a:cubicBezTo>
                      <a:pt x="4254" y="3564"/>
                      <a:pt x="3684" y="330"/>
                      <a:pt x="2894" y="132"/>
                    </a:cubicBezTo>
                    <a:cubicBezTo>
                      <a:pt x="2559" y="47"/>
                      <a:pt x="2278" y="1"/>
                      <a:pt x="2031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6" name="Google Shape;756;p31"/>
              <p:cNvSpPr/>
              <p:nvPr/>
            </p:nvSpPr>
            <p:spPr>
              <a:xfrm>
                <a:off x="5997618" y="2884126"/>
                <a:ext cx="87038" cy="62676"/>
              </a:xfrm>
              <a:custGeom>
                <a:avLst/>
                <a:gdLst/>
                <a:ahLst/>
                <a:cxnLst/>
                <a:rect l="l" t="t" r="r" b="b"/>
                <a:pathLst>
                  <a:path w="2215" h="1595" extrusionOk="0">
                    <a:moveTo>
                      <a:pt x="423" y="1"/>
                    </a:moveTo>
                    <a:cubicBezTo>
                      <a:pt x="423" y="1"/>
                      <a:pt x="0" y="856"/>
                      <a:pt x="287" y="1595"/>
                    </a:cubicBezTo>
                    <a:lnTo>
                      <a:pt x="1181" y="1513"/>
                    </a:lnTo>
                    <a:lnTo>
                      <a:pt x="2214" y="37"/>
                    </a:lnTo>
                    <a:lnTo>
                      <a:pt x="423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57" name="Google Shape;757;p31"/>
              <p:cNvGrpSpPr/>
              <p:nvPr/>
            </p:nvGrpSpPr>
            <p:grpSpPr>
              <a:xfrm>
                <a:off x="5932859" y="2488224"/>
                <a:ext cx="384109" cy="413192"/>
                <a:chOff x="5932859" y="2488224"/>
                <a:chExt cx="384109" cy="413192"/>
              </a:xfrm>
            </p:grpSpPr>
            <p:sp>
              <p:nvSpPr>
                <p:cNvPr id="758" name="Google Shape;758;p31"/>
                <p:cNvSpPr/>
                <p:nvPr/>
              </p:nvSpPr>
              <p:spPr>
                <a:xfrm>
                  <a:off x="5978835" y="2512234"/>
                  <a:ext cx="274515" cy="2028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86" h="5163" extrusionOk="0">
                      <a:moveTo>
                        <a:pt x="3188" y="0"/>
                      </a:moveTo>
                      <a:cubicBezTo>
                        <a:pt x="1864" y="191"/>
                        <a:pt x="683" y="1088"/>
                        <a:pt x="191" y="2434"/>
                      </a:cubicBezTo>
                      <a:cubicBezTo>
                        <a:pt x="98" y="2689"/>
                        <a:pt x="36" y="2947"/>
                        <a:pt x="0" y="3209"/>
                      </a:cubicBezTo>
                      <a:lnTo>
                        <a:pt x="5718" y="542"/>
                      </a:lnTo>
                      <a:cubicBezTo>
                        <a:pt x="6085" y="772"/>
                        <a:pt x="6404" y="1063"/>
                        <a:pt x="6663" y="1393"/>
                      </a:cubicBezTo>
                      <a:lnTo>
                        <a:pt x="5632" y="1871"/>
                      </a:lnTo>
                      <a:lnTo>
                        <a:pt x="6986" y="1871"/>
                      </a:lnTo>
                      <a:cubicBezTo>
                        <a:pt x="6562" y="1120"/>
                        <a:pt x="5880" y="510"/>
                        <a:pt x="5004" y="194"/>
                      </a:cubicBezTo>
                      <a:cubicBezTo>
                        <a:pt x="4864" y="140"/>
                        <a:pt x="4724" y="101"/>
                        <a:pt x="4584" y="65"/>
                      </a:cubicBezTo>
                      <a:cubicBezTo>
                        <a:pt x="4251" y="40"/>
                        <a:pt x="3916" y="22"/>
                        <a:pt x="3580" y="11"/>
                      </a:cubicBezTo>
                      <a:cubicBezTo>
                        <a:pt x="3450" y="7"/>
                        <a:pt x="3321" y="4"/>
                        <a:pt x="3188" y="0"/>
                      </a:cubicBezTo>
                      <a:close/>
                      <a:moveTo>
                        <a:pt x="3623" y="2810"/>
                      </a:moveTo>
                      <a:lnTo>
                        <a:pt x="40" y="4476"/>
                      </a:lnTo>
                      <a:cubicBezTo>
                        <a:pt x="91" y="4713"/>
                        <a:pt x="162" y="4942"/>
                        <a:pt x="252" y="5162"/>
                      </a:cubicBezTo>
                      <a:lnTo>
                        <a:pt x="3623" y="3593"/>
                      </a:lnTo>
                      <a:lnTo>
                        <a:pt x="3623" y="281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9" name="Google Shape;759;p31"/>
                <p:cNvSpPr/>
                <p:nvPr/>
              </p:nvSpPr>
              <p:spPr>
                <a:xfrm>
                  <a:off x="6121163" y="2585716"/>
                  <a:ext cx="134743" cy="67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9" h="1724" extrusionOk="0">
                      <a:moveTo>
                        <a:pt x="2010" y="1"/>
                      </a:moveTo>
                      <a:lnTo>
                        <a:pt x="1" y="940"/>
                      </a:lnTo>
                      <a:lnTo>
                        <a:pt x="1" y="1723"/>
                      </a:lnTo>
                      <a:lnTo>
                        <a:pt x="3428" y="126"/>
                      </a:lnTo>
                      <a:cubicBezTo>
                        <a:pt x="3407" y="83"/>
                        <a:pt x="3385" y="44"/>
                        <a:pt x="3364" y="1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0" name="Google Shape;760;p31"/>
                <p:cNvSpPr/>
                <p:nvPr/>
              </p:nvSpPr>
              <p:spPr>
                <a:xfrm>
                  <a:off x="6121163" y="2618607"/>
                  <a:ext cx="151364" cy="1873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52" h="4767" extrusionOk="0">
                      <a:moveTo>
                        <a:pt x="3712" y="0"/>
                      </a:moveTo>
                      <a:cubicBezTo>
                        <a:pt x="3731" y="72"/>
                        <a:pt x="3749" y="145"/>
                        <a:pt x="3765" y="218"/>
                      </a:cubicBezTo>
                      <a:lnTo>
                        <a:pt x="3765" y="218"/>
                      </a:lnTo>
                      <a:cubicBezTo>
                        <a:pt x="3749" y="145"/>
                        <a:pt x="3731" y="72"/>
                        <a:pt x="3712" y="0"/>
                      </a:cubicBezTo>
                      <a:close/>
                      <a:moveTo>
                        <a:pt x="3765" y="218"/>
                      </a:moveTo>
                      <a:lnTo>
                        <a:pt x="3765" y="218"/>
                      </a:lnTo>
                      <a:cubicBezTo>
                        <a:pt x="3779" y="286"/>
                        <a:pt x="3792" y="355"/>
                        <a:pt x="3804" y="425"/>
                      </a:cubicBezTo>
                      <a:lnTo>
                        <a:pt x="3804" y="425"/>
                      </a:lnTo>
                      <a:cubicBezTo>
                        <a:pt x="3792" y="355"/>
                        <a:pt x="3779" y="286"/>
                        <a:pt x="3765" y="218"/>
                      </a:cubicBezTo>
                      <a:close/>
                      <a:moveTo>
                        <a:pt x="3804" y="425"/>
                      </a:moveTo>
                      <a:cubicBezTo>
                        <a:pt x="3830" y="593"/>
                        <a:pt x="3846" y="764"/>
                        <a:pt x="3848" y="936"/>
                      </a:cubicBezTo>
                      <a:lnTo>
                        <a:pt x="1" y="2731"/>
                      </a:lnTo>
                      <a:lnTo>
                        <a:pt x="1" y="4763"/>
                      </a:lnTo>
                      <a:cubicBezTo>
                        <a:pt x="32" y="4763"/>
                        <a:pt x="69" y="4766"/>
                        <a:pt x="101" y="4766"/>
                      </a:cubicBezTo>
                      <a:cubicBezTo>
                        <a:pt x="1633" y="4766"/>
                        <a:pt x="3069" y="3819"/>
                        <a:pt x="3622" y="2297"/>
                      </a:cubicBezTo>
                      <a:cubicBezTo>
                        <a:pt x="3776" y="1874"/>
                        <a:pt x="3851" y="1439"/>
                        <a:pt x="3851" y="1012"/>
                      </a:cubicBezTo>
                      <a:cubicBezTo>
                        <a:pt x="3851" y="857"/>
                        <a:pt x="3841" y="706"/>
                        <a:pt x="3823" y="556"/>
                      </a:cubicBezTo>
                      <a:cubicBezTo>
                        <a:pt x="3817" y="512"/>
                        <a:pt x="3811" y="468"/>
                        <a:pt x="3804" y="425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1" name="Google Shape;761;p31"/>
                <p:cNvSpPr/>
                <p:nvPr/>
              </p:nvSpPr>
              <p:spPr>
                <a:xfrm>
                  <a:off x="6121163" y="2585716"/>
                  <a:ext cx="79022" cy="3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11" h="941" extrusionOk="0">
                      <a:moveTo>
                        <a:pt x="1" y="1"/>
                      </a:moveTo>
                      <a:lnTo>
                        <a:pt x="1" y="940"/>
                      </a:lnTo>
                      <a:lnTo>
                        <a:pt x="2010" y="1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2" name="Google Shape;762;p31"/>
                <p:cNvSpPr/>
                <p:nvPr/>
              </p:nvSpPr>
              <p:spPr>
                <a:xfrm>
                  <a:off x="6121163" y="2590667"/>
                  <a:ext cx="151207" cy="1352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442" extrusionOk="0">
                      <a:moveTo>
                        <a:pt x="3428" y="0"/>
                      </a:moveTo>
                      <a:lnTo>
                        <a:pt x="1" y="1597"/>
                      </a:lnTo>
                      <a:lnTo>
                        <a:pt x="1" y="3442"/>
                      </a:lnTo>
                      <a:lnTo>
                        <a:pt x="3848" y="1647"/>
                      </a:lnTo>
                      <a:cubicBezTo>
                        <a:pt x="3844" y="1328"/>
                        <a:pt x="3794" y="1016"/>
                        <a:pt x="3712" y="711"/>
                      </a:cubicBezTo>
                      <a:cubicBezTo>
                        <a:pt x="3712" y="711"/>
                        <a:pt x="3708" y="711"/>
                        <a:pt x="3708" y="707"/>
                      </a:cubicBezTo>
                      <a:cubicBezTo>
                        <a:pt x="3640" y="463"/>
                        <a:pt x="3546" y="226"/>
                        <a:pt x="3428" y="0"/>
                      </a:cubicBez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3" name="Google Shape;763;p31"/>
                <p:cNvSpPr/>
                <p:nvPr/>
              </p:nvSpPr>
              <p:spPr>
                <a:xfrm>
                  <a:off x="6027758" y="2725883"/>
                  <a:ext cx="93444" cy="798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8" h="2033" extrusionOk="0">
                      <a:moveTo>
                        <a:pt x="2378" y="1"/>
                      </a:moveTo>
                      <a:lnTo>
                        <a:pt x="1" y="1107"/>
                      </a:lnTo>
                      <a:cubicBezTo>
                        <a:pt x="342" y="1405"/>
                        <a:pt x="741" y="1645"/>
                        <a:pt x="1189" y="1806"/>
                      </a:cubicBezTo>
                      <a:cubicBezTo>
                        <a:pt x="1581" y="1950"/>
                        <a:pt x="1979" y="2025"/>
                        <a:pt x="2378" y="2033"/>
                      </a:cubicBezTo>
                      <a:lnTo>
                        <a:pt x="2378" y="1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" name="Google Shape;764;p31"/>
                <p:cNvSpPr/>
                <p:nvPr/>
              </p:nvSpPr>
              <p:spPr>
                <a:xfrm>
                  <a:off x="5976438" y="2533532"/>
                  <a:ext cx="264220" cy="1546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24" h="3935" extrusionOk="0">
                      <a:moveTo>
                        <a:pt x="5779" y="0"/>
                      </a:moveTo>
                      <a:lnTo>
                        <a:pt x="61" y="2667"/>
                      </a:lnTo>
                      <a:cubicBezTo>
                        <a:pt x="1" y="3095"/>
                        <a:pt x="18" y="3525"/>
                        <a:pt x="101" y="3934"/>
                      </a:cubicBezTo>
                      <a:lnTo>
                        <a:pt x="3684" y="2268"/>
                      </a:lnTo>
                      <a:lnTo>
                        <a:pt x="3684" y="1329"/>
                      </a:lnTo>
                      <a:lnTo>
                        <a:pt x="5693" y="1329"/>
                      </a:lnTo>
                      <a:lnTo>
                        <a:pt x="6724" y="851"/>
                      </a:lnTo>
                      <a:cubicBezTo>
                        <a:pt x="6465" y="521"/>
                        <a:pt x="6146" y="230"/>
                        <a:pt x="5779" y="0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" name="Google Shape;765;p31"/>
                <p:cNvSpPr/>
                <p:nvPr/>
              </p:nvSpPr>
              <p:spPr>
                <a:xfrm>
                  <a:off x="5988698" y="2653422"/>
                  <a:ext cx="132503" cy="1159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2" h="2951" extrusionOk="0">
                      <a:moveTo>
                        <a:pt x="3372" y="0"/>
                      </a:moveTo>
                      <a:lnTo>
                        <a:pt x="1" y="1569"/>
                      </a:lnTo>
                      <a:cubicBezTo>
                        <a:pt x="220" y="2093"/>
                        <a:pt x="561" y="2570"/>
                        <a:pt x="995" y="2951"/>
                      </a:cubicBezTo>
                      <a:lnTo>
                        <a:pt x="3372" y="1845"/>
                      </a:lnTo>
                      <a:lnTo>
                        <a:pt x="3372" y="0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" name="Google Shape;766;p31"/>
                <p:cNvSpPr/>
                <p:nvPr/>
              </p:nvSpPr>
              <p:spPr>
                <a:xfrm>
                  <a:off x="5932859" y="2488224"/>
                  <a:ext cx="384109" cy="340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75" h="8660" extrusionOk="0">
                      <a:moveTo>
                        <a:pt x="4886" y="914"/>
                      </a:moveTo>
                      <a:cubicBezTo>
                        <a:pt x="5275" y="914"/>
                        <a:pt x="5670" y="981"/>
                        <a:pt x="6055" y="1121"/>
                      </a:cubicBezTo>
                      <a:cubicBezTo>
                        <a:pt x="7829" y="1767"/>
                        <a:pt x="8744" y="3727"/>
                        <a:pt x="8098" y="5500"/>
                      </a:cubicBezTo>
                      <a:cubicBezTo>
                        <a:pt x="7593" y="6887"/>
                        <a:pt x="6284" y="7747"/>
                        <a:pt x="4889" y="7747"/>
                      </a:cubicBezTo>
                      <a:cubicBezTo>
                        <a:pt x="4501" y="7747"/>
                        <a:pt x="4106" y="7680"/>
                        <a:pt x="3719" y="7539"/>
                      </a:cubicBezTo>
                      <a:cubicBezTo>
                        <a:pt x="1946" y="6893"/>
                        <a:pt x="1034" y="4933"/>
                        <a:pt x="1677" y="3160"/>
                      </a:cubicBezTo>
                      <a:cubicBezTo>
                        <a:pt x="2182" y="1773"/>
                        <a:pt x="3493" y="914"/>
                        <a:pt x="4886" y="914"/>
                      </a:cubicBezTo>
                      <a:close/>
                      <a:moveTo>
                        <a:pt x="4886" y="0"/>
                      </a:moveTo>
                      <a:cubicBezTo>
                        <a:pt x="3120" y="0"/>
                        <a:pt x="1459" y="1090"/>
                        <a:pt x="819" y="2848"/>
                      </a:cubicBezTo>
                      <a:cubicBezTo>
                        <a:pt x="0" y="5094"/>
                        <a:pt x="1160" y="7578"/>
                        <a:pt x="3407" y="8396"/>
                      </a:cubicBezTo>
                      <a:cubicBezTo>
                        <a:pt x="3896" y="8575"/>
                        <a:pt x="4397" y="8659"/>
                        <a:pt x="4890" y="8659"/>
                      </a:cubicBezTo>
                      <a:cubicBezTo>
                        <a:pt x="6657" y="8659"/>
                        <a:pt x="8316" y="7570"/>
                        <a:pt x="8956" y="5812"/>
                      </a:cubicBezTo>
                      <a:cubicBezTo>
                        <a:pt x="9774" y="3565"/>
                        <a:pt x="8615" y="1082"/>
                        <a:pt x="6368" y="263"/>
                      </a:cubicBezTo>
                      <a:cubicBezTo>
                        <a:pt x="5879" y="85"/>
                        <a:pt x="5379" y="0"/>
                        <a:pt x="4886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" name="Google Shape;767;p31"/>
                <p:cNvSpPr/>
                <p:nvPr/>
              </p:nvSpPr>
              <p:spPr>
                <a:xfrm>
                  <a:off x="6008032" y="2844399"/>
                  <a:ext cx="85231" cy="57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9" h="1451" extrusionOk="0">
                      <a:moveTo>
                        <a:pt x="1854" y="1"/>
                      </a:moveTo>
                      <a:cubicBezTo>
                        <a:pt x="1808" y="1"/>
                        <a:pt x="1763" y="15"/>
                        <a:pt x="1724" y="47"/>
                      </a:cubicBezTo>
                      <a:lnTo>
                        <a:pt x="1217" y="452"/>
                      </a:lnTo>
                      <a:cubicBezTo>
                        <a:pt x="1134" y="519"/>
                        <a:pt x="1033" y="553"/>
                        <a:pt x="932" y="553"/>
                      </a:cubicBezTo>
                      <a:cubicBezTo>
                        <a:pt x="848" y="553"/>
                        <a:pt x="764" y="530"/>
                        <a:pt x="690" y="485"/>
                      </a:cubicBezTo>
                      <a:lnTo>
                        <a:pt x="532" y="309"/>
                      </a:lnTo>
                      <a:cubicBezTo>
                        <a:pt x="498" y="270"/>
                        <a:pt x="453" y="251"/>
                        <a:pt x="408" y="251"/>
                      </a:cubicBezTo>
                      <a:cubicBezTo>
                        <a:pt x="361" y="251"/>
                        <a:pt x="314" y="272"/>
                        <a:pt x="281" y="313"/>
                      </a:cubicBezTo>
                      <a:lnTo>
                        <a:pt x="241" y="359"/>
                      </a:lnTo>
                      <a:cubicBezTo>
                        <a:pt x="158" y="460"/>
                        <a:pt x="108" y="578"/>
                        <a:pt x="90" y="707"/>
                      </a:cubicBezTo>
                      <a:lnTo>
                        <a:pt x="1" y="1450"/>
                      </a:lnTo>
                      <a:lnTo>
                        <a:pt x="381" y="1152"/>
                      </a:lnTo>
                      <a:lnTo>
                        <a:pt x="1949" y="1048"/>
                      </a:lnTo>
                      <a:lnTo>
                        <a:pt x="2097" y="736"/>
                      </a:lnTo>
                      <a:cubicBezTo>
                        <a:pt x="2161" y="592"/>
                        <a:pt x="2169" y="427"/>
                        <a:pt x="2111" y="280"/>
                      </a:cubicBezTo>
                      <a:lnTo>
                        <a:pt x="2053" y="137"/>
                      </a:lnTo>
                      <a:cubicBezTo>
                        <a:pt x="2019" y="51"/>
                        <a:pt x="1937" y="1"/>
                        <a:pt x="1854" y="1"/>
                      </a:cubicBezTo>
                      <a:close/>
                    </a:path>
                  </a:pathLst>
                </a:custGeom>
                <a:solidFill>
                  <a:srgbClr val="E4897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768" name="Google Shape;768;p31"/>
              <p:cNvSpPr/>
              <p:nvPr/>
            </p:nvSpPr>
            <p:spPr>
              <a:xfrm>
                <a:off x="5515934" y="2262864"/>
                <a:ext cx="241782" cy="287011"/>
              </a:xfrm>
              <a:custGeom>
                <a:avLst/>
                <a:gdLst/>
                <a:ahLst/>
                <a:cxnLst/>
                <a:rect l="l" t="t" r="r" b="b"/>
                <a:pathLst>
                  <a:path w="6153" h="7304" extrusionOk="0">
                    <a:moveTo>
                      <a:pt x="3019" y="0"/>
                    </a:moveTo>
                    <a:cubicBezTo>
                      <a:pt x="1817" y="0"/>
                      <a:pt x="702" y="866"/>
                      <a:pt x="485" y="2179"/>
                    </a:cubicBezTo>
                    <a:cubicBezTo>
                      <a:pt x="172" y="4046"/>
                      <a:pt x="0" y="4828"/>
                      <a:pt x="711" y="5995"/>
                    </a:cubicBezTo>
                    <a:cubicBezTo>
                      <a:pt x="1245" y="6869"/>
                      <a:pt x="2100" y="7303"/>
                      <a:pt x="2930" y="7303"/>
                    </a:cubicBezTo>
                    <a:cubicBezTo>
                      <a:pt x="3762" y="7303"/>
                      <a:pt x="4569" y="6866"/>
                      <a:pt x="5001" y="5998"/>
                    </a:cubicBezTo>
                    <a:cubicBezTo>
                      <a:pt x="5776" y="4440"/>
                      <a:pt x="6152" y="1648"/>
                      <a:pt x="4523" y="492"/>
                    </a:cubicBezTo>
                    <a:cubicBezTo>
                      <a:pt x="4046" y="154"/>
                      <a:pt x="3525" y="0"/>
                      <a:pt x="3019" y="0"/>
                    </a:cubicBez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9" name="Google Shape;769;p31"/>
              <p:cNvSpPr/>
              <p:nvPr/>
            </p:nvSpPr>
            <p:spPr>
              <a:xfrm>
                <a:off x="5262046" y="2236615"/>
                <a:ext cx="531583" cy="693989"/>
              </a:xfrm>
              <a:custGeom>
                <a:avLst/>
                <a:gdLst/>
                <a:ahLst/>
                <a:cxnLst/>
                <a:rect l="l" t="t" r="r" b="b"/>
                <a:pathLst>
                  <a:path w="13528" h="17661" extrusionOk="0">
                    <a:moveTo>
                      <a:pt x="8819" y="1"/>
                    </a:moveTo>
                    <a:cubicBezTo>
                      <a:pt x="7000" y="1"/>
                      <a:pt x="5307" y="902"/>
                      <a:pt x="5374" y="2937"/>
                    </a:cubicBezTo>
                    <a:cubicBezTo>
                      <a:pt x="5464" y="5665"/>
                      <a:pt x="5374" y="5708"/>
                      <a:pt x="4143" y="7129"/>
                    </a:cubicBezTo>
                    <a:cubicBezTo>
                      <a:pt x="2908" y="8550"/>
                      <a:pt x="1128" y="9746"/>
                      <a:pt x="3156" y="11663"/>
                    </a:cubicBezTo>
                    <a:cubicBezTo>
                      <a:pt x="5184" y="13576"/>
                      <a:pt x="0" y="16217"/>
                      <a:pt x="6088" y="17491"/>
                    </a:cubicBezTo>
                    <a:cubicBezTo>
                      <a:pt x="6643" y="17607"/>
                      <a:pt x="7183" y="17661"/>
                      <a:pt x="7700" y="17661"/>
                    </a:cubicBezTo>
                    <a:cubicBezTo>
                      <a:pt x="11143" y="17661"/>
                      <a:pt x="13527" y="15291"/>
                      <a:pt x="11936" y="13349"/>
                    </a:cubicBezTo>
                    <a:cubicBezTo>
                      <a:pt x="10226" y="11264"/>
                      <a:pt x="11917" y="10578"/>
                      <a:pt x="12093" y="8759"/>
                    </a:cubicBezTo>
                    <a:cubicBezTo>
                      <a:pt x="12269" y="6939"/>
                      <a:pt x="9623" y="6125"/>
                      <a:pt x="10586" y="4793"/>
                    </a:cubicBezTo>
                    <a:cubicBezTo>
                      <a:pt x="11548" y="3461"/>
                      <a:pt x="12315" y="870"/>
                      <a:pt x="10647" y="302"/>
                    </a:cubicBezTo>
                    <a:cubicBezTo>
                      <a:pt x="10065" y="104"/>
                      <a:pt x="9435" y="1"/>
                      <a:pt x="8819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0" name="Google Shape;770;p31"/>
              <p:cNvSpPr/>
              <p:nvPr/>
            </p:nvSpPr>
            <p:spPr>
              <a:xfrm>
                <a:off x="5622425" y="2234728"/>
                <a:ext cx="139969" cy="168772"/>
              </a:xfrm>
              <a:custGeom>
                <a:avLst/>
                <a:gdLst/>
                <a:ahLst/>
                <a:cxnLst/>
                <a:rect l="l" t="t" r="r" b="b"/>
                <a:pathLst>
                  <a:path w="3562" h="4295" extrusionOk="0">
                    <a:moveTo>
                      <a:pt x="1043" y="0"/>
                    </a:moveTo>
                    <a:cubicBezTo>
                      <a:pt x="721" y="0"/>
                      <a:pt x="372" y="24"/>
                      <a:pt x="0" y="63"/>
                    </a:cubicBezTo>
                    <a:lnTo>
                      <a:pt x="1167" y="4295"/>
                    </a:lnTo>
                    <a:cubicBezTo>
                      <a:pt x="1167" y="4295"/>
                      <a:pt x="3561" y="3347"/>
                      <a:pt x="3411" y="1728"/>
                    </a:cubicBezTo>
                    <a:cubicBezTo>
                      <a:pt x="3285" y="416"/>
                      <a:pt x="2408" y="0"/>
                      <a:pt x="104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1"/>
              <p:cNvSpPr/>
              <p:nvPr/>
            </p:nvSpPr>
            <p:spPr>
              <a:xfrm>
                <a:off x="5652761" y="2389278"/>
                <a:ext cx="53756" cy="71281"/>
              </a:xfrm>
              <a:custGeom>
                <a:avLst/>
                <a:gdLst/>
                <a:ahLst/>
                <a:cxnLst/>
                <a:rect l="l" t="t" r="r" b="b"/>
                <a:pathLst>
                  <a:path w="1368" h="1814" extrusionOk="0">
                    <a:moveTo>
                      <a:pt x="664" y="0"/>
                    </a:moveTo>
                    <a:cubicBezTo>
                      <a:pt x="357" y="0"/>
                      <a:pt x="94" y="250"/>
                      <a:pt x="50" y="592"/>
                    </a:cubicBezTo>
                    <a:cubicBezTo>
                      <a:pt x="0" y="979"/>
                      <a:pt x="133" y="1357"/>
                      <a:pt x="334" y="1611"/>
                    </a:cubicBezTo>
                    <a:cubicBezTo>
                      <a:pt x="446" y="1751"/>
                      <a:pt x="575" y="1813"/>
                      <a:pt x="702" y="1813"/>
                    </a:cubicBezTo>
                    <a:cubicBezTo>
                      <a:pt x="918" y="1813"/>
                      <a:pt x="1126" y="1634"/>
                      <a:pt x="1221" y="1360"/>
                    </a:cubicBezTo>
                    <a:cubicBezTo>
                      <a:pt x="1360" y="969"/>
                      <a:pt x="1368" y="301"/>
                      <a:pt x="951" y="75"/>
                    </a:cubicBezTo>
                    <a:cubicBezTo>
                      <a:pt x="855" y="24"/>
                      <a:pt x="757" y="0"/>
                      <a:pt x="664" y="0"/>
                    </a:cubicBez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1"/>
              <p:cNvSpPr/>
              <p:nvPr/>
            </p:nvSpPr>
            <p:spPr>
              <a:xfrm>
                <a:off x="5313405" y="3095694"/>
                <a:ext cx="369137" cy="1584964"/>
              </a:xfrm>
              <a:custGeom>
                <a:avLst/>
                <a:gdLst/>
                <a:ahLst/>
                <a:cxnLst/>
                <a:rect l="l" t="t" r="r" b="b"/>
                <a:pathLst>
                  <a:path w="9394" h="40335" extrusionOk="0">
                    <a:moveTo>
                      <a:pt x="3701" y="1"/>
                    </a:moveTo>
                    <a:cubicBezTo>
                      <a:pt x="1242" y="3458"/>
                      <a:pt x="2979" y="5726"/>
                      <a:pt x="1885" y="20632"/>
                    </a:cubicBezTo>
                    <a:cubicBezTo>
                      <a:pt x="1454" y="26523"/>
                      <a:pt x="0" y="40334"/>
                      <a:pt x="0" y="40334"/>
                    </a:cubicBezTo>
                    <a:lnTo>
                      <a:pt x="2599" y="40334"/>
                    </a:lnTo>
                    <a:cubicBezTo>
                      <a:pt x="2599" y="40334"/>
                      <a:pt x="6020" y="26046"/>
                      <a:pt x="6910" y="20090"/>
                    </a:cubicBezTo>
                    <a:cubicBezTo>
                      <a:pt x="7006" y="19426"/>
                      <a:pt x="7107" y="18723"/>
                      <a:pt x="7208" y="17991"/>
                    </a:cubicBezTo>
                    <a:cubicBezTo>
                      <a:pt x="7614" y="15087"/>
                      <a:pt x="8033" y="11716"/>
                      <a:pt x="8399" y="8684"/>
                    </a:cubicBezTo>
                    <a:cubicBezTo>
                      <a:pt x="8966" y="3932"/>
                      <a:pt x="9393" y="1"/>
                      <a:pt x="939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1"/>
              <p:cNvSpPr/>
              <p:nvPr/>
            </p:nvSpPr>
            <p:spPr>
              <a:xfrm>
                <a:off x="5296587" y="4630420"/>
                <a:ext cx="147042" cy="51948"/>
              </a:xfrm>
              <a:custGeom>
                <a:avLst/>
                <a:gdLst/>
                <a:ahLst/>
                <a:cxnLst/>
                <a:rect l="l" t="t" r="r" b="b"/>
                <a:pathLst>
                  <a:path w="3742" h="1322" extrusionOk="0">
                    <a:moveTo>
                      <a:pt x="3741" y="1"/>
                    </a:moveTo>
                    <a:lnTo>
                      <a:pt x="62" y="94"/>
                    </a:lnTo>
                    <a:lnTo>
                      <a:pt x="1" y="1321"/>
                    </a:lnTo>
                    <a:lnTo>
                      <a:pt x="3454" y="1321"/>
                    </a:lnTo>
                    <a:lnTo>
                      <a:pt x="3741" y="1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1"/>
              <p:cNvSpPr/>
              <p:nvPr/>
            </p:nvSpPr>
            <p:spPr>
              <a:xfrm>
                <a:off x="5519157" y="3329738"/>
                <a:ext cx="124329" cy="472955"/>
              </a:xfrm>
              <a:custGeom>
                <a:avLst/>
                <a:gdLst/>
                <a:ahLst/>
                <a:cxnLst/>
                <a:rect l="l" t="t" r="r" b="b"/>
                <a:pathLst>
                  <a:path w="3164" h="12036" extrusionOk="0">
                    <a:moveTo>
                      <a:pt x="2148" y="0"/>
                    </a:moveTo>
                    <a:cubicBezTo>
                      <a:pt x="1" y="1328"/>
                      <a:pt x="1365" y="8952"/>
                      <a:pt x="1972" y="12035"/>
                    </a:cubicBezTo>
                    <a:cubicBezTo>
                      <a:pt x="2378" y="9131"/>
                      <a:pt x="2797" y="5760"/>
                      <a:pt x="3163" y="2728"/>
                    </a:cubicBezTo>
                    <a:cubicBezTo>
                      <a:pt x="2984" y="1637"/>
                      <a:pt x="2664" y="682"/>
                      <a:pt x="214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1"/>
              <p:cNvSpPr/>
              <p:nvPr/>
            </p:nvSpPr>
            <p:spPr>
              <a:xfrm>
                <a:off x="5540180" y="3095694"/>
                <a:ext cx="271293" cy="1584964"/>
              </a:xfrm>
              <a:custGeom>
                <a:avLst/>
                <a:gdLst/>
                <a:ahLst/>
                <a:cxnLst/>
                <a:rect l="l" t="t" r="r" b="b"/>
                <a:pathLst>
                  <a:path w="6904" h="40335" extrusionOk="0">
                    <a:moveTo>
                      <a:pt x="1" y="1"/>
                    </a:moveTo>
                    <a:cubicBezTo>
                      <a:pt x="1" y="1"/>
                      <a:pt x="1785" y="14118"/>
                      <a:pt x="2075" y="20594"/>
                    </a:cubicBezTo>
                    <a:cubicBezTo>
                      <a:pt x="2341" y="26530"/>
                      <a:pt x="2621" y="40334"/>
                      <a:pt x="2621" y="40334"/>
                    </a:cubicBezTo>
                    <a:lnTo>
                      <a:pt x="5202" y="40334"/>
                    </a:lnTo>
                    <a:cubicBezTo>
                      <a:pt x="5202" y="40334"/>
                      <a:pt x="6723" y="26178"/>
                      <a:pt x="6813" y="20130"/>
                    </a:cubicBezTo>
                    <a:cubicBezTo>
                      <a:pt x="6903" y="14319"/>
                      <a:pt x="5668" y="1"/>
                      <a:pt x="5668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1"/>
              <p:cNvSpPr/>
              <p:nvPr/>
            </p:nvSpPr>
            <p:spPr>
              <a:xfrm>
                <a:off x="5624115" y="4630420"/>
                <a:ext cx="146885" cy="51948"/>
              </a:xfrm>
              <a:custGeom>
                <a:avLst/>
                <a:gdLst/>
                <a:ahLst/>
                <a:cxnLst/>
                <a:rect l="l" t="t" r="r" b="b"/>
                <a:pathLst>
                  <a:path w="3738" h="1322" extrusionOk="0">
                    <a:moveTo>
                      <a:pt x="3737" y="1"/>
                    </a:moveTo>
                    <a:lnTo>
                      <a:pt x="0" y="94"/>
                    </a:lnTo>
                    <a:lnTo>
                      <a:pt x="61" y="1321"/>
                    </a:lnTo>
                    <a:lnTo>
                      <a:pt x="3449" y="1321"/>
                    </a:lnTo>
                    <a:lnTo>
                      <a:pt x="3737" y="1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1"/>
              <p:cNvSpPr/>
              <p:nvPr/>
            </p:nvSpPr>
            <p:spPr>
              <a:xfrm>
                <a:off x="5439505" y="3075574"/>
                <a:ext cx="333025" cy="33872"/>
              </a:xfrm>
              <a:custGeom>
                <a:avLst/>
                <a:gdLst/>
                <a:ahLst/>
                <a:cxnLst/>
                <a:rect l="l" t="t" r="r" b="b"/>
                <a:pathLst>
                  <a:path w="8475" h="862" extrusionOk="0">
                    <a:moveTo>
                      <a:pt x="495" y="0"/>
                    </a:moveTo>
                    <a:cubicBezTo>
                      <a:pt x="438" y="0"/>
                      <a:pt x="388" y="25"/>
                      <a:pt x="370" y="57"/>
                    </a:cubicBezTo>
                    <a:lnTo>
                      <a:pt x="25" y="750"/>
                    </a:lnTo>
                    <a:cubicBezTo>
                      <a:pt x="0" y="804"/>
                      <a:pt x="65" y="862"/>
                      <a:pt x="154" y="862"/>
                    </a:cubicBezTo>
                    <a:lnTo>
                      <a:pt x="8273" y="862"/>
                    </a:lnTo>
                    <a:cubicBezTo>
                      <a:pt x="8341" y="862"/>
                      <a:pt x="8399" y="826"/>
                      <a:pt x="8402" y="783"/>
                    </a:cubicBezTo>
                    <a:lnTo>
                      <a:pt x="8470" y="90"/>
                    </a:lnTo>
                    <a:cubicBezTo>
                      <a:pt x="8475" y="39"/>
                      <a:pt x="8414" y="0"/>
                      <a:pt x="8338" y="0"/>
                    </a:cubicBezTo>
                    <a:close/>
                  </a:path>
                </a:pathLst>
              </a:custGeom>
              <a:solidFill>
                <a:srgbClr val="B7B7B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1"/>
              <p:cNvSpPr/>
              <p:nvPr/>
            </p:nvSpPr>
            <p:spPr>
              <a:xfrm>
                <a:off x="5484459" y="3073177"/>
                <a:ext cx="18115" cy="39216"/>
              </a:xfrm>
              <a:custGeom>
                <a:avLst/>
                <a:gdLst/>
                <a:ahLst/>
                <a:cxnLst/>
                <a:rect l="l" t="t" r="r" b="b"/>
                <a:pathLst>
                  <a:path w="461" h="998" extrusionOk="0">
                    <a:moveTo>
                      <a:pt x="177" y="0"/>
                    </a:moveTo>
                    <a:cubicBezTo>
                      <a:pt x="138" y="0"/>
                      <a:pt x="102" y="22"/>
                      <a:pt x="98" y="47"/>
                    </a:cubicBezTo>
                    <a:lnTo>
                      <a:pt x="4" y="948"/>
                    </a:lnTo>
                    <a:cubicBezTo>
                      <a:pt x="1" y="976"/>
                      <a:pt x="34" y="998"/>
                      <a:pt x="77" y="998"/>
                    </a:cubicBezTo>
                    <a:lnTo>
                      <a:pt x="284" y="998"/>
                    </a:lnTo>
                    <a:cubicBezTo>
                      <a:pt x="327" y="998"/>
                      <a:pt x="364" y="976"/>
                      <a:pt x="367" y="948"/>
                    </a:cubicBezTo>
                    <a:lnTo>
                      <a:pt x="461" y="47"/>
                    </a:lnTo>
                    <a:cubicBezTo>
                      <a:pt x="461" y="22"/>
                      <a:pt x="432" y="0"/>
                      <a:pt x="38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1"/>
              <p:cNvSpPr/>
              <p:nvPr/>
            </p:nvSpPr>
            <p:spPr>
              <a:xfrm>
                <a:off x="5684512" y="3073177"/>
                <a:ext cx="18076" cy="39216"/>
              </a:xfrm>
              <a:custGeom>
                <a:avLst/>
                <a:gdLst/>
                <a:ahLst/>
                <a:cxnLst/>
                <a:rect l="l" t="t" r="r" b="b"/>
                <a:pathLst>
                  <a:path w="460" h="998" extrusionOk="0">
                    <a:moveTo>
                      <a:pt x="176" y="0"/>
                    </a:moveTo>
                    <a:cubicBezTo>
                      <a:pt x="136" y="0"/>
                      <a:pt x="97" y="22"/>
                      <a:pt x="97" y="47"/>
                    </a:cubicBezTo>
                    <a:lnTo>
                      <a:pt x="4" y="948"/>
                    </a:lnTo>
                    <a:cubicBezTo>
                      <a:pt x="0" y="976"/>
                      <a:pt x="32" y="998"/>
                      <a:pt x="75" y="998"/>
                    </a:cubicBezTo>
                    <a:lnTo>
                      <a:pt x="283" y="998"/>
                    </a:lnTo>
                    <a:cubicBezTo>
                      <a:pt x="327" y="998"/>
                      <a:pt x="362" y="976"/>
                      <a:pt x="366" y="948"/>
                    </a:cubicBezTo>
                    <a:lnTo>
                      <a:pt x="459" y="47"/>
                    </a:lnTo>
                    <a:cubicBezTo>
                      <a:pt x="459" y="22"/>
                      <a:pt x="426" y="0"/>
                      <a:pt x="38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633633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05069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" name="Google Shape;441;p28">
            <a:extLst>
              <a:ext uri="{FF2B5EF4-FFF2-40B4-BE49-F238E27FC236}">
                <a16:creationId xmlns:a16="http://schemas.microsoft.com/office/drawing/2014/main" id="{C647CDA9-9D26-10AD-B5A5-FE31BA2C1DBE}"/>
              </a:ext>
            </a:extLst>
          </p:cNvPr>
          <p:cNvSpPr/>
          <p:nvPr/>
        </p:nvSpPr>
        <p:spPr>
          <a:xfrm>
            <a:off x="4354973" y="1172660"/>
            <a:ext cx="3994471" cy="3021900"/>
          </a:xfrm>
          <a:prstGeom prst="roundRect">
            <a:avLst>
              <a:gd name="adj" fmla="val 4313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396340"/>
            <a:ext cx="4688410" cy="481200"/>
          </a:xfrm>
        </p:spPr>
        <p:txBody>
          <a:bodyPr vert="horz"/>
          <a:lstStyle/>
          <a:p>
            <a:pPr algn="l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BUSINESS PROBLEM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79B11B8-5244-1963-5316-FFE9848A86EF}"/>
              </a:ext>
            </a:extLst>
          </p:cNvPr>
          <p:cNvSpPr txBox="1"/>
          <p:nvPr/>
        </p:nvSpPr>
        <p:spPr>
          <a:xfrm>
            <a:off x="360502" y="1211775"/>
            <a:ext cx="3928707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Banks and Financial Institutions need to maximize returns and minimize bad loans to safeguard financial stability</a:t>
            </a:r>
          </a:p>
          <a:p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According to Wells Fargo, the largest U.S. banks can attribute 15% of their revenue to their credit card portfolios</a:t>
            </a:r>
          </a:p>
          <a:p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A core growth strategy for banks is to increase the number of consumers who are offered credit, evident from the rising outstanding balances in the graph</a:t>
            </a:r>
          </a:p>
        </p:txBody>
      </p:sp>
      <p:pic>
        <p:nvPicPr>
          <p:cNvPr id="284" name="Picture 283">
            <a:extLst>
              <a:ext uri="{FF2B5EF4-FFF2-40B4-BE49-F238E27FC236}">
                <a16:creationId xmlns:a16="http://schemas.microsoft.com/office/drawing/2014/main" id="{91AA2A37-EC70-A7EB-1018-DC10D6AD35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21653" y="1307947"/>
            <a:ext cx="3755363" cy="2802440"/>
          </a:xfrm>
          <a:prstGeom prst="rect">
            <a:avLst/>
          </a:prstGeom>
        </p:spPr>
      </p:pic>
      <p:grpSp>
        <p:nvGrpSpPr>
          <p:cNvPr id="286" name="Google Shape;7428;p56">
            <a:extLst>
              <a:ext uri="{FF2B5EF4-FFF2-40B4-BE49-F238E27FC236}">
                <a16:creationId xmlns:a16="http://schemas.microsoft.com/office/drawing/2014/main" id="{7A84E444-1B83-40EC-9725-78DCB22D6175}"/>
              </a:ext>
            </a:extLst>
          </p:cNvPr>
          <p:cNvGrpSpPr/>
          <p:nvPr/>
        </p:nvGrpSpPr>
        <p:grpSpPr>
          <a:xfrm>
            <a:off x="7323945" y="4132087"/>
            <a:ext cx="422342" cy="355243"/>
            <a:chOff x="3564243" y="2289904"/>
            <a:chExt cx="422342" cy="355243"/>
          </a:xfrm>
        </p:grpSpPr>
        <p:sp>
          <p:nvSpPr>
            <p:cNvPr id="287" name="Google Shape;7429;p56">
              <a:extLst>
                <a:ext uri="{FF2B5EF4-FFF2-40B4-BE49-F238E27FC236}">
                  <a16:creationId xmlns:a16="http://schemas.microsoft.com/office/drawing/2014/main" id="{4BC11288-73F5-C13D-8B9E-BF3DBE7CC61D}"/>
                </a:ext>
              </a:extLst>
            </p:cNvPr>
            <p:cNvSpPr/>
            <p:nvPr/>
          </p:nvSpPr>
          <p:spPr>
            <a:xfrm>
              <a:off x="3564243" y="2291587"/>
              <a:ext cx="66177" cy="351655"/>
            </a:xfrm>
            <a:custGeom>
              <a:avLst/>
              <a:gdLst/>
              <a:ahLst/>
              <a:cxnLst/>
              <a:rect l="l" t="t" r="r" b="b"/>
              <a:pathLst>
                <a:path w="2084" h="11074" extrusionOk="0">
                  <a:moveTo>
                    <a:pt x="1703" y="1918"/>
                  </a:moveTo>
                  <a:lnTo>
                    <a:pt x="1703" y="2727"/>
                  </a:lnTo>
                  <a:cubicBezTo>
                    <a:pt x="1703" y="2823"/>
                    <a:pt x="1667" y="2930"/>
                    <a:pt x="1608" y="2966"/>
                  </a:cubicBezTo>
                  <a:cubicBezTo>
                    <a:pt x="1453" y="3085"/>
                    <a:pt x="1298" y="3287"/>
                    <a:pt x="1239" y="3501"/>
                  </a:cubicBezTo>
                  <a:lnTo>
                    <a:pt x="834" y="3501"/>
                  </a:lnTo>
                  <a:cubicBezTo>
                    <a:pt x="798" y="3299"/>
                    <a:pt x="667" y="3085"/>
                    <a:pt x="524" y="2989"/>
                  </a:cubicBezTo>
                  <a:cubicBezTo>
                    <a:pt x="453" y="2942"/>
                    <a:pt x="393" y="2823"/>
                    <a:pt x="393" y="2727"/>
                  </a:cubicBezTo>
                  <a:lnTo>
                    <a:pt x="393" y="1918"/>
                  </a:lnTo>
                  <a:close/>
                  <a:moveTo>
                    <a:pt x="1227" y="3882"/>
                  </a:moveTo>
                  <a:lnTo>
                    <a:pt x="1227" y="5144"/>
                  </a:lnTo>
                  <a:cubicBezTo>
                    <a:pt x="1227" y="6359"/>
                    <a:pt x="1239" y="7549"/>
                    <a:pt x="1369" y="8752"/>
                  </a:cubicBezTo>
                  <a:cubicBezTo>
                    <a:pt x="1453" y="9478"/>
                    <a:pt x="1489" y="10085"/>
                    <a:pt x="1489" y="10205"/>
                  </a:cubicBezTo>
                  <a:cubicBezTo>
                    <a:pt x="1477" y="10478"/>
                    <a:pt x="1298" y="10681"/>
                    <a:pt x="1048" y="10681"/>
                  </a:cubicBezTo>
                  <a:cubicBezTo>
                    <a:pt x="798" y="10681"/>
                    <a:pt x="619" y="10490"/>
                    <a:pt x="619" y="10228"/>
                  </a:cubicBezTo>
                  <a:cubicBezTo>
                    <a:pt x="619" y="10097"/>
                    <a:pt x="655" y="9490"/>
                    <a:pt x="738" y="8764"/>
                  </a:cubicBezTo>
                  <a:cubicBezTo>
                    <a:pt x="869" y="7561"/>
                    <a:pt x="881" y="6371"/>
                    <a:pt x="881" y="5168"/>
                  </a:cubicBezTo>
                  <a:lnTo>
                    <a:pt x="881" y="3882"/>
                  </a:lnTo>
                  <a:close/>
                  <a:moveTo>
                    <a:pt x="203" y="1"/>
                  </a:moveTo>
                  <a:cubicBezTo>
                    <a:pt x="96" y="1"/>
                    <a:pt x="0" y="84"/>
                    <a:pt x="0" y="191"/>
                  </a:cubicBezTo>
                  <a:lnTo>
                    <a:pt x="0" y="2727"/>
                  </a:lnTo>
                  <a:cubicBezTo>
                    <a:pt x="0" y="2966"/>
                    <a:pt x="143" y="3216"/>
                    <a:pt x="334" y="3335"/>
                  </a:cubicBezTo>
                  <a:cubicBezTo>
                    <a:pt x="393" y="3358"/>
                    <a:pt x="477" y="3573"/>
                    <a:pt x="477" y="3692"/>
                  </a:cubicBezTo>
                  <a:lnTo>
                    <a:pt x="477" y="5144"/>
                  </a:lnTo>
                  <a:cubicBezTo>
                    <a:pt x="477" y="6359"/>
                    <a:pt x="465" y="7526"/>
                    <a:pt x="346" y="8716"/>
                  </a:cubicBezTo>
                  <a:cubicBezTo>
                    <a:pt x="274" y="9454"/>
                    <a:pt x="226" y="10074"/>
                    <a:pt x="226" y="10228"/>
                  </a:cubicBezTo>
                  <a:cubicBezTo>
                    <a:pt x="226" y="10705"/>
                    <a:pt x="584" y="11074"/>
                    <a:pt x="1048" y="11074"/>
                  </a:cubicBezTo>
                  <a:cubicBezTo>
                    <a:pt x="1512" y="11074"/>
                    <a:pt x="1870" y="10705"/>
                    <a:pt x="1870" y="10228"/>
                  </a:cubicBezTo>
                  <a:cubicBezTo>
                    <a:pt x="1870" y="10074"/>
                    <a:pt x="1822" y="9454"/>
                    <a:pt x="1750" y="8716"/>
                  </a:cubicBezTo>
                  <a:cubicBezTo>
                    <a:pt x="1608" y="7526"/>
                    <a:pt x="1608" y="6359"/>
                    <a:pt x="1608" y="5144"/>
                  </a:cubicBezTo>
                  <a:lnTo>
                    <a:pt x="1608" y="3692"/>
                  </a:lnTo>
                  <a:cubicBezTo>
                    <a:pt x="1608" y="3561"/>
                    <a:pt x="1715" y="3358"/>
                    <a:pt x="1834" y="3275"/>
                  </a:cubicBezTo>
                  <a:cubicBezTo>
                    <a:pt x="2024" y="3144"/>
                    <a:pt x="2084" y="2906"/>
                    <a:pt x="2084" y="2704"/>
                  </a:cubicBezTo>
                  <a:lnTo>
                    <a:pt x="2084" y="251"/>
                  </a:lnTo>
                  <a:cubicBezTo>
                    <a:pt x="2084" y="168"/>
                    <a:pt x="2001" y="72"/>
                    <a:pt x="1893" y="72"/>
                  </a:cubicBezTo>
                  <a:cubicBezTo>
                    <a:pt x="1786" y="72"/>
                    <a:pt x="1703" y="168"/>
                    <a:pt x="1703" y="263"/>
                  </a:cubicBezTo>
                  <a:lnTo>
                    <a:pt x="1703" y="1537"/>
                  </a:lnTo>
                  <a:lnTo>
                    <a:pt x="1239" y="1537"/>
                  </a:lnTo>
                  <a:lnTo>
                    <a:pt x="1239" y="191"/>
                  </a:lnTo>
                  <a:cubicBezTo>
                    <a:pt x="1239" y="84"/>
                    <a:pt x="1155" y="1"/>
                    <a:pt x="1048" y="1"/>
                  </a:cubicBezTo>
                  <a:cubicBezTo>
                    <a:pt x="941" y="1"/>
                    <a:pt x="858" y="84"/>
                    <a:pt x="858" y="191"/>
                  </a:cubicBezTo>
                  <a:lnTo>
                    <a:pt x="858" y="1537"/>
                  </a:lnTo>
                  <a:lnTo>
                    <a:pt x="393" y="1537"/>
                  </a:lnTo>
                  <a:lnTo>
                    <a:pt x="393" y="191"/>
                  </a:lnTo>
                  <a:cubicBezTo>
                    <a:pt x="393" y="84"/>
                    <a:pt x="298" y="1"/>
                    <a:pt x="20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" name="Google Shape;7430;p56">
              <a:extLst>
                <a:ext uri="{FF2B5EF4-FFF2-40B4-BE49-F238E27FC236}">
                  <a16:creationId xmlns:a16="http://schemas.microsoft.com/office/drawing/2014/main" id="{F8B8CAC0-C45A-2625-46DE-A5D884AF457E}"/>
                </a:ext>
              </a:extLst>
            </p:cNvPr>
            <p:cNvSpPr/>
            <p:nvPr/>
          </p:nvSpPr>
          <p:spPr>
            <a:xfrm>
              <a:off x="3636835" y="2373674"/>
              <a:ext cx="236702" cy="236289"/>
            </a:xfrm>
            <a:custGeom>
              <a:avLst/>
              <a:gdLst/>
              <a:ahLst/>
              <a:cxnLst/>
              <a:rect l="l" t="t" r="r" b="b"/>
              <a:pathLst>
                <a:path w="7454" h="7441" extrusionOk="0">
                  <a:moveTo>
                    <a:pt x="1175" y="0"/>
                  </a:moveTo>
                  <a:cubicBezTo>
                    <a:pt x="1121" y="0"/>
                    <a:pt x="1069" y="25"/>
                    <a:pt x="1036" y="71"/>
                  </a:cubicBezTo>
                  <a:cubicBezTo>
                    <a:pt x="369" y="881"/>
                    <a:pt x="0" y="1905"/>
                    <a:pt x="0" y="2952"/>
                  </a:cubicBezTo>
                  <a:cubicBezTo>
                    <a:pt x="0" y="5429"/>
                    <a:pt x="2024" y="7441"/>
                    <a:pt x="4489" y="7441"/>
                  </a:cubicBezTo>
                  <a:cubicBezTo>
                    <a:pt x="5537" y="7441"/>
                    <a:pt x="6561" y="7072"/>
                    <a:pt x="7358" y="6405"/>
                  </a:cubicBezTo>
                  <a:cubicBezTo>
                    <a:pt x="7454" y="6322"/>
                    <a:pt x="7454" y="6203"/>
                    <a:pt x="7394" y="6131"/>
                  </a:cubicBezTo>
                  <a:cubicBezTo>
                    <a:pt x="7352" y="6083"/>
                    <a:pt x="7286" y="6058"/>
                    <a:pt x="7224" y="6058"/>
                  </a:cubicBezTo>
                  <a:cubicBezTo>
                    <a:pt x="7180" y="6058"/>
                    <a:pt x="7138" y="6071"/>
                    <a:pt x="7108" y="6096"/>
                  </a:cubicBezTo>
                  <a:cubicBezTo>
                    <a:pt x="6382" y="6703"/>
                    <a:pt x="5441" y="7048"/>
                    <a:pt x="4489" y="7048"/>
                  </a:cubicBezTo>
                  <a:cubicBezTo>
                    <a:pt x="2227" y="7048"/>
                    <a:pt x="381" y="5203"/>
                    <a:pt x="381" y="2928"/>
                  </a:cubicBezTo>
                  <a:cubicBezTo>
                    <a:pt x="381" y="1988"/>
                    <a:pt x="727" y="1047"/>
                    <a:pt x="1334" y="309"/>
                  </a:cubicBezTo>
                  <a:cubicBezTo>
                    <a:pt x="1405" y="226"/>
                    <a:pt x="1393" y="107"/>
                    <a:pt x="1298" y="47"/>
                  </a:cubicBezTo>
                  <a:cubicBezTo>
                    <a:pt x="1261" y="16"/>
                    <a:pt x="1217" y="0"/>
                    <a:pt x="117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7431;p56">
              <a:extLst>
                <a:ext uri="{FF2B5EF4-FFF2-40B4-BE49-F238E27FC236}">
                  <a16:creationId xmlns:a16="http://schemas.microsoft.com/office/drawing/2014/main" id="{95F9AC49-1177-6EB6-38E5-5ACC6F3C51F3}"/>
                </a:ext>
              </a:extLst>
            </p:cNvPr>
            <p:cNvSpPr/>
            <p:nvPr/>
          </p:nvSpPr>
          <p:spPr>
            <a:xfrm>
              <a:off x="3685230" y="2324104"/>
              <a:ext cx="237083" cy="235971"/>
            </a:xfrm>
            <a:custGeom>
              <a:avLst/>
              <a:gdLst/>
              <a:ahLst/>
              <a:cxnLst/>
              <a:rect l="l" t="t" r="r" b="b"/>
              <a:pathLst>
                <a:path w="7466" h="7431" extrusionOk="0">
                  <a:moveTo>
                    <a:pt x="2953" y="1"/>
                  </a:moveTo>
                  <a:cubicBezTo>
                    <a:pt x="1905" y="1"/>
                    <a:pt x="893" y="358"/>
                    <a:pt x="96" y="1025"/>
                  </a:cubicBezTo>
                  <a:cubicBezTo>
                    <a:pt x="0" y="1108"/>
                    <a:pt x="0" y="1227"/>
                    <a:pt x="60" y="1299"/>
                  </a:cubicBezTo>
                  <a:cubicBezTo>
                    <a:pt x="99" y="1344"/>
                    <a:pt x="151" y="1364"/>
                    <a:pt x="205" y="1364"/>
                  </a:cubicBezTo>
                  <a:cubicBezTo>
                    <a:pt x="250" y="1364"/>
                    <a:pt x="295" y="1350"/>
                    <a:pt x="334" y="1322"/>
                  </a:cubicBezTo>
                  <a:cubicBezTo>
                    <a:pt x="1060" y="715"/>
                    <a:pt x="2001" y="394"/>
                    <a:pt x="2953" y="394"/>
                  </a:cubicBezTo>
                  <a:cubicBezTo>
                    <a:pt x="5215" y="394"/>
                    <a:pt x="7061" y="2227"/>
                    <a:pt x="7061" y="4501"/>
                  </a:cubicBezTo>
                  <a:cubicBezTo>
                    <a:pt x="7061" y="5454"/>
                    <a:pt x="6727" y="6371"/>
                    <a:pt x="6120" y="7121"/>
                  </a:cubicBezTo>
                  <a:cubicBezTo>
                    <a:pt x="6049" y="7204"/>
                    <a:pt x="6061" y="7323"/>
                    <a:pt x="6156" y="7383"/>
                  </a:cubicBezTo>
                  <a:cubicBezTo>
                    <a:pt x="6180" y="7418"/>
                    <a:pt x="6227" y="7430"/>
                    <a:pt x="6275" y="7430"/>
                  </a:cubicBezTo>
                  <a:cubicBezTo>
                    <a:pt x="6322" y="7430"/>
                    <a:pt x="6382" y="7395"/>
                    <a:pt x="6418" y="7359"/>
                  </a:cubicBezTo>
                  <a:cubicBezTo>
                    <a:pt x="7084" y="6549"/>
                    <a:pt x="7442" y="5537"/>
                    <a:pt x="7442" y="4501"/>
                  </a:cubicBezTo>
                  <a:cubicBezTo>
                    <a:pt x="7465" y="2013"/>
                    <a:pt x="5441" y="1"/>
                    <a:pt x="295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" name="Google Shape;7432;p56">
              <a:extLst>
                <a:ext uri="{FF2B5EF4-FFF2-40B4-BE49-F238E27FC236}">
                  <a16:creationId xmlns:a16="http://schemas.microsoft.com/office/drawing/2014/main" id="{F72FA63A-675D-ABD8-45C8-E538CC209259}"/>
                </a:ext>
              </a:extLst>
            </p:cNvPr>
            <p:cNvSpPr/>
            <p:nvPr/>
          </p:nvSpPr>
          <p:spPr>
            <a:xfrm>
              <a:off x="3663668" y="2351699"/>
              <a:ext cx="230668" cy="230668"/>
            </a:xfrm>
            <a:custGeom>
              <a:avLst/>
              <a:gdLst/>
              <a:ahLst/>
              <a:cxnLst/>
              <a:rect l="l" t="t" r="r" b="b"/>
              <a:pathLst>
                <a:path w="7264" h="7264" extrusionOk="0">
                  <a:moveTo>
                    <a:pt x="3632" y="382"/>
                  </a:moveTo>
                  <a:cubicBezTo>
                    <a:pt x="5418" y="382"/>
                    <a:pt x="6871" y="1846"/>
                    <a:pt x="6871" y="3632"/>
                  </a:cubicBezTo>
                  <a:cubicBezTo>
                    <a:pt x="6871" y="5418"/>
                    <a:pt x="5418" y="6871"/>
                    <a:pt x="3632" y="6871"/>
                  </a:cubicBezTo>
                  <a:cubicBezTo>
                    <a:pt x="1846" y="6871"/>
                    <a:pt x="382" y="5418"/>
                    <a:pt x="382" y="3632"/>
                  </a:cubicBezTo>
                  <a:cubicBezTo>
                    <a:pt x="382" y="1846"/>
                    <a:pt x="1846" y="382"/>
                    <a:pt x="3632" y="382"/>
                  </a:cubicBezTo>
                  <a:close/>
                  <a:moveTo>
                    <a:pt x="3632" y="1"/>
                  </a:moveTo>
                  <a:cubicBezTo>
                    <a:pt x="1632" y="1"/>
                    <a:pt x="1" y="1632"/>
                    <a:pt x="1" y="3632"/>
                  </a:cubicBezTo>
                  <a:cubicBezTo>
                    <a:pt x="1" y="5633"/>
                    <a:pt x="1632" y="7264"/>
                    <a:pt x="3632" y="7264"/>
                  </a:cubicBezTo>
                  <a:cubicBezTo>
                    <a:pt x="5644" y="7264"/>
                    <a:pt x="7263" y="5621"/>
                    <a:pt x="7263" y="3632"/>
                  </a:cubicBezTo>
                  <a:cubicBezTo>
                    <a:pt x="7263" y="1620"/>
                    <a:pt x="5620" y="1"/>
                    <a:pt x="363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" name="Google Shape;7433;p56">
              <a:extLst>
                <a:ext uri="{FF2B5EF4-FFF2-40B4-BE49-F238E27FC236}">
                  <a16:creationId xmlns:a16="http://schemas.microsoft.com/office/drawing/2014/main" id="{7CC56443-5D41-4128-30FC-006D1FEA4689}"/>
                </a:ext>
              </a:extLst>
            </p:cNvPr>
            <p:cNvSpPr/>
            <p:nvPr/>
          </p:nvSpPr>
          <p:spPr>
            <a:xfrm>
              <a:off x="3933998" y="2289904"/>
              <a:ext cx="52586" cy="355243"/>
            </a:xfrm>
            <a:custGeom>
              <a:avLst/>
              <a:gdLst/>
              <a:ahLst/>
              <a:cxnLst/>
              <a:rect l="l" t="t" r="r" b="b"/>
              <a:pathLst>
                <a:path w="1656" h="11187" extrusionOk="0">
                  <a:moveTo>
                    <a:pt x="1251" y="554"/>
                  </a:moveTo>
                  <a:lnTo>
                    <a:pt x="1251" y="5555"/>
                  </a:lnTo>
                  <a:lnTo>
                    <a:pt x="715" y="5578"/>
                  </a:lnTo>
                  <a:lnTo>
                    <a:pt x="703" y="5578"/>
                  </a:lnTo>
                  <a:cubicBezTo>
                    <a:pt x="693" y="5580"/>
                    <a:pt x="683" y="5580"/>
                    <a:pt x="673" y="5580"/>
                  </a:cubicBezTo>
                  <a:cubicBezTo>
                    <a:pt x="583" y="5580"/>
                    <a:pt x="481" y="5536"/>
                    <a:pt x="417" y="5483"/>
                  </a:cubicBezTo>
                  <a:cubicBezTo>
                    <a:pt x="382" y="5436"/>
                    <a:pt x="370" y="5412"/>
                    <a:pt x="370" y="5412"/>
                  </a:cubicBezTo>
                  <a:lnTo>
                    <a:pt x="370" y="2411"/>
                  </a:lnTo>
                  <a:cubicBezTo>
                    <a:pt x="370" y="1697"/>
                    <a:pt x="703" y="1006"/>
                    <a:pt x="1251" y="554"/>
                  </a:cubicBezTo>
                  <a:close/>
                  <a:moveTo>
                    <a:pt x="1263" y="5959"/>
                  </a:moveTo>
                  <a:cubicBezTo>
                    <a:pt x="1263" y="9448"/>
                    <a:pt x="1275" y="10258"/>
                    <a:pt x="1275" y="10281"/>
                  </a:cubicBezTo>
                  <a:cubicBezTo>
                    <a:pt x="1263" y="10496"/>
                    <a:pt x="1203" y="10769"/>
                    <a:pt x="941" y="10769"/>
                  </a:cubicBezTo>
                  <a:cubicBezTo>
                    <a:pt x="858" y="10769"/>
                    <a:pt x="620" y="10769"/>
                    <a:pt x="620" y="10258"/>
                  </a:cubicBezTo>
                  <a:cubicBezTo>
                    <a:pt x="620" y="10115"/>
                    <a:pt x="667" y="9710"/>
                    <a:pt x="727" y="9246"/>
                  </a:cubicBezTo>
                  <a:cubicBezTo>
                    <a:pt x="822" y="8472"/>
                    <a:pt x="941" y="7400"/>
                    <a:pt x="941" y="6686"/>
                  </a:cubicBezTo>
                  <a:lnTo>
                    <a:pt x="941" y="5959"/>
                  </a:lnTo>
                  <a:close/>
                  <a:moveTo>
                    <a:pt x="1453" y="0"/>
                  </a:moveTo>
                  <a:cubicBezTo>
                    <a:pt x="1420" y="0"/>
                    <a:pt x="1388" y="6"/>
                    <a:pt x="1358" y="18"/>
                  </a:cubicBezTo>
                  <a:cubicBezTo>
                    <a:pt x="524" y="530"/>
                    <a:pt x="1" y="1447"/>
                    <a:pt x="1" y="2435"/>
                  </a:cubicBezTo>
                  <a:lnTo>
                    <a:pt x="1" y="5424"/>
                  </a:lnTo>
                  <a:cubicBezTo>
                    <a:pt x="1" y="5555"/>
                    <a:pt x="60" y="5674"/>
                    <a:pt x="179" y="5781"/>
                  </a:cubicBezTo>
                  <a:cubicBezTo>
                    <a:pt x="286" y="5876"/>
                    <a:pt x="417" y="5936"/>
                    <a:pt x="548" y="5959"/>
                  </a:cubicBezTo>
                  <a:lnTo>
                    <a:pt x="548" y="6709"/>
                  </a:lnTo>
                  <a:cubicBezTo>
                    <a:pt x="548" y="7400"/>
                    <a:pt x="429" y="8460"/>
                    <a:pt x="346" y="9222"/>
                  </a:cubicBezTo>
                  <a:cubicBezTo>
                    <a:pt x="286" y="9710"/>
                    <a:pt x="239" y="10091"/>
                    <a:pt x="239" y="10281"/>
                  </a:cubicBezTo>
                  <a:cubicBezTo>
                    <a:pt x="239" y="11115"/>
                    <a:pt x="774" y="11186"/>
                    <a:pt x="941" y="11186"/>
                  </a:cubicBezTo>
                  <a:cubicBezTo>
                    <a:pt x="1275" y="11186"/>
                    <a:pt x="1656" y="10948"/>
                    <a:pt x="1656" y="10281"/>
                  </a:cubicBezTo>
                  <a:lnTo>
                    <a:pt x="1656" y="185"/>
                  </a:lnTo>
                  <a:cubicBezTo>
                    <a:pt x="1656" y="113"/>
                    <a:pt x="1608" y="54"/>
                    <a:pt x="1548" y="18"/>
                  </a:cubicBezTo>
                  <a:cubicBezTo>
                    <a:pt x="1519" y="6"/>
                    <a:pt x="1486" y="0"/>
                    <a:pt x="145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92" name="Google Shape;7492;p56">
            <a:extLst>
              <a:ext uri="{FF2B5EF4-FFF2-40B4-BE49-F238E27FC236}">
                <a16:creationId xmlns:a16="http://schemas.microsoft.com/office/drawing/2014/main" id="{A34FB66B-6651-4DC9-4F8F-4F931923C7B6}"/>
              </a:ext>
            </a:extLst>
          </p:cNvPr>
          <p:cNvGrpSpPr/>
          <p:nvPr/>
        </p:nvGrpSpPr>
        <p:grpSpPr>
          <a:xfrm>
            <a:off x="7757460" y="4294497"/>
            <a:ext cx="372835" cy="342573"/>
            <a:chOff x="1952836" y="2774422"/>
            <a:chExt cx="372835" cy="342573"/>
          </a:xfrm>
        </p:grpSpPr>
        <p:sp>
          <p:nvSpPr>
            <p:cNvPr id="293" name="Google Shape;7493;p56">
              <a:extLst>
                <a:ext uri="{FF2B5EF4-FFF2-40B4-BE49-F238E27FC236}">
                  <a16:creationId xmlns:a16="http://schemas.microsoft.com/office/drawing/2014/main" id="{88E97C74-F53A-EFA1-F16F-3680A7B3A3BC}"/>
                </a:ext>
              </a:extLst>
            </p:cNvPr>
            <p:cNvSpPr/>
            <p:nvPr/>
          </p:nvSpPr>
          <p:spPr>
            <a:xfrm>
              <a:off x="2076490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6" y="941"/>
                    <a:pt x="345" y="811"/>
                    <a:pt x="345" y="644"/>
                  </a:cubicBezTo>
                  <a:cubicBezTo>
                    <a:pt x="345" y="477"/>
                    <a:pt x="476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0" y="1287"/>
                    <a:pt x="1286" y="1001"/>
                    <a:pt x="1286" y="644"/>
                  </a:cubicBezTo>
                  <a:cubicBezTo>
                    <a:pt x="1286" y="287"/>
                    <a:pt x="1000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" name="Google Shape;7494;p56">
              <a:extLst>
                <a:ext uri="{FF2B5EF4-FFF2-40B4-BE49-F238E27FC236}">
                  <a16:creationId xmlns:a16="http://schemas.microsoft.com/office/drawing/2014/main" id="{55FC4936-A130-31CB-CA3E-D030452B14EC}"/>
                </a:ext>
              </a:extLst>
            </p:cNvPr>
            <p:cNvSpPr/>
            <p:nvPr/>
          </p:nvSpPr>
          <p:spPr>
            <a:xfrm>
              <a:off x="2208432" y="3057581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287" h="1287" extrusionOk="0">
                  <a:moveTo>
                    <a:pt x="643" y="346"/>
                  </a:moveTo>
                  <a:cubicBezTo>
                    <a:pt x="810" y="346"/>
                    <a:pt x="941" y="477"/>
                    <a:pt x="941" y="644"/>
                  </a:cubicBezTo>
                  <a:cubicBezTo>
                    <a:pt x="941" y="811"/>
                    <a:pt x="810" y="941"/>
                    <a:pt x="643" y="941"/>
                  </a:cubicBezTo>
                  <a:cubicBezTo>
                    <a:pt x="477" y="941"/>
                    <a:pt x="346" y="811"/>
                    <a:pt x="346" y="644"/>
                  </a:cubicBezTo>
                  <a:cubicBezTo>
                    <a:pt x="346" y="477"/>
                    <a:pt x="477" y="346"/>
                    <a:pt x="643" y="346"/>
                  </a:cubicBezTo>
                  <a:close/>
                  <a:moveTo>
                    <a:pt x="643" y="1"/>
                  </a:moveTo>
                  <a:cubicBezTo>
                    <a:pt x="286" y="1"/>
                    <a:pt x="0" y="287"/>
                    <a:pt x="0" y="644"/>
                  </a:cubicBezTo>
                  <a:cubicBezTo>
                    <a:pt x="0" y="1001"/>
                    <a:pt x="286" y="1287"/>
                    <a:pt x="643" y="1287"/>
                  </a:cubicBezTo>
                  <a:cubicBezTo>
                    <a:pt x="1001" y="1287"/>
                    <a:pt x="1286" y="1001"/>
                    <a:pt x="1286" y="644"/>
                  </a:cubicBezTo>
                  <a:cubicBezTo>
                    <a:pt x="1286" y="287"/>
                    <a:pt x="1001" y="1"/>
                    <a:pt x="64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" name="Google Shape;7495;p56">
              <a:extLst>
                <a:ext uri="{FF2B5EF4-FFF2-40B4-BE49-F238E27FC236}">
                  <a16:creationId xmlns:a16="http://schemas.microsoft.com/office/drawing/2014/main" id="{038A0735-0AC6-167A-DBDD-0AC2E7C189FB}"/>
                </a:ext>
              </a:extLst>
            </p:cNvPr>
            <p:cNvSpPr/>
            <p:nvPr/>
          </p:nvSpPr>
          <p:spPr>
            <a:xfrm>
              <a:off x="1952836" y="2774422"/>
              <a:ext cx="372835" cy="342573"/>
            </a:xfrm>
            <a:custGeom>
              <a:avLst/>
              <a:gdLst/>
              <a:ahLst/>
              <a:cxnLst/>
              <a:rect l="l" t="t" r="r" b="b"/>
              <a:pathLst>
                <a:path w="11741" h="10788" extrusionOk="0">
                  <a:moveTo>
                    <a:pt x="5382" y="1988"/>
                  </a:moveTo>
                  <a:lnTo>
                    <a:pt x="5382" y="3001"/>
                  </a:lnTo>
                  <a:lnTo>
                    <a:pt x="4359" y="3001"/>
                  </a:lnTo>
                  <a:lnTo>
                    <a:pt x="4359" y="1988"/>
                  </a:lnTo>
                  <a:close/>
                  <a:moveTo>
                    <a:pt x="6752" y="1988"/>
                  </a:moveTo>
                  <a:lnTo>
                    <a:pt x="6752" y="3001"/>
                  </a:lnTo>
                  <a:lnTo>
                    <a:pt x="5728" y="3001"/>
                  </a:lnTo>
                  <a:lnTo>
                    <a:pt x="5728" y="1988"/>
                  </a:lnTo>
                  <a:close/>
                  <a:moveTo>
                    <a:pt x="8121" y="1988"/>
                  </a:moveTo>
                  <a:lnTo>
                    <a:pt x="8121" y="3001"/>
                  </a:lnTo>
                  <a:lnTo>
                    <a:pt x="7097" y="3001"/>
                  </a:lnTo>
                  <a:lnTo>
                    <a:pt x="7097" y="1988"/>
                  </a:lnTo>
                  <a:close/>
                  <a:moveTo>
                    <a:pt x="9490" y="1988"/>
                  </a:moveTo>
                  <a:lnTo>
                    <a:pt x="9490" y="3001"/>
                  </a:lnTo>
                  <a:lnTo>
                    <a:pt x="8466" y="3001"/>
                  </a:lnTo>
                  <a:lnTo>
                    <a:pt x="8466" y="1988"/>
                  </a:lnTo>
                  <a:close/>
                  <a:moveTo>
                    <a:pt x="10324" y="1988"/>
                  </a:moveTo>
                  <a:lnTo>
                    <a:pt x="10085" y="3001"/>
                  </a:lnTo>
                  <a:lnTo>
                    <a:pt x="9847" y="3001"/>
                  </a:lnTo>
                  <a:lnTo>
                    <a:pt x="9847" y="1988"/>
                  </a:lnTo>
                  <a:close/>
                  <a:moveTo>
                    <a:pt x="4001" y="2000"/>
                  </a:moveTo>
                  <a:lnTo>
                    <a:pt x="4001" y="3012"/>
                  </a:lnTo>
                  <a:lnTo>
                    <a:pt x="3311" y="3012"/>
                  </a:lnTo>
                  <a:lnTo>
                    <a:pt x="2965" y="2000"/>
                  </a:lnTo>
                  <a:close/>
                  <a:moveTo>
                    <a:pt x="10014" y="3334"/>
                  </a:moveTo>
                  <a:lnTo>
                    <a:pt x="9847" y="4048"/>
                  </a:lnTo>
                  <a:lnTo>
                    <a:pt x="9847" y="3334"/>
                  </a:lnTo>
                  <a:close/>
                  <a:moveTo>
                    <a:pt x="4013" y="3334"/>
                  </a:moveTo>
                  <a:lnTo>
                    <a:pt x="4013" y="4370"/>
                  </a:lnTo>
                  <a:lnTo>
                    <a:pt x="3823" y="4370"/>
                  </a:lnTo>
                  <a:lnTo>
                    <a:pt x="3454" y="3334"/>
                  </a:lnTo>
                  <a:close/>
                  <a:moveTo>
                    <a:pt x="5371" y="3334"/>
                  </a:moveTo>
                  <a:lnTo>
                    <a:pt x="5371" y="4370"/>
                  </a:lnTo>
                  <a:lnTo>
                    <a:pt x="4347" y="4370"/>
                  </a:lnTo>
                  <a:lnTo>
                    <a:pt x="4347" y="3334"/>
                  </a:lnTo>
                  <a:close/>
                  <a:moveTo>
                    <a:pt x="6752" y="3334"/>
                  </a:moveTo>
                  <a:lnTo>
                    <a:pt x="6752" y="4370"/>
                  </a:lnTo>
                  <a:lnTo>
                    <a:pt x="5728" y="4370"/>
                  </a:lnTo>
                  <a:lnTo>
                    <a:pt x="5728" y="3334"/>
                  </a:lnTo>
                  <a:close/>
                  <a:moveTo>
                    <a:pt x="8121" y="3358"/>
                  </a:moveTo>
                  <a:lnTo>
                    <a:pt x="8121" y="4382"/>
                  </a:lnTo>
                  <a:lnTo>
                    <a:pt x="7097" y="4382"/>
                  </a:lnTo>
                  <a:lnTo>
                    <a:pt x="7097" y="3358"/>
                  </a:lnTo>
                  <a:close/>
                  <a:moveTo>
                    <a:pt x="9514" y="3358"/>
                  </a:moveTo>
                  <a:lnTo>
                    <a:pt x="9514" y="4382"/>
                  </a:lnTo>
                  <a:lnTo>
                    <a:pt x="8478" y="4382"/>
                  </a:lnTo>
                  <a:lnTo>
                    <a:pt x="8478" y="3358"/>
                  </a:lnTo>
                  <a:close/>
                  <a:moveTo>
                    <a:pt x="4001" y="4727"/>
                  </a:moveTo>
                  <a:lnTo>
                    <a:pt x="4001" y="4941"/>
                  </a:lnTo>
                  <a:lnTo>
                    <a:pt x="3930" y="4727"/>
                  </a:lnTo>
                  <a:close/>
                  <a:moveTo>
                    <a:pt x="5371" y="4715"/>
                  </a:moveTo>
                  <a:lnTo>
                    <a:pt x="5371" y="5525"/>
                  </a:lnTo>
                  <a:cubicBezTo>
                    <a:pt x="5297" y="5521"/>
                    <a:pt x="5230" y="5520"/>
                    <a:pt x="5167" y="5520"/>
                  </a:cubicBezTo>
                  <a:cubicBezTo>
                    <a:pt x="5049" y="5520"/>
                    <a:pt x="4947" y="5524"/>
                    <a:pt x="4854" y="5524"/>
                  </a:cubicBezTo>
                  <a:cubicBezTo>
                    <a:pt x="4666" y="5524"/>
                    <a:pt x="4516" y="5507"/>
                    <a:pt x="4347" y="5406"/>
                  </a:cubicBezTo>
                  <a:lnTo>
                    <a:pt x="4347" y="4715"/>
                  </a:lnTo>
                  <a:close/>
                  <a:moveTo>
                    <a:pt x="6752" y="4727"/>
                  </a:moveTo>
                  <a:lnTo>
                    <a:pt x="6752" y="5525"/>
                  </a:lnTo>
                  <a:lnTo>
                    <a:pt x="5728" y="5525"/>
                  </a:lnTo>
                  <a:lnTo>
                    <a:pt x="5728" y="4727"/>
                  </a:lnTo>
                  <a:close/>
                  <a:moveTo>
                    <a:pt x="8121" y="4727"/>
                  </a:moveTo>
                  <a:lnTo>
                    <a:pt x="8121" y="5525"/>
                  </a:lnTo>
                  <a:lnTo>
                    <a:pt x="7097" y="5525"/>
                  </a:lnTo>
                  <a:lnTo>
                    <a:pt x="7097" y="4727"/>
                  </a:lnTo>
                  <a:close/>
                  <a:moveTo>
                    <a:pt x="9490" y="4727"/>
                  </a:moveTo>
                  <a:lnTo>
                    <a:pt x="9490" y="5525"/>
                  </a:lnTo>
                  <a:lnTo>
                    <a:pt x="8466" y="5525"/>
                  </a:lnTo>
                  <a:lnTo>
                    <a:pt x="8466" y="4727"/>
                  </a:lnTo>
                  <a:close/>
                  <a:moveTo>
                    <a:pt x="4537" y="8680"/>
                  </a:moveTo>
                  <a:cubicBezTo>
                    <a:pt x="5025" y="8680"/>
                    <a:pt x="5418" y="9085"/>
                    <a:pt x="5418" y="9561"/>
                  </a:cubicBezTo>
                  <a:cubicBezTo>
                    <a:pt x="5418" y="10037"/>
                    <a:pt x="5025" y="10442"/>
                    <a:pt x="4537" y="10442"/>
                  </a:cubicBezTo>
                  <a:cubicBezTo>
                    <a:pt x="4049" y="10442"/>
                    <a:pt x="3656" y="10049"/>
                    <a:pt x="3656" y="9561"/>
                  </a:cubicBezTo>
                  <a:cubicBezTo>
                    <a:pt x="3656" y="9085"/>
                    <a:pt x="4049" y="8680"/>
                    <a:pt x="4537" y="8680"/>
                  </a:cubicBezTo>
                  <a:close/>
                  <a:moveTo>
                    <a:pt x="8692" y="8680"/>
                  </a:moveTo>
                  <a:cubicBezTo>
                    <a:pt x="9181" y="8680"/>
                    <a:pt x="9573" y="9085"/>
                    <a:pt x="9573" y="9561"/>
                  </a:cubicBezTo>
                  <a:cubicBezTo>
                    <a:pt x="9573" y="10037"/>
                    <a:pt x="9181" y="10442"/>
                    <a:pt x="8692" y="10442"/>
                  </a:cubicBezTo>
                  <a:cubicBezTo>
                    <a:pt x="8204" y="10442"/>
                    <a:pt x="7811" y="10049"/>
                    <a:pt x="7811" y="9561"/>
                  </a:cubicBezTo>
                  <a:cubicBezTo>
                    <a:pt x="7811" y="9085"/>
                    <a:pt x="8204" y="8680"/>
                    <a:pt x="8692" y="8680"/>
                  </a:cubicBezTo>
                  <a:close/>
                  <a:moveTo>
                    <a:pt x="620" y="0"/>
                  </a:moveTo>
                  <a:cubicBezTo>
                    <a:pt x="287" y="0"/>
                    <a:pt x="1" y="286"/>
                    <a:pt x="1" y="631"/>
                  </a:cubicBezTo>
                  <a:cubicBezTo>
                    <a:pt x="1" y="976"/>
                    <a:pt x="287" y="1250"/>
                    <a:pt x="620" y="1250"/>
                  </a:cubicBezTo>
                  <a:lnTo>
                    <a:pt x="1394" y="1250"/>
                  </a:lnTo>
                  <a:lnTo>
                    <a:pt x="2346" y="3965"/>
                  </a:lnTo>
                  <a:cubicBezTo>
                    <a:pt x="2374" y="4029"/>
                    <a:pt x="2444" y="4072"/>
                    <a:pt x="2513" y="4072"/>
                  </a:cubicBezTo>
                  <a:cubicBezTo>
                    <a:pt x="2533" y="4072"/>
                    <a:pt x="2553" y="4068"/>
                    <a:pt x="2573" y="4060"/>
                  </a:cubicBezTo>
                  <a:cubicBezTo>
                    <a:pt x="2668" y="4036"/>
                    <a:pt x="2704" y="3929"/>
                    <a:pt x="2680" y="3846"/>
                  </a:cubicBezTo>
                  <a:cubicBezTo>
                    <a:pt x="1739" y="1191"/>
                    <a:pt x="1692" y="1072"/>
                    <a:pt x="1692" y="1072"/>
                  </a:cubicBezTo>
                  <a:cubicBezTo>
                    <a:pt x="1656" y="965"/>
                    <a:pt x="1561" y="905"/>
                    <a:pt x="1441" y="905"/>
                  </a:cubicBezTo>
                  <a:lnTo>
                    <a:pt x="620" y="905"/>
                  </a:lnTo>
                  <a:cubicBezTo>
                    <a:pt x="465" y="905"/>
                    <a:pt x="346" y="774"/>
                    <a:pt x="346" y="631"/>
                  </a:cubicBezTo>
                  <a:cubicBezTo>
                    <a:pt x="346" y="464"/>
                    <a:pt x="477" y="345"/>
                    <a:pt x="620" y="345"/>
                  </a:cubicBezTo>
                  <a:lnTo>
                    <a:pt x="1441" y="345"/>
                  </a:lnTo>
                  <a:cubicBezTo>
                    <a:pt x="1787" y="345"/>
                    <a:pt x="2084" y="536"/>
                    <a:pt x="2215" y="845"/>
                  </a:cubicBezTo>
                  <a:cubicBezTo>
                    <a:pt x="2418" y="1429"/>
                    <a:pt x="3585" y="4703"/>
                    <a:pt x="3751" y="5191"/>
                  </a:cubicBezTo>
                  <a:cubicBezTo>
                    <a:pt x="3870" y="5548"/>
                    <a:pt x="4287" y="5882"/>
                    <a:pt x="4775" y="5882"/>
                  </a:cubicBezTo>
                  <a:lnTo>
                    <a:pt x="10978" y="5882"/>
                  </a:lnTo>
                  <a:cubicBezTo>
                    <a:pt x="11145" y="5882"/>
                    <a:pt x="11264" y="6013"/>
                    <a:pt x="11264" y="6168"/>
                  </a:cubicBezTo>
                  <a:cubicBezTo>
                    <a:pt x="11264" y="6322"/>
                    <a:pt x="11133" y="6441"/>
                    <a:pt x="10978" y="6441"/>
                  </a:cubicBezTo>
                  <a:lnTo>
                    <a:pt x="4775" y="6441"/>
                  </a:lnTo>
                  <a:cubicBezTo>
                    <a:pt x="4108" y="6441"/>
                    <a:pt x="3489" y="6049"/>
                    <a:pt x="3227" y="5417"/>
                  </a:cubicBezTo>
                  <a:lnTo>
                    <a:pt x="2882" y="4453"/>
                  </a:lnTo>
                  <a:cubicBezTo>
                    <a:pt x="2863" y="4377"/>
                    <a:pt x="2791" y="4339"/>
                    <a:pt x="2720" y="4339"/>
                  </a:cubicBezTo>
                  <a:cubicBezTo>
                    <a:pt x="2702" y="4339"/>
                    <a:pt x="2684" y="4341"/>
                    <a:pt x="2668" y="4346"/>
                  </a:cubicBezTo>
                  <a:cubicBezTo>
                    <a:pt x="2573" y="4382"/>
                    <a:pt x="2525" y="4477"/>
                    <a:pt x="2561" y="4572"/>
                  </a:cubicBezTo>
                  <a:cubicBezTo>
                    <a:pt x="2846" y="5275"/>
                    <a:pt x="2846" y="5596"/>
                    <a:pt x="3180" y="6013"/>
                  </a:cubicBezTo>
                  <a:lnTo>
                    <a:pt x="2799" y="6560"/>
                  </a:lnTo>
                  <a:cubicBezTo>
                    <a:pt x="2215" y="7394"/>
                    <a:pt x="2715" y="8549"/>
                    <a:pt x="3716" y="8680"/>
                  </a:cubicBezTo>
                  <a:cubicBezTo>
                    <a:pt x="2918" y="9418"/>
                    <a:pt x="3442" y="10787"/>
                    <a:pt x="4549" y="10787"/>
                  </a:cubicBezTo>
                  <a:cubicBezTo>
                    <a:pt x="5656" y="10787"/>
                    <a:pt x="6168" y="9454"/>
                    <a:pt x="5394" y="8692"/>
                  </a:cubicBezTo>
                  <a:lnTo>
                    <a:pt x="7871" y="8692"/>
                  </a:lnTo>
                  <a:cubicBezTo>
                    <a:pt x="7085" y="9454"/>
                    <a:pt x="7621" y="10787"/>
                    <a:pt x="8716" y="10787"/>
                  </a:cubicBezTo>
                  <a:cubicBezTo>
                    <a:pt x="9823" y="10787"/>
                    <a:pt x="10335" y="9454"/>
                    <a:pt x="9562" y="8692"/>
                  </a:cubicBezTo>
                  <a:lnTo>
                    <a:pt x="9788" y="8692"/>
                  </a:lnTo>
                  <a:cubicBezTo>
                    <a:pt x="10133" y="8692"/>
                    <a:pt x="10419" y="8406"/>
                    <a:pt x="10419" y="8073"/>
                  </a:cubicBezTo>
                  <a:cubicBezTo>
                    <a:pt x="10419" y="7727"/>
                    <a:pt x="10133" y="7442"/>
                    <a:pt x="9788" y="7442"/>
                  </a:cubicBezTo>
                  <a:lnTo>
                    <a:pt x="8228" y="7442"/>
                  </a:lnTo>
                  <a:cubicBezTo>
                    <a:pt x="8133" y="7442"/>
                    <a:pt x="8061" y="7513"/>
                    <a:pt x="8061" y="7608"/>
                  </a:cubicBezTo>
                  <a:cubicBezTo>
                    <a:pt x="8061" y="7692"/>
                    <a:pt x="8133" y="7775"/>
                    <a:pt x="8228" y="7775"/>
                  </a:cubicBezTo>
                  <a:lnTo>
                    <a:pt x="9788" y="7775"/>
                  </a:lnTo>
                  <a:cubicBezTo>
                    <a:pt x="9954" y="7775"/>
                    <a:pt x="10074" y="7906"/>
                    <a:pt x="10074" y="8049"/>
                  </a:cubicBezTo>
                  <a:cubicBezTo>
                    <a:pt x="10074" y="8215"/>
                    <a:pt x="9943" y="8335"/>
                    <a:pt x="9788" y="8335"/>
                  </a:cubicBezTo>
                  <a:lnTo>
                    <a:pt x="3930" y="8335"/>
                  </a:lnTo>
                  <a:cubicBezTo>
                    <a:pt x="3108" y="8335"/>
                    <a:pt x="2620" y="7418"/>
                    <a:pt x="3096" y="6739"/>
                  </a:cubicBezTo>
                  <a:lnTo>
                    <a:pt x="3442" y="6251"/>
                  </a:lnTo>
                  <a:cubicBezTo>
                    <a:pt x="3573" y="6382"/>
                    <a:pt x="3739" y="6489"/>
                    <a:pt x="3906" y="6560"/>
                  </a:cubicBezTo>
                  <a:lnTo>
                    <a:pt x="3573" y="7072"/>
                  </a:lnTo>
                  <a:cubicBezTo>
                    <a:pt x="3358" y="7370"/>
                    <a:pt x="3573" y="7775"/>
                    <a:pt x="3942" y="7775"/>
                  </a:cubicBezTo>
                  <a:lnTo>
                    <a:pt x="7609" y="7775"/>
                  </a:lnTo>
                  <a:cubicBezTo>
                    <a:pt x="7692" y="7775"/>
                    <a:pt x="7764" y="7692"/>
                    <a:pt x="7764" y="7608"/>
                  </a:cubicBezTo>
                  <a:cubicBezTo>
                    <a:pt x="7764" y="7513"/>
                    <a:pt x="7692" y="7442"/>
                    <a:pt x="7609" y="7442"/>
                  </a:cubicBezTo>
                  <a:lnTo>
                    <a:pt x="3942" y="7442"/>
                  </a:lnTo>
                  <a:cubicBezTo>
                    <a:pt x="3847" y="7442"/>
                    <a:pt x="3811" y="7334"/>
                    <a:pt x="3847" y="7263"/>
                  </a:cubicBezTo>
                  <a:lnTo>
                    <a:pt x="4251" y="6703"/>
                  </a:lnTo>
                  <a:cubicBezTo>
                    <a:pt x="4465" y="6762"/>
                    <a:pt x="4535" y="6775"/>
                    <a:pt x="5134" y="6775"/>
                  </a:cubicBezTo>
                  <a:cubicBezTo>
                    <a:pt x="5630" y="6775"/>
                    <a:pt x="6490" y="6766"/>
                    <a:pt x="8097" y="6766"/>
                  </a:cubicBezTo>
                  <a:cubicBezTo>
                    <a:pt x="8881" y="6766"/>
                    <a:pt x="9842" y="6768"/>
                    <a:pt x="11026" y="6775"/>
                  </a:cubicBezTo>
                  <a:cubicBezTo>
                    <a:pt x="11371" y="6775"/>
                    <a:pt x="11645" y="6489"/>
                    <a:pt x="11645" y="6144"/>
                  </a:cubicBezTo>
                  <a:cubicBezTo>
                    <a:pt x="11598" y="5810"/>
                    <a:pt x="11312" y="5525"/>
                    <a:pt x="10966" y="5525"/>
                  </a:cubicBezTo>
                  <a:lnTo>
                    <a:pt x="10788" y="5525"/>
                  </a:lnTo>
                  <a:lnTo>
                    <a:pt x="11598" y="2048"/>
                  </a:lnTo>
                  <a:cubicBezTo>
                    <a:pt x="11740" y="1393"/>
                    <a:pt x="11252" y="762"/>
                    <a:pt x="10562" y="762"/>
                  </a:cubicBezTo>
                  <a:lnTo>
                    <a:pt x="7252" y="762"/>
                  </a:lnTo>
                  <a:cubicBezTo>
                    <a:pt x="7156" y="762"/>
                    <a:pt x="7085" y="834"/>
                    <a:pt x="7085" y="929"/>
                  </a:cubicBezTo>
                  <a:cubicBezTo>
                    <a:pt x="7085" y="1012"/>
                    <a:pt x="7156" y="1096"/>
                    <a:pt x="7252" y="1096"/>
                  </a:cubicBezTo>
                  <a:lnTo>
                    <a:pt x="10562" y="1096"/>
                  </a:lnTo>
                  <a:cubicBezTo>
                    <a:pt x="11026" y="1096"/>
                    <a:pt x="11359" y="1524"/>
                    <a:pt x="11252" y="1953"/>
                  </a:cubicBezTo>
                  <a:lnTo>
                    <a:pt x="10431" y="5525"/>
                  </a:lnTo>
                  <a:lnTo>
                    <a:pt x="9847" y="5525"/>
                  </a:lnTo>
                  <a:cubicBezTo>
                    <a:pt x="9943" y="5144"/>
                    <a:pt x="10585" y="2369"/>
                    <a:pt x="10705" y="1869"/>
                  </a:cubicBezTo>
                  <a:cubicBezTo>
                    <a:pt x="10728" y="1762"/>
                    <a:pt x="10645" y="1655"/>
                    <a:pt x="10538" y="1655"/>
                  </a:cubicBezTo>
                  <a:lnTo>
                    <a:pt x="2858" y="1655"/>
                  </a:lnTo>
                  <a:lnTo>
                    <a:pt x="2668" y="1096"/>
                  </a:lnTo>
                  <a:lnTo>
                    <a:pt x="6621" y="1096"/>
                  </a:lnTo>
                  <a:cubicBezTo>
                    <a:pt x="6716" y="1096"/>
                    <a:pt x="6787" y="1012"/>
                    <a:pt x="6787" y="929"/>
                  </a:cubicBezTo>
                  <a:cubicBezTo>
                    <a:pt x="6787" y="834"/>
                    <a:pt x="6716" y="762"/>
                    <a:pt x="6621" y="762"/>
                  </a:cubicBezTo>
                  <a:lnTo>
                    <a:pt x="2549" y="762"/>
                  </a:lnTo>
                  <a:cubicBezTo>
                    <a:pt x="2394" y="334"/>
                    <a:pt x="1965" y="0"/>
                    <a:pt x="14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96" name="Google Shape;7557;p56">
            <a:extLst>
              <a:ext uri="{FF2B5EF4-FFF2-40B4-BE49-F238E27FC236}">
                <a16:creationId xmlns:a16="http://schemas.microsoft.com/office/drawing/2014/main" id="{FF13B75E-ECED-853A-1D1D-13DBF7EF5043}"/>
              </a:ext>
            </a:extLst>
          </p:cNvPr>
          <p:cNvGrpSpPr/>
          <p:nvPr/>
        </p:nvGrpSpPr>
        <p:grpSpPr>
          <a:xfrm>
            <a:off x="4664966" y="991036"/>
            <a:ext cx="364484" cy="262423"/>
            <a:chOff x="3588440" y="3258368"/>
            <a:chExt cx="364484" cy="262423"/>
          </a:xfrm>
        </p:grpSpPr>
        <p:sp>
          <p:nvSpPr>
            <p:cNvPr id="297" name="Google Shape;7558;p56">
              <a:extLst>
                <a:ext uri="{FF2B5EF4-FFF2-40B4-BE49-F238E27FC236}">
                  <a16:creationId xmlns:a16="http://schemas.microsoft.com/office/drawing/2014/main" id="{300D59A6-0A0A-59D2-7661-74F3D257C20E}"/>
                </a:ext>
              </a:extLst>
            </p:cNvPr>
            <p:cNvSpPr/>
            <p:nvPr/>
          </p:nvSpPr>
          <p:spPr>
            <a:xfrm>
              <a:off x="3588440" y="3258368"/>
              <a:ext cx="364484" cy="262423"/>
            </a:xfrm>
            <a:custGeom>
              <a:avLst/>
              <a:gdLst/>
              <a:ahLst/>
              <a:cxnLst/>
              <a:rect l="l" t="t" r="r" b="b"/>
              <a:pathLst>
                <a:path w="11478" h="8264" extrusionOk="0">
                  <a:moveTo>
                    <a:pt x="1965" y="345"/>
                  </a:moveTo>
                  <a:cubicBezTo>
                    <a:pt x="2024" y="345"/>
                    <a:pt x="2072" y="393"/>
                    <a:pt x="2072" y="453"/>
                  </a:cubicBezTo>
                  <a:lnTo>
                    <a:pt x="2072" y="810"/>
                  </a:lnTo>
                  <a:lnTo>
                    <a:pt x="1346" y="810"/>
                  </a:lnTo>
                  <a:lnTo>
                    <a:pt x="1346" y="453"/>
                  </a:lnTo>
                  <a:cubicBezTo>
                    <a:pt x="1346" y="393"/>
                    <a:pt x="1381" y="345"/>
                    <a:pt x="1441" y="345"/>
                  </a:cubicBezTo>
                  <a:close/>
                  <a:moveTo>
                    <a:pt x="10311" y="1191"/>
                  </a:moveTo>
                  <a:cubicBezTo>
                    <a:pt x="10371" y="1191"/>
                    <a:pt x="10418" y="1238"/>
                    <a:pt x="10418" y="1298"/>
                  </a:cubicBezTo>
                  <a:lnTo>
                    <a:pt x="10418" y="1631"/>
                  </a:lnTo>
                  <a:lnTo>
                    <a:pt x="9037" y="1631"/>
                  </a:lnTo>
                  <a:lnTo>
                    <a:pt x="9037" y="1298"/>
                  </a:lnTo>
                  <a:cubicBezTo>
                    <a:pt x="9037" y="1238"/>
                    <a:pt x="9085" y="1191"/>
                    <a:pt x="9144" y="1191"/>
                  </a:cubicBezTo>
                  <a:close/>
                  <a:moveTo>
                    <a:pt x="1453" y="0"/>
                  </a:moveTo>
                  <a:cubicBezTo>
                    <a:pt x="1215" y="0"/>
                    <a:pt x="1012" y="203"/>
                    <a:pt x="1012" y="453"/>
                  </a:cubicBezTo>
                  <a:lnTo>
                    <a:pt x="1012" y="810"/>
                  </a:lnTo>
                  <a:lnTo>
                    <a:pt x="858" y="810"/>
                  </a:lnTo>
                  <a:cubicBezTo>
                    <a:pt x="667" y="810"/>
                    <a:pt x="477" y="881"/>
                    <a:pt x="322" y="1000"/>
                  </a:cubicBezTo>
                  <a:cubicBezTo>
                    <a:pt x="250" y="1060"/>
                    <a:pt x="238" y="1167"/>
                    <a:pt x="298" y="1238"/>
                  </a:cubicBezTo>
                  <a:cubicBezTo>
                    <a:pt x="334" y="1282"/>
                    <a:pt x="388" y="1308"/>
                    <a:pt x="441" y="1308"/>
                  </a:cubicBezTo>
                  <a:cubicBezTo>
                    <a:pt x="475" y="1308"/>
                    <a:pt x="508" y="1297"/>
                    <a:pt x="536" y="1274"/>
                  </a:cubicBezTo>
                  <a:cubicBezTo>
                    <a:pt x="663" y="1170"/>
                    <a:pt x="790" y="1154"/>
                    <a:pt x="914" y="1154"/>
                  </a:cubicBezTo>
                  <a:cubicBezTo>
                    <a:pt x="966" y="1154"/>
                    <a:pt x="1018" y="1157"/>
                    <a:pt x="1070" y="1157"/>
                  </a:cubicBezTo>
                  <a:cubicBezTo>
                    <a:pt x="1090" y="1157"/>
                    <a:pt x="1111" y="1156"/>
                    <a:pt x="1131" y="1155"/>
                  </a:cubicBezTo>
                  <a:lnTo>
                    <a:pt x="2560" y="1155"/>
                  </a:lnTo>
                  <a:cubicBezTo>
                    <a:pt x="2846" y="1155"/>
                    <a:pt x="3060" y="1369"/>
                    <a:pt x="3060" y="1655"/>
                  </a:cubicBezTo>
                  <a:lnTo>
                    <a:pt x="3060" y="2310"/>
                  </a:lnTo>
                  <a:cubicBezTo>
                    <a:pt x="3060" y="2405"/>
                    <a:pt x="3144" y="2477"/>
                    <a:pt x="3227" y="2477"/>
                  </a:cubicBezTo>
                  <a:cubicBezTo>
                    <a:pt x="3322" y="2477"/>
                    <a:pt x="3394" y="2405"/>
                    <a:pt x="3394" y="2310"/>
                  </a:cubicBezTo>
                  <a:lnTo>
                    <a:pt x="3394" y="1965"/>
                  </a:lnTo>
                  <a:lnTo>
                    <a:pt x="10656" y="1965"/>
                  </a:lnTo>
                  <a:cubicBezTo>
                    <a:pt x="10918" y="1988"/>
                    <a:pt x="11133" y="2203"/>
                    <a:pt x="11133" y="2477"/>
                  </a:cubicBezTo>
                  <a:lnTo>
                    <a:pt x="11133" y="2679"/>
                  </a:lnTo>
                  <a:lnTo>
                    <a:pt x="10835" y="2679"/>
                  </a:lnTo>
                  <a:cubicBezTo>
                    <a:pt x="10740" y="2679"/>
                    <a:pt x="10668" y="2762"/>
                    <a:pt x="10668" y="2846"/>
                  </a:cubicBezTo>
                  <a:cubicBezTo>
                    <a:pt x="10668" y="2941"/>
                    <a:pt x="10740" y="3012"/>
                    <a:pt x="10835" y="3012"/>
                  </a:cubicBezTo>
                  <a:lnTo>
                    <a:pt x="11133" y="3012"/>
                  </a:lnTo>
                  <a:lnTo>
                    <a:pt x="11133" y="7072"/>
                  </a:lnTo>
                  <a:lnTo>
                    <a:pt x="10347" y="7072"/>
                  </a:lnTo>
                  <a:cubicBezTo>
                    <a:pt x="10085" y="7072"/>
                    <a:pt x="9882" y="6870"/>
                    <a:pt x="9882" y="6608"/>
                  </a:cubicBezTo>
                  <a:lnTo>
                    <a:pt x="9882" y="3489"/>
                  </a:lnTo>
                  <a:cubicBezTo>
                    <a:pt x="9882" y="3274"/>
                    <a:pt x="10013" y="3096"/>
                    <a:pt x="10216" y="3036"/>
                  </a:cubicBezTo>
                  <a:cubicBezTo>
                    <a:pt x="10299" y="3012"/>
                    <a:pt x="10347" y="2917"/>
                    <a:pt x="10323" y="2834"/>
                  </a:cubicBezTo>
                  <a:cubicBezTo>
                    <a:pt x="10302" y="2750"/>
                    <a:pt x="10235" y="2713"/>
                    <a:pt x="10155" y="2713"/>
                  </a:cubicBezTo>
                  <a:cubicBezTo>
                    <a:pt x="10144" y="2713"/>
                    <a:pt x="10132" y="2713"/>
                    <a:pt x="10121" y="2715"/>
                  </a:cubicBezTo>
                  <a:cubicBezTo>
                    <a:pt x="9787" y="2822"/>
                    <a:pt x="9561" y="3131"/>
                    <a:pt x="9561" y="3489"/>
                  </a:cubicBezTo>
                  <a:lnTo>
                    <a:pt x="9561" y="6608"/>
                  </a:lnTo>
                  <a:cubicBezTo>
                    <a:pt x="9561" y="7061"/>
                    <a:pt x="9918" y="7418"/>
                    <a:pt x="10359" y="7418"/>
                  </a:cubicBezTo>
                  <a:lnTo>
                    <a:pt x="11145" y="7418"/>
                  </a:lnTo>
                  <a:cubicBezTo>
                    <a:pt x="11145" y="7703"/>
                    <a:pt x="10918" y="7918"/>
                    <a:pt x="10644" y="7918"/>
                  </a:cubicBezTo>
                  <a:lnTo>
                    <a:pt x="3239" y="7918"/>
                  </a:lnTo>
                  <a:cubicBezTo>
                    <a:pt x="3322" y="7823"/>
                    <a:pt x="3382" y="7715"/>
                    <a:pt x="3394" y="7584"/>
                  </a:cubicBezTo>
                  <a:cubicBezTo>
                    <a:pt x="3405" y="7489"/>
                    <a:pt x="3346" y="7406"/>
                    <a:pt x="3263" y="7370"/>
                  </a:cubicBezTo>
                  <a:cubicBezTo>
                    <a:pt x="3254" y="7369"/>
                    <a:pt x="3246" y="7369"/>
                    <a:pt x="3238" y="7369"/>
                  </a:cubicBezTo>
                  <a:cubicBezTo>
                    <a:pt x="3153" y="7369"/>
                    <a:pt x="3081" y="7425"/>
                    <a:pt x="3048" y="7501"/>
                  </a:cubicBezTo>
                  <a:cubicBezTo>
                    <a:pt x="3013" y="7739"/>
                    <a:pt x="2798" y="7906"/>
                    <a:pt x="2548" y="7906"/>
                  </a:cubicBezTo>
                  <a:lnTo>
                    <a:pt x="762" y="7906"/>
                  </a:lnTo>
                  <a:cubicBezTo>
                    <a:pt x="500" y="7882"/>
                    <a:pt x="322" y="7656"/>
                    <a:pt x="322" y="7406"/>
                  </a:cubicBezTo>
                  <a:lnTo>
                    <a:pt x="322" y="2619"/>
                  </a:lnTo>
                  <a:lnTo>
                    <a:pt x="322" y="1727"/>
                  </a:lnTo>
                  <a:cubicBezTo>
                    <a:pt x="322" y="1643"/>
                    <a:pt x="250" y="1572"/>
                    <a:pt x="167" y="1572"/>
                  </a:cubicBezTo>
                  <a:cubicBezTo>
                    <a:pt x="72" y="1572"/>
                    <a:pt x="0" y="1643"/>
                    <a:pt x="0" y="1727"/>
                  </a:cubicBezTo>
                  <a:lnTo>
                    <a:pt x="0" y="7418"/>
                  </a:lnTo>
                  <a:cubicBezTo>
                    <a:pt x="0" y="7834"/>
                    <a:pt x="310" y="8192"/>
                    <a:pt x="703" y="8251"/>
                  </a:cubicBezTo>
                  <a:cubicBezTo>
                    <a:pt x="715" y="8251"/>
                    <a:pt x="738" y="8251"/>
                    <a:pt x="762" y="8263"/>
                  </a:cubicBezTo>
                  <a:lnTo>
                    <a:pt x="10633" y="8263"/>
                  </a:lnTo>
                  <a:cubicBezTo>
                    <a:pt x="11109" y="8263"/>
                    <a:pt x="11478" y="7882"/>
                    <a:pt x="11478" y="7418"/>
                  </a:cubicBezTo>
                  <a:lnTo>
                    <a:pt x="11478" y="2477"/>
                  </a:lnTo>
                  <a:cubicBezTo>
                    <a:pt x="11478" y="2060"/>
                    <a:pt x="11168" y="1703"/>
                    <a:pt x="10764" y="1643"/>
                  </a:cubicBezTo>
                  <a:lnTo>
                    <a:pt x="10764" y="1298"/>
                  </a:lnTo>
                  <a:cubicBezTo>
                    <a:pt x="10764" y="1060"/>
                    <a:pt x="10573" y="857"/>
                    <a:pt x="10311" y="857"/>
                  </a:cubicBezTo>
                  <a:lnTo>
                    <a:pt x="9144" y="857"/>
                  </a:lnTo>
                  <a:cubicBezTo>
                    <a:pt x="8906" y="857"/>
                    <a:pt x="8692" y="1048"/>
                    <a:pt x="8692" y="1298"/>
                  </a:cubicBezTo>
                  <a:lnTo>
                    <a:pt x="8692" y="1631"/>
                  </a:lnTo>
                  <a:lnTo>
                    <a:pt x="8216" y="1631"/>
                  </a:lnTo>
                  <a:lnTo>
                    <a:pt x="7858" y="857"/>
                  </a:lnTo>
                  <a:cubicBezTo>
                    <a:pt x="7727" y="584"/>
                    <a:pt x="7454" y="405"/>
                    <a:pt x="7156" y="405"/>
                  </a:cubicBezTo>
                  <a:lnTo>
                    <a:pt x="5775" y="405"/>
                  </a:lnTo>
                  <a:cubicBezTo>
                    <a:pt x="5525" y="405"/>
                    <a:pt x="5287" y="524"/>
                    <a:pt x="5132" y="738"/>
                  </a:cubicBezTo>
                  <a:cubicBezTo>
                    <a:pt x="5072" y="810"/>
                    <a:pt x="5108" y="917"/>
                    <a:pt x="5179" y="976"/>
                  </a:cubicBezTo>
                  <a:cubicBezTo>
                    <a:pt x="5205" y="997"/>
                    <a:pt x="5234" y="1006"/>
                    <a:pt x="5264" y="1006"/>
                  </a:cubicBezTo>
                  <a:cubicBezTo>
                    <a:pt x="5320" y="1006"/>
                    <a:pt x="5379" y="975"/>
                    <a:pt x="5418" y="929"/>
                  </a:cubicBezTo>
                  <a:cubicBezTo>
                    <a:pt x="5489" y="810"/>
                    <a:pt x="5632" y="750"/>
                    <a:pt x="5775" y="750"/>
                  </a:cubicBezTo>
                  <a:lnTo>
                    <a:pt x="7156" y="750"/>
                  </a:lnTo>
                  <a:cubicBezTo>
                    <a:pt x="7323" y="750"/>
                    <a:pt x="7489" y="857"/>
                    <a:pt x="7561" y="1000"/>
                  </a:cubicBezTo>
                  <a:lnTo>
                    <a:pt x="7858" y="1631"/>
                  </a:lnTo>
                  <a:lnTo>
                    <a:pt x="5096" y="1631"/>
                  </a:lnTo>
                  <a:lnTo>
                    <a:pt x="5156" y="1512"/>
                  </a:lnTo>
                  <a:cubicBezTo>
                    <a:pt x="5191" y="1417"/>
                    <a:pt x="5156" y="1310"/>
                    <a:pt x="5060" y="1286"/>
                  </a:cubicBezTo>
                  <a:cubicBezTo>
                    <a:pt x="5034" y="1273"/>
                    <a:pt x="5008" y="1267"/>
                    <a:pt x="4984" y="1267"/>
                  </a:cubicBezTo>
                  <a:cubicBezTo>
                    <a:pt x="4918" y="1267"/>
                    <a:pt x="4860" y="1309"/>
                    <a:pt x="4834" y="1369"/>
                  </a:cubicBezTo>
                  <a:lnTo>
                    <a:pt x="4715" y="1631"/>
                  </a:lnTo>
                  <a:lnTo>
                    <a:pt x="3417" y="1631"/>
                  </a:lnTo>
                  <a:cubicBezTo>
                    <a:pt x="3405" y="1179"/>
                    <a:pt x="3036" y="810"/>
                    <a:pt x="2572" y="810"/>
                  </a:cubicBezTo>
                  <a:lnTo>
                    <a:pt x="2429" y="810"/>
                  </a:lnTo>
                  <a:lnTo>
                    <a:pt x="2429" y="453"/>
                  </a:lnTo>
                  <a:cubicBezTo>
                    <a:pt x="2429" y="214"/>
                    <a:pt x="2227" y="0"/>
                    <a:pt x="1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" name="Google Shape;7559;p56">
              <a:extLst>
                <a:ext uri="{FF2B5EF4-FFF2-40B4-BE49-F238E27FC236}">
                  <a16:creationId xmlns:a16="http://schemas.microsoft.com/office/drawing/2014/main" id="{5ABDE062-DD4C-D77E-F2F4-6BA7DF6B5B7B}"/>
                </a:ext>
              </a:extLst>
            </p:cNvPr>
            <p:cNvSpPr/>
            <p:nvPr/>
          </p:nvSpPr>
          <p:spPr>
            <a:xfrm>
              <a:off x="3685992" y="3347949"/>
              <a:ext cx="10606" cy="133498"/>
            </a:xfrm>
            <a:custGeom>
              <a:avLst/>
              <a:gdLst/>
              <a:ahLst/>
              <a:cxnLst/>
              <a:rect l="l" t="t" r="r" b="b"/>
              <a:pathLst>
                <a:path w="334" h="4204" extrusionOk="0">
                  <a:moveTo>
                    <a:pt x="155" y="1"/>
                  </a:moveTo>
                  <a:cubicBezTo>
                    <a:pt x="72" y="1"/>
                    <a:pt x="0" y="72"/>
                    <a:pt x="0" y="156"/>
                  </a:cubicBezTo>
                  <a:lnTo>
                    <a:pt x="0" y="4049"/>
                  </a:lnTo>
                  <a:cubicBezTo>
                    <a:pt x="0" y="4132"/>
                    <a:pt x="72" y="4204"/>
                    <a:pt x="155" y="4204"/>
                  </a:cubicBezTo>
                  <a:cubicBezTo>
                    <a:pt x="250" y="4204"/>
                    <a:pt x="322" y="4132"/>
                    <a:pt x="322" y="4049"/>
                  </a:cubicBezTo>
                  <a:lnTo>
                    <a:pt x="322" y="156"/>
                  </a:lnTo>
                  <a:cubicBezTo>
                    <a:pt x="333" y="84"/>
                    <a:pt x="250" y="1"/>
                    <a:pt x="15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" name="Google Shape;7560;p56">
              <a:extLst>
                <a:ext uri="{FF2B5EF4-FFF2-40B4-BE49-F238E27FC236}">
                  <a16:creationId xmlns:a16="http://schemas.microsoft.com/office/drawing/2014/main" id="{C89C3666-FCD8-3E52-47D9-BA784F190591}"/>
                </a:ext>
              </a:extLst>
            </p:cNvPr>
            <p:cNvSpPr/>
            <p:nvPr/>
          </p:nvSpPr>
          <p:spPr>
            <a:xfrm>
              <a:off x="3862549" y="3329785"/>
              <a:ext cx="40107" cy="30675"/>
            </a:xfrm>
            <a:custGeom>
              <a:avLst/>
              <a:gdLst/>
              <a:ahLst/>
              <a:cxnLst/>
              <a:rect l="l" t="t" r="r" b="b"/>
              <a:pathLst>
                <a:path w="1263" h="966" extrusionOk="0">
                  <a:moveTo>
                    <a:pt x="760" y="0"/>
                  </a:moveTo>
                  <a:cubicBezTo>
                    <a:pt x="704" y="0"/>
                    <a:pt x="646" y="27"/>
                    <a:pt x="608" y="73"/>
                  </a:cubicBezTo>
                  <a:cubicBezTo>
                    <a:pt x="548" y="144"/>
                    <a:pt x="584" y="251"/>
                    <a:pt x="655" y="311"/>
                  </a:cubicBezTo>
                  <a:cubicBezTo>
                    <a:pt x="786" y="406"/>
                    <a:pt x="715" y="621"/>
                    <a:pt x="548" y="621"/>
                  </a:cubicBezTo>
                  <a:cubicBezTo>
                    <a:pt x="441" y="621"/>
                    <a:pt x="357" y="537"/>
                    <a:pt x="381" y="418"/>
                  </a:cubicBezTo>
                  <a:cubicBezTo>
                    <a:pt x="405" y="323"/>
                    <a:pt x="346" y="240"/>
                    <a:pt x="250" y="228"/>
                  </a:cubicBezTo>
                  <a:cubicBezTo>
                    <a:pt x="243" y="227"/>
                    <a:pt x="236" y="226"/>
                    <a:pt x="229" y="226"/>
                  </a:cubicBezTo>
                  <a:cubicBezTo>
                    <a:pt x="151" y="226"/>
                    <a:pt x="71" y="282"/>
                    <a:pt x="60" y="359"/>
                  </a:cubicBezTo>
                  <a:cubicBezTo>
                    <a:pt x="0" y="692"/>
                    <a:pt x="238" y="966"/>
                    <a:pt x="560" y="966"/>
                  </a:cubicBezTo>
                  <a:cubicBezTo>
                    <a:pt x="1060" y="954"/>
                    <a:pt x="1262" y="323"/>
                    <a:pt x="846" y="25"/>
                  </a:cubicBezTo>
                  <a:cubicBezTo>
                    <a:pt x="820" y="8"/>
                    <a:pt x="791" y="0"/>
                    <a:pt x="76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7561;p56">
              <a:extLst>
                <a:ext uri="{FF2B5EF4-FFF2-40B4-BE49-F238E27FC236}">
                  <a16:creationId xmlns:a16="http://schemas.microsoft.com/office/drawing/2014/main" id="{DD071E8F-D421-46A9-D47E-79F670449BDF}"/>
                </a:ext>
              </a:extLst>
            </p:cNvPr>
            <p:cNvSpPr/>
            <p:nvPr/>
          </p:nvSpPr>
          <p:spPr>
            <a:xfrm>
              <a:off x="3703743" y="3323942"/>
              <a:ext cx="183417" cy="182083"/>
            </a:xfrm>
            <a:custGeom>
              <a:avLst/>
              <a:gdLst/>
              <a:ahLst/>
              <a:cxnLst/>
              <a:rect l="l" t="t" r="r" b="b"/>
              <a:pathLst>
                <a:path w="5776" h="5734" extrusionOk="0">
                  <a:moveTo>
                    <a:pt x="2879" y="1"/>
                  </a:moveTo>
                  <a:cubicBezTo>
                    <a:pt x="2275" y="1"/>
                    <a:pt x="1659" y="191"/>
                    <a:pt x="1120" y="614"/>
                  </a:cubicBezTo>
                  <a:cubicBezTo>
                    <a:pt x="1048" y="674"/>
                    <a:pt x="1025" y="781"/>
                    <a:pt x="1084" y="852"/>
                  </a:cubicBezTo>
                  <a:cubicBezTo>
                    <a:pt x="1119" y="901"/>
                    <a:pt x="1170" y="925"/>
                    <a:pt x="1220" y="925"/>
                  </a:cubicBezTo>
                  <a:cubicBezTo>
                    <a:pt x="1257" y="925"/>
                    <a:pt x="1292" y="913"/>
                    <a:pt x="1322" y="888"/>
                  </a:cubicBezTo>
                  <a:cubicBezTo>
                    <a:pt x="1801" y="509"/>
                    <a:pt x="2346" y="339"/>
                    <a:pt x="2879" y="339"/>
                  </a:cubicBezTo>
                  <a:cubicBezTo>
                    <a:pt x="4191" y="339"/>
                    <a:pt x="5430" y="1370"/>
                    <a:pt x="5430" y="2876"/>
                  </a:cubicBezTo>
                  <a:cubicBezTo>
                    <a:pt x="5430" y="3472"/>
                    <a:pt x="5228" y="4055"/>
                    <a:pt x="4835" y="4507"/>
                  </a:cubicBezTo>
                  <a:cubicBezTo>
                    <a:pt x="4346" y="5079"/>
                    <a:pt x="3644" y="5412"/>
                    <a:pt x="2894" y="5412"/>
                  </a:cubicBezTo>
                  <a:cubicBezTo>
                    <a:pt x="1489" y="5412"/>
                    <a:pt x="346" y="4269"/>
                    <a:pt x="346" y="2864"/>
                  </a:cubicBezTo>
                  <a:cubicBezTo>
                    <a:pt x="346" y="2305"/>
                    <a:pt x="525" y="1769"/>
                    <a:pt x="870" y="1316"/>
                  </a:cubicBezTo>
                  <a:cubicBezTo>
                    <a:pt x="929" y="1245"/>
                    <a:pt x="906" y="1138"/>
                    <a:pt x="834" y="1078"/>
                  </a:cubicBezTo>
                  <a:cubicBezTo>
                    <a:pt x="804" y="1054"/>
                    <a:pt x="768" y="1041"/>
                    <a:pt x="732" y="1041"/>
                  </a:cubicBezTo>
                  <a:cubicBezTo>
                    <a:pt x="682" y="1041"/>
                    <a:pt x="631" y="1065"/>
                    <a:pt x="596" y="1114"/>
                  </a:cubicBezTo>
                  <a:cubicBezTo>
                    <a:pt x="203" y="1614"/>
                    <a:pt x="1" y="2221"/>
                    <a:pt x="1" y="2852"/>
                  </a:cubicBezTo>
                  <a:cubicBezTo>
                    <a:pt x="1" y="4448"/>
                    <a:pt x="1298" y="5734"/>
                    <a:pt x="2882" y="5734"/>
                  </a:cubicBezTo>
                  <a:cubicBezTo>
                    <a:pt x="3751" y="5734"/>
                    <a:pt x="4549" y="5365"/>
                    <a:pt x="5108" y="4698"/>
                  </a:cubicBezTo>
                  <a:cubicBezTo>
                    <a:pt x="5537" y="4174"/>
                    <a:pt x="5775" y="3519"/>
                    <a:pt x="5775" y="2852"/>
                  </a:cubicBezTo>
                  <a:cubicBezTo>
                    <a:pt x="5775" y="1158"/>
                    <a:pt x="4365" y="1"/>
                    <a:pt x="287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" name="Google Shape;7562;p56">
              <a:extLst>
                <a:ext uri="{FF2B5EF4-FFF2-40B4-BE49-F238E27FC236}">
                  <a16:creationId xmlns:a16="http://schemas.microsoft.com/office/drawing/2014/main" id="{EAB2A920-92B2-202E-1E3A-B702CFF9DAA3}"/>
                </a:ext>
              </a:extLst>
            </p:cNvPr>
            <p:cNvSpPr/>
            <p:nvPr/>
          </p:nvSpPr>
          <p:spPr>
            <a:xfrm>
              <a:off x="3733624" y="3358174"/>
              <a:ext cx="138039" cy="114667"/>
            </a:xfrm>
            <a:custGeom>
              <a:avLst/>
              <a:gdLst/>
              <a:ahLst/>
              <a:cxnLst/>
              <a:rect l="l" t="t" r="r" b="b"/>
              <a:pathLst>
                <a:path w="4347" h="3611" extrusionOk="0">
                  <a:moveTo>
                    <a:pt x="1965" y="0"/>
                  </a:moveTo>
                  <a:cubicBezTo>
                    <a:pt x="846" y="0"/>
                    <a:pt x="0" y="1000"/>
                    <a:pt x="179" y="2096"/>
                  </a:cubicBezTo>
                  <a:cubicBezTo>
                    <a:pt x="190" y="2183"/>
                    <a:pt x="270" y="2240"/>
                    <a:pt x="348" y="2240"/>
                  </a:cubicBezTo>
                  <a:cubicBezTo>
                    <a:pt x="355" y="2240"/>
                    <a:pt x="362" y="2240"/>
                    <a:pt x="369" y="2239"/>
                  </a:cubicBezTo>
                  <a:cubicBezTo>
                    <a:pt x="465" y="2215"/>
                    <a:pt x="524" y="2132"/>
                    <a:pt x="500" y="2036"/>
                  </a:cubicBezTo>
                  <a:cubicBezTo>
                    <a:pt x="347" y="1083"/>
                    <a:pt x="1112" y="331"/>
                    <a:pt x="1952" y="331"/>
                  </a:cubicBezTo>
                  <a:cubicBezTo>
                    <a:pt x="2288" y="331"/>
                    <a:pt x="2635" y="451"/>
                    <a:pt x="2941" y="727"/>
                  </a:cubicBezTo>
                  <a:cubicBezTo>
                    <a:pt x="3525" y="1262"/>
                    <a:pt x="3572" y="2191"/>
                    <a:pt x="3013" y="2798"/>
                  </a:cubicBezTo>
                  <a:cubicBezTo>
                    <a:pt x="2727" y="3116"/>
                    <a:pt x="2334" y="3271"/>
                    <a:pt x="1942" y="3271"/>
                  </a:cubicBezTo>
                  <a:cubicBezTo>
                    <a:pt x="1468" y="3271"/>
                    <a:pt x="995" y="3045"/>
                    <a:pt x="715" y="2608"/>
                  </a:cubicBezTo>
                  <a:cubicBezTo>
                    <a:pt x="684" y="2561"/>
                    <a:pt x="623" y="2530"/>
                    <a:pt x="564" y="2530"/>
                  </a:cubicBezTo>
                  <a:cubicBezTo>
                    <a:pt x="533" y="2530"/>
                    <a:pt x="502" y="2539"/>
                    <a:pt x="477" y="2560"/>
                  </a:cubicBezTo>
                  <a:cubicBezTo>
                    <a:pt x="393" y="2608"/>
                    <a:pt x="369" y="2727"/>
                    <a:pt x="429" y="2798"/>
                  </a:cubicBezTo>
                  <a:cubicBezTo>
                    <a:pt x="780" y="3337"/>
                    <a:pt x="1353" y="3611"/>
                    <a:pt x="1934" y="3611"/>
                  </a:cubicBezTo>
                  <a:cubicBezTo>
                    <a:pt x="2418" y="3611"/>
                    <a:pt x="2906" y="3421"/>
                    <a:pt x="3274" y="3036"/>
                  </a:cubicBezTo>
                  <a:cubicBezTo>
                    <a:pt x="4346" y="1882"/>
                    <a:pt x="3525" y="0"/>
                    <a:pt x="1965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" name="Google Shape;7563;p56">
              <a:extLst>
                <a:ext uri="{FF2B5EF4-FFF2-40B4-BE49-F238E27FC236}">
                  <a16:creationId xmlns:a16="http://schemas.microsoft.com/office/drawing/2014/main" id="{C4A7987D-707E-329E-4759-8DFD7A0FF1CD}"/>
                </a:ext>
              </a:extLst>
            </p:cNvPr>
            <p:cNvSpPr/>
            <p:nvPr/>
          </p:nvSpPr>
          <p:spPr>
            <a:xfrm>
              <a:off x="3777478" y="3386087"/>
              <a:ext cx="51062" cy="43282"/>
            </a:xfrm>
            <a:custGeom>
              <a:avLst/>
              <a:gdLst/>
              <a:ahLst/>
              <a:cxnLst/>
              <a:rect l="l" t="t" r="r" b="b"/>
              <a:pathLst>
                <a:path w="1608" h="1363" extrusionOk="0">
                  <a:moveTo>
                    <a:pt x="772" y="1"/>
                  </a:moveTo>
                  <a:cubicBezTo>
                    <a:pt x="765" y="1"/>
                    <a:pt x="758" y="1"/>
                    <a:pt x="750" y="2"/>
                  </a:cubicBezTo>
                  <a:cubicBezTo>
                    <a:pt x="215" y="110"/>
                    <a:pt x="0" y="776"/>
                    <a:pt x="393" y="1157"/>
                  </a:cubicBezTo>
                  <a:cubicBezTo>
                    <a:pt x="524" y="1294"/>
                    <a:pt x="697" y="1363"/>
                    <a:pt x="871" y="1363"/>
                  </a:cubicBezTo>
                  <a:cubicBezTo>
                    <a:pt x="1045" y="1363"/>
                    <a:pt x="1221" y="1294"/>
                    <a:pt x="1358" y="1157"/>
                  </a:cubicBezTo>
                  <a:cubicBezTo>
                    <a:pt x="1560" y="919"/>
                    <a:pt x="1608" y="610"/>
                    <a:pt x="1489" y="360"/>
                  </a:cubicBezTo>
                  <a:cubicBezTo>
                    <a:pt x="1457" y="296"/>
                    <a:pt x="1404" y="264"/>
                    <a:pt x="1348" y="264"/>
                  </a:cubicBezTo>
                  <a:cubicBezTo>
                    <a:pt x="1319" y="264"/>
                    <a:pt x="1290" y="272"/>
                    <a:pt x="1262" y="288"/>
                  </a:cubicBezTo>
                  <a:cubicBezTo>
                    <a:pt x="1179" y="324"/>
                    <a:pt x="1143" y="431"/>
                    <a:pt x="1191" y="502"/>
                  </a:cubicBezTo>
                  <a:cubicBezTo>
                    <a:pt x="1251" y="633"/>
                    <a:pt x="1239" y="788"/>
                    <a:pt x="1120" y="907"/>
                  </a:cubicBezTo>
                  <a:cubicBezTo>
                    <a:pt x="1054" y="973"/>
                    <a:pt x="965" y="1006"/>
                    <a:pt x="875" y="1006"/>
                  </a:cubicBezTo>
                  <a:cubicBezTo>
                    <a:pt x="786" y="1006"/>
                    <a:pt x="697" y="973"/>
                    <a:pt x="631" y="907"/>
                  </a:cubicBezTo>
                  <a:cubicBezTo>
                    <a:pt x="429" y="717"/>
                    <a:pt x="536" y="372"/>
                    <a:pt x="810" y="324"/>
                  </a:cubicBezTo>
                  <a:cubicBezTo>
                    <a:pt x="893" y="312"/>
                    <a:pt x="953" y="229"/>
                    <a:pt x="941" y="133"/>
                  </a:cubicBezTo>
                  <a:cubicBezTo>
                    <a:pt x="930" y="57"/>
                    <a:pt x="850" y="1"/>
                    <a:pt x="7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03" name="Google Shape;7642;p56">
            <a:extLst>
              <a:ext uri="{FF2B5EF4-FFF2-40B4-BE49-F238E27FC236}">
                <a16:creationId xmlns:a16="http://schemas.microsoft.com/office/drawing/2014/main" id="{D388A3EB-ABE5-D4AD-F123-BAE969B5F3C7}"/>
              </a:ext>
            </a:extLst>
          </p:cNvPr>
          <p:cNvGrpSpPr/>
          <p:nvPr/>
        </p:nvGrpSpPr>
        <p:grpSpPr>
          <a:xfrm>
            <a:off x="5017542" y="859016"/>
            <a:ext cx="355053" cy="248038"/>
            <a:chOff x="6849393" y="3733994"/>
            <a:chExt cx="355053" cy="248038"/>
          </a:xfrm>
        </p:grpSpPr>
        <p:sp>
          <p:nvSpPr>
            <p:cNvPr id="304" name="Google Shape;7643;p56">
              <a:extLst>
                <a:ext uri="{FF2B5EF4-FFF2-40B4-BE49-F238E27FC236}">
                  <a16:creationId xmlns:a16="http://schemas.microsoft.com/office/drawing/2014/main" id="{EBBF2056-214B-19E6-C4D8-BEEF788AAA23}"/>
                </a:ext>
              </a:extLst>
            </p:cNvPr>
            <p:cNvSpPr/>
            <p:nvPr/>
          </p:nvSpPr>
          <p:spPr>
            <a:xfrm>
              <a:off x="6849393" y="3733994"/>
              <a:ext cx="355053" cy="248038"/>
            </a:xfrm>
            <a:custGeom>
              <a:avLst/>
              <a:gdLst/>
              <a:ahLst/>
              <a:cxnLst/>
              <a:rect l="l" t="t" r="r" b="b"/>
              <a:pathLst>
                <a:path w="11181" h="7811" extrusionOk="0">
                  <a:moveTo>
                    <a:pt x="10800" y="357"/>
                  </a:moveTo>
                  <a:cubicBezTo>
                    <a:pt x="10800" y="357"/>
                    <a:pt x="10823" y="357"/>
                    <a:pt x="10823" y="369"/>
                  </a:cubicBezTo>
                  <a:lnTo>
                    <a:pt x="10823" y="5227"/>
                  </a:lnTo>
                  <a:lnTo>
                    <a:pt x="346" y="5239"/>
                  </a:lnTo>
                  <a:cubicBezTo>
                    <a:pt x="346" y="5239"/>
                    <a:pt x="334" y="5239"/>
                    <a:pt x="334" y="5227"/>
                  </a:cubicBezTo>
                  <a:lnTo>
                    <a:pt x="334" y="369"/>
                  </a:lnTo>
                  <a:cubicBezTo>
                    <a:pt x="334" y="369"/>
                    <a:pt x="334" y="357"/>
                    <a:pt x="346" y="357"/>
                  </a:cubicBezTo>
                  <a:close/>
                  <a:moveTo>
                    <a:pt x="10835" y="5572"/>
                  </a:moveTo>
                  <a:lnTo>
                    <a:pt x="10823" y="5977"/>
                  </a:lnTo>
                  <a:lnTo>
                    <a:pt x="10252" y="5977"/>
                  </a:lnTo>
                  <a:cubicBezTo>
                    <a:pt x="10169" y="5977"/>
                    <a:pt x="10073" y="6060"/>
                    <a:pt x="10073" y="6156"/>
                  </a:cubicBezTo>
                  <a:cubicBezTo>
                    <a:pt x="10073" y="6263"/>
                    <a:pt x="10157" y="6334"/>
                    <a:pt x="10252" y="6334"/>
                  </a:cubicBezTo>
                  <a:lnTo>
                    <a:pt x="10823" y="6334"/>
                  </a:lnTo>
                  <a:lnTo>
                    <a:pt x="10823" y="6739"/>
                  </a:lnTo>
                  <a:lnTo>
                    <a:pt x="8014" y="6739"/>
                  </a:lnTo>
                  <a:cubicBezTo>
                    <a:pt x="7918" y="6739"/>
                    <a:pt x="7823" y="6811"/>
                    <a:pt x="7823" y="6918"/>
                  </a:cubicBezTo>
                  <a:cubicBezTo>
                    <a:pt x="7823" y="7013"/>
                    <a:pt x="7906" y="7096"/>
                    <a:pt x="8014" y="7096"/>
                  </a:cubicBezTo>
                  <a:lnTo>
                    <a:pt x="10823" y="7096"/>
                  </a:lnTo>
                  <a:lnTo>
                    <a:pt x="10823" y="7489"/>
                  </a:lnTo>
                  <a:cubicBezTo>
                    <a:pt x="10823" y="7489"/>
                    <a:pt x="10823" y="7501"/>
                    <a:pt x="10812" y="7501"/>
                  </a:cubicBezTo>
                  <a:lnTo>
                    <a:pt x="358" y="7501"/>
                  </a:lnTo>
                  <a:cubicBezTo>
                    <a:pt x="358" y="7501"/>
                    <a:pt x="346" y="7501"/>
                    <a:pt x="346" y="7489"/>
                  </a:cubicBezTo>
                  <a:lnTo>
                    <a:pt x="346" y="7096"/>
                  </a:lnTo>
                  <a:lnTo>
                    <a:pt x="7263" y="7096"/>
                  </a:lnTo>
                  <a:cubicBezTo>
                    <a:pt x="7359" y="7096"/>
                    <a:pt x="7442" y="7025"/>
                    <a:pt x="7442" y="6918"/>
                  </a:cubicBezTo>
                  <a:cubicBezTo>
                    <a:pt x="7442" y="6834"/>
                    <a:pt x="7371" y="6739"/>
                    <a:pt x="7263" y="6739"/>
                  </a:cubicBezTo>
                  <a:lnTo>
                    <a:pt x="346" y="6739"/>
                  </a:lnTo>
                  <a:lnTo>
                    <a:pt x="346" y="6334"/>
                  </a:lnTo>
                  <a:lnTo>
                    <a:pt x="9514" y="6334"/>
                  </a:lnTo>
                  <a:cubicBezTo>
                    <a:pt x="9597" y="6334"/>
                    <a:pt x="9692" y="6263"/>
                    <a:pt x="9692" y="6156"/>
                  </a:cubicBezTo>
                  <a:cubicBezTo>
                    <a:pt x="9692" y="6072"/>
                    <a:pt x="9621" y="5977"/>
                    <a:pt x="9514" y="5977"/>
                  </a:cubicBezTo>
                  <a:lnTo>
                    <a:pt x="346" y="5977"/>
                  </a:lnTo>
                  <a:lnTo>
                    <a:pt x="346" y="5572"/>
                  </a:lnTo>
                  <a:close/>
                  <a:moveTo>
                    <a:pt x="358" y="0"/>
                  </a:moveTo>
                  <a:cubicBezTo>
                    <a:pt x="167" y="0"/>
                    <a:pt x="1" y="167"/>
                    <a:pt x="1" y="357"/>
                  </a:cubicBezTo>
                  <a:lnTo>
                    <a:pt x="1" y="7453"/>
                  </a:lnTo>
                  <a:cubicBezTo>
                    <a:pt x="1" y="7644"/>
                    <a:pt x="167" y="7811"/>
                    <a:pt x="358" y="7811"/>
                  </a:cubicBezTo>
                  <a:lnTo>
                    <a:pt x="10823" y="7811"/>
                  </a:lnTo>
                  <a:cubicBezTo>
                    <a:pt x="11014" y="7811"/>
                    <a:pt x="11181" y="7644"/>
                    <a:pt x="11181" y="7453"/>
                  </a:cubicBezTo>
                  <a:lnTo>
                    <a:pt x="11181" y="357"/>
                  </a:lnTo>
                  <a:cubicBezTo>
                    <a:pt x="11181" y="167"/>
                    <a:pt x="11014" y="0"/>
                    <a:pt x="10823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" name="Google Shape;7644;p56">
              <a:extLst>
                <a:ext uri="{FF2B5EF4-FFF2-40B4-BE49-F238E27FC236}">
                  <a16:creationId xmlns:a16="http://schemas.microsoft.com/office/drawing/2014/main" id="{41B01E60-B27B-EC38-169A-0BE8A9AA45BC}"/>
                </a:ext>
              </a:extLst>
            </p:cNvPr>
            <p:cNvSpPr/>
            <p:nvPr/>
          </p:nvSpPr>
          <p:spPr>
            <a:xfrm>
              <a:off x="7080411" y="3758192"/>
              <a:ext cx="100219" cy="129687"/>
            </a:xfrm>
            <a:custGeom>
              <a:avLst/>
              <a:gdLst/>
              <a:ahLst/>
              <a:cxnLst/>
              <a:rect l="l" t="t" r="r" b="b"/>
              <a:pathLst>
                <a:path w="3156" h="4084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2072" y="357"/>
                  </a:lnTo>
                  <a:cubicBezTo>
                    <a:pt x="2144" y="726"/>
                    <a:pt x="2429" y="1012"/>
                    <a:pt x="2798" y="1084"/>
                  </a:cubicBezTo>
                  <a:lnTo>
                    <a:pt x="2798" y="3001"/>
                  </a:lnTo>
                  <a:cubicBezTo>
                    <a:pt x="2429" y="3072"/>
                    <a:pt x="2144" y="3358"/>
                    <a:pt x="2072" y="3727"/>
                  </a:cubicBezTo>
                  <a:lnTo>
                    <a:pt x="179" y="3727"/>
                  </a:lnTo>
                  <a:cubicBezTo>
                    <a:pt x="96" y="3727"/>
                    <a:pt x="0" y="3810"/>
                    <a:pt x="0" y="3905"/>
                  </a:cubicBezTo>
                  <a:cubicBezTo>
                    <a:pt x="0" y="4013"/>
                    <a:pt x="84" y="4084"/>
                    <a:pt x="179" y="4084"/>
                  </a:cubicBezTo>
                  <a:lnTo>
                    <a:pt x="2239" y="4084"/>
                  </a:lnTo>
                  <a:cubicBezTo>
                    <a:pt x="2322" y="4084"/>
                    <a:pt x="2417" y="4013"/>
                    <a:pt x="2417" y="3905"/>
                  </a:cubicBezTo>
                  <a:cubicBezTo>
                    <a:pt x="2417" y="3596"/>
                    <a:pt x="2667" y="3346"/>
                    <a:pt x="2977" y="3346"/>
                  </a:cubicBezTo>
                  <a:cubicBezTo>
                    <a:pt x="3072" y="3346"/>
                    <a:pt x="3156" y="3274"/>
                    <a:pt x="3156" y="3167"/>
                  </a:cubicBezTo>
                  <a:lnTo>
                    <a:pt x="3156" y="917"/>
                  </a:lnTo>
                  <a:cubicBezTo>
                    <a:pt x="3156" y="810"/>
                    <a:pt x="3072" y="738"/>
                    <a:pt x="2977" y="738"/>
                  </a:cubicBezTo>
                  <a:cubicBezTo>
                    <a:pt x="2667" y="738"/>
                    <a:pt x="2417" y="488"/>
                    <a:pt x="2417" y="179"/>
                  </a:cubicBezTo>
                  <a:cubicBezTo>
                    <a:pt x="2417" y="83"/>
                    <a:pt x="2346" y="0"/>
                    <a:pt x="2239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" name="Google Shape;7645;p56">
              <a:extLst>
                <a:ext uri="{FF2B5EF4-FFF2-40B4-BE49-F238E27FC236}">
                  <a16:creationId xmlns:a16="http://schemas.microsoft.com/office/drawing/2014/main" id="{C98E22DA-61D6-E368-FFD5-C383CC1E70B1}"/>
                </a:ext>
              </a:extLst>
            </p:cNvPr>
            <p:cNvSpPr/>
            <p:nvPr/>
          </p:nvSpPr>
          <p:spPr>
            <a:xfrm>
              <a:off x="6873209" y="3757811"/>
              <a:ext cx="100219" cy="130068"/>
            </a:xfrm>
            <a:custGeom>
              <a:avLst/>
              <a:gdLst/>
              <a:ahLst/>
              <a:cxnLst/>
              <a:rect l="l" t="t" r="r" b="b"/>
              <a:pathLst>
                <a:path w="3156" h="4096" extrusionOk="0">
                  <a:moveTo>
                    <a:pt x="918" y="0"/>
                  </a:moveTo>
                  <a:cubicBezTo>
                    <a:pt x="834" y="0"/>
                    <a:pt x="739" y="84"/>
                    <a:pt x="739" y="191"/>
                  </a:cubicBezTo>
                  <a:cubicBezTo>
                    <a:pt x="739" y="500"/>
                    <a:pt x="489" y="750"/>
                    <a:pt x="179" y="750"/>
                  </a:cubicBezTo>
                  <a:cubicBezTo>
                    <a:pt x="84" y="750"/>
                    <a:pt x="1" y="822"/>
                    <a:pt x="1" y="929"/>
                  </a:cubicBezTo>
                  <a:lnTo>
                    <a:pt x="1" y="3179"/>
                  </a:lnTo>
                  <a:cubicBezTo>
                    <a:pt x="1" y="3263"/>
                    <a:pt x="72" y="3358"/>
                    <a:pt x="179" y="3358"/>
                  </a:cubicBezTo>
                  <a:cubicBezTo>
                    <a:pt x="489" y="3358"/>
                    <a:pt x="739" y="3608"/>
                    <a:pt x="739" y="3917"/>
                  </a:cubicBezTo>
                  <a:cubicBezTo>
                    <a:pt x="739" y="4013"/>
                    <a:pt x="810" y="4096"/>
                    <a:pt x="918" y="4096"/>
                  </a:cubicBezTo>
                  <a:lnTo>
                    <a:pt x="2977" y="4096"/>
                  </a:lnTo>
                  <a:cubicBezTo>
                    <a:pt x="3061" y="4096"/>
                    <a:pt x="3156" y="4025"/>
                    <a:pt x="3156" y="3917"/>
                  </a:cubicBezTo>
                  <a:cubicBezTo>
                    <a:pt x="3132" y="3822"/>
                    <a:pt x="3061" y="3739"/>
                    <a:pt x="2977" y="3739"/>
                  </a:cubicBezTo>
                  <a:lnTo>
                    <a:pt x="1084" y="3739"/>
                  </a:lnTo>
                  <a:cubicBezTo>
                    <a:pt x="1013" y="3370"/>
                    <a:pt x="727" y="3084"/>
                    <a:pt x="346" y="3013"/>
                  </a:cubicBezTo>
                  <a:lnTo>
                    <a:pt x="346" y="1096"/>
                  </a:lnTo>
                  <a:cubicBezTo>
                    <a:pt x="727" y="1024"/>
                    <a:pt x="1013" y="738"/>
                    <a:pt x="1084" y="369"/>
                  </a:cubicBezTo>
                  <a:lnTo>
                    <a:pt x="2977" y="369"/>
                  </a:lnTo>
                  <a:cubicBezTo>
                    <a:pt x="3061" y="369"/>
                    <a:pt x="3156" y="286"/>
                    <a:pt x="3156" y="191"/>
                  </a:cubicBezTo>
                  <a:cubicBezTo>
                    <a:pt x="3156" y="95"/>
                    <a:pt x="3073" y="0"/>
                    <a:pt x="297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" name="Google Shape;7646;p56">
              <a:extLst>
                <a:ext uri="{FF2B5EF4-FFF2-40B4-BE49-F238E27FC236}">
                  <a16:creationId xmlns:a16="http://schemas.microsoft.com/office/drawing/2014/main" id="{9BECAD46-5A09-ED3F-AF01-A1385AC78216}"/>
                </a:ext>
              </a:extLst>
            </p:cNvPr>
            <p:cNvSpPr/>
            <p:nvPr/>
          </p:nvSpPr>
          <p:spPr>
            <a:xfrm>
              <a:off x="6962060" y="3758192"/>
              <a:ext cx="129338" cy="129338"/>
            </a:xfrm>
            <a:custGeom>
              <a:avLst/>
              <a:gdLst/>
              <a:ahLst/>
              <a:cxnLst/>
              <a:rect l="l" t="t" r="r" b="b"/>
              <a:pathLst>
                <a:path w="4073" h="4073" extrusionOk="0">
                  <a:moveTo>
                    <a:pt x="2037" y="334"/>
                  </a:moveTo>
                  <a:cubicBezTo>
                    <a:pt x="2977" y="334"/>
                    <a:pt x="3727" y="1096"/>
                    <a:pt x="3727" y="2036"/>
                  </a:cubicBezTo>
                  <a:cubicBezTo>
                    <a:pt x="3727" y="2977"/>
                    <a:pt x="2977" y="3727"/>
                    <a:pt x="2037" y="3727"/>
                  </a:cubicBezTo>
                  <a:cubicBezTo>
                    <a:pt x="1096" y="3727"/>
                    <a:pt x="334" y="2977"/>
                    <a:pt x="334" y="2036"/>
                  </a:cubicBezTo>
                  <a:cubicBezTo>
                    <a:pt x="334" y="1096"/>
                    <a:pt x="1096" y="334"/>
                    <a:pt x="2037" y="334"/>
                  </a:cubicBezTo>
                  <a:close/>
                  <a:moveTo>
                    <a:pt x="2037" y="0"/>
                  </a:moveTo>
                  <a:cubicBezTo>
                    <a:pt x="906" y="0"/>
                    <a:pt x="1" y="917"/>
                    <a:pt x="1" y="2036"/>
                  </a:cubicBezTo>
                  <a:cubicBezTo>
                    <a:pt x="1" y="3155"/>
                    <a:pt x="918" y="4072"/>
                    <a:pt x="2037" y="4072"/>
                  </a:cubicBezTo>
                  <a:cubicBezTo>
                    <a:pt x="3156" y="4072"/>
                    <a:pt x="4073" y="3155"/>
                    <a:pt x="4073" y="2036"/>
                  </a:cubicBezTo>
                  <a:cubicBezTo>
                    <a:pt x="4073" y="905"/>
                    <a:pt x="3168" y="0"/>
                    <a:pt x="203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" name="Google Shape;7647;p56">
              <a:extLst>
                <a:ext uri="{FF2B5EF4-FFF2-40B4-BE49-F238E27FC236}">
                  <a16:creationId xmlns:a16="http://schemas.microsoft.com/office/drawing/2014/main" id="{73594E57-6BD0-7F2F-B941-280C4598B62B}"/>
                </a:ext>
              </a:extLst>
            </p:cNvPr>
            <p:cNvSpPr/>
            <p:nvPr/>
          </p:nvSpPr>
          <p:spPr>
            <a:xfrm>
              <a:off x="6997244" y="3781627"/>
              <a:ext cx="59382" cy="82436"/>
            </a:xfrm>
            <a:custGeom>
              <a:avLst/>
              <a:gdLst/>
              <a:ahLst/>
              <a:cxnLst/>
              <a:rect l="l" t="t" r="r" b="b"/>
              <a:pathLst>
                <a:path w="1870" h="2596" extrusionOk="0">
                  <a:moveTo>
                    <a:pt x="750" y="536"/>
                  </a:moveTo>
                  <a:lnTo>
                    <a:pt x="750" y="1060"/>
                  </a:lnTo>
                  <a:cubicBezTo>
                    <a:pt x="452" y="965"/>
                    <a:pt x="345" y="881"/>
                    <a:pt x="345" y="762"/>
                  </a:cubicBezTo>
                  <a:cubicBezTo>
                    <a:pt x="345" y="691"/>
                    <a:pt x="500" y="584"/>
                    <a:pt x="750" y="536"/>
                  </a:cubicBezTo>
                  <a:close/>
                  <a:moveTo>
                    <a:pt x="1107" y="1524"/>
                  </a:moveTo>
                  <a:cubicBezTo>
                    <a:pt x="1405" y="1608"/>
                    <a:pt x="1512" y="1703"/>
                    <a:pt x="1512" y="1822"/>
                  </a:cubicBezTo>
                  <a:cubicBezTo>
                    <a:pt x="1512" y="1893"/>
                    <a:pt x="1357" y="2001"/>
                    <a:pt x="1107" y="2036"/>
                  </a:cubicBezTo>
                  <a:lnTo>
                    <a:pt x="1107" y="1524"/>
                  </a:lnTo>
                  <a:close/>
                  <a:moveTo>
                    <a:pt x="941" y="0"/>
                  </a:moveTo>
                  <a:cubicBezTo>
                    <a:pt x="857" y="0"/>
                    <a:pt x="762" y="72"/>
                    <a:pt x="762" y="179"/>
                  </a:cubicBezTo>
                  <a:lnTo>
                    <a:pt x="762" y="191"/>
                  </a:lnTo>
                  <a:cubicBezTo>
                    <a:pt x="333" y="238"/>
                    <a:pt x="24" y="477"/>
                    <a:pt x="24" y="774"/>
                  </a:cubicBezTo>
                  <a:cubicBezTo>
                    <a:pt x="24" y="1191"/>
                    <a:pt x="441" y="1346"/>
                    <a:pt x="762" y="1429"/>
                  </a:cubicBezTo>
                  <a:lnTo>
                    <a:pt x="762" y="2036"/>
                  </a:lnTo>
                  <a:cubicBezTo>
                    <a:pt x="512" y="2001"/>
                    <a:pt x="357" y="1893"/>
                    <a:pt x="357" y="1822"/>
                  </a:cubicBezTo>
                  <a:cubicBezTo>
                    <a:pt x="357" y="1727"/>
                    <a:pt x="286" y="1643"/>
                    <a:pt x="179" y="1643"/>
                  </a:cubicBezTo>
                  <a:cubicBezTo>
                    <a:pt x="83" y="1643"/>
                    <a:pt x="0" y="1715"/>
                    <a:pt x="0" y="1822"/>
                  </a:cubicBezTo>
                  <a:cubicBezTo>
                    <a:pt x="0" y="2120"/>
                    <a:pt x="310" y="2334"/>
                    <a:pt x="750" y="2393"/>
                  </a:cubicBezTo>
                  <a:lnTo>
                    <a:pt x="750" y="2417"/>
                  </a:lnTo>
                  <a:cubicBezTo>
                    <a:pt x="750" y="2501"/>
                    <a:pt x="822" y="2596"/>
                    <a:pt x="929" y="2596"/>
                  </a:cubicBezTo>
                  <a:cubicBezTo>
                    <a:pt x="1036" y="2596"/>
                    <a:pt x="1107" y="2513"/>
                    <a:pt x="1107" y="2417"/>
                  </a:cubicBezTo>
                  <a:lnTo>
                    <a:pt x="1107" y="2393"/>
                  </a:lnTo>
                  <a:cubicBezTo>
                    <a:pt x="1536" y="2358"/>
                    <a:pt x="1845" y="2120"/>
                    <a:pt x="1845" y="1822"/>
                  </a:cubicBezTo>
                  <a:cubicBezTo>
                    <a:pt x="1845" y="1417"/>
                    <a:pt x="1453" y="1250"/>
                    <a:pt x="1107" y="1167"/>
                  </a:cubicBezTo>
                  <a:lnTo>
                    <a:pt x="1107" y="548"/>
                  </a:lnTo>
                  <a:cubicBezTo>
                    <a:pt x="1357" y="596"/>
                    <a:pt x="1512" y="703"/>
                    <a:pt x="1512" y="774"/>
                  </a:cubicBezTo>
                  <a:cubicBezTo>
                    <a:pt x="1512" y="869"/>
                    <a:pt x="1584" y="953"/>
                    <a:pt x="1691" y="953"/>
                  </a:cubicBezTo>
                  <a:cubicBezTo>
                    <a:pt x="1774" y="953"/>
                    <a:pt x="1869" y="881"/>
                    <a:pt x="1869" y="774"/>
                  </a:cubicBezTo>
                  <a:cubicBezTo>
                    <a:pt x="1869" y="477"/>
                    <a:pt x="1548" y="250"/>
                    <a:pt x="1119" y="191"/>
                  </a:cubicBezTo>
                  <a:lnTo>
                    <a:pt x="1119" y="179"/>
                  </a:lnTo>
                  <a:cubicBezTo>
                    <a:pt x="1119" y="84"/>
                    <a:pt x="1048" y="0"/>
                    <a:pt x="94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09" name="Google Shape;7695;p56">
            <a:extLst>
              <a:ext uri="{FF2B5EF4-FFF2-40B4-BE49-F238E27FC236}">
                <a16:creationId xmlns:a16="http://schemas.microsoft.com/office/drawing/2014/main" id="{FFFEA231-7937-605F-5EAB-53537179AAE5}"/>
              </a:ext>
            </a:extLst>
          </p:cNvPr>
          <p:cNvGrpSpPr/>
          <p:nvPr/>
        </p:nvGrpSpPr>
        <p:grpSpPr>
          <a:xfrm>
            <a:off x="6912210" y="3984749"/>
            <a:ext cx="372073" cy="355244"/>
            <a:chOff x="7390435" y="3680868"/>
            <a:chExt cx="372073" cy="355244"/>
          </a:xfrm>
        </p:grpSpPr>
        <p:sp>
          <p:nvSpPr>
            <p:cNvPr id="310" name="Google Shape;7696;p56">
              <a:extLst>
                <a:ext uri="{FF2B5EF4-FFF2-40B4-BE49-F238E27FC236}">
                  <a16:creationId xmlns:a16="http://schemas.microsoft.com/office/drawing/2014/main" id="{555475D1-083C-04DC-B897-92E7AF9ACEB6}"/>
                </a:ext>
              </a:extLst>
            </p:cNvPr>
            <p:cNvSpPr/>
            <p:nvPr/>
          </p:nvSpPr>
          <p:spPr>
            <a:xfrm>
              <a:off x="7390435" y="3744950"/>
              <a:ext cx="294178" cy="291162"/>
            </a:xfrm>
            <a:custGeom>
              <a:avLst/>
              <a:gdLst/>
              <a:ahLst/>
              <a:cxnLst/>
              <a:rect l="l" t="t" r="r" b="b"/>
              <a:pathLst>
                <a:path w="9264" h="9169" extrusionOk="0">
                  <a:moveTo>
                    <a:pt x="4668" y="0"/>
                  </a:moveTo>
                  <a:cubicBezTo>
                    <a:pt x="3441" y="0"/>
                    <a:pt x="2287" y="477"/>
                    <a:pt x="1417" y="1334"/>
                  </a:cubicBezTo>
                  <a:cubicBezTo>
                    <a:pt x="1358" y="1393"/>
                    <a:pt x="1358" y="1501"/>
                    <a:pt x="1417" y="1572"/>
                  </a:cubicBezTo>
                  <a:cubicBezTo>
                    <a:pt x="1447" y="1602"/>
                    <a:pt x="1489" y="1617"/>
                    <a:pt x="1532" y="1617"/>
                  </a:cubicBezTo>
                  <a:cubicBezTo>
                    <a:pt x="1575" y="1617"/>
                    <a:pt x="1620" y="1602"/>
                    <a:pt x="1655" y="1572"/>
                  </a:cubicBezTo>
                  <a:cubicBezTo>
                    <a:pt x="2465" y="774"/>
                    <a:pt x="3537" y="322"/>
                    <a:pt x="4668" y="322"/>
                  </a:cubicBezTo>
                  <a:cubicBezTo>
                    <a:pt x="5799" y="322"/>
                    <a:pt x="6870" y="774"/>
                    <a:pt x="7668" y="1572"/>
                  </a:cubicBezTo>
                  <a:cubicBezTo>
                    <a:pt x="8478" y="2382"/>
                    <a:pt x="8918" y="3453"/>
                    <a:pt x="8918" y="4584"/>
                  </a:cubicBezTo>
                  <a:cubicBezTo>
                    <a:pt x="8918" y="5715"/>
                    <a:pt x="8478" y="6787"/>
                    <a:pt x="7668" y="7585"/>
                  </a:cubicBezTo>
                  <a:cubicBezTo>
                    <a:pt x="6841" y="8412"/>
                    <a:pt x="5751" y="8826"/>
                    <a:pt x="4662" y="8826"/>
                  </a:cubicBezTo>
                  <a:cubicBezTo>
                    <a:pt x="3572" y="8826"/>
                    <a:pt x="2483" y="8412"/>
                    <a:pt x="1655" y="7585"/>
                  </a:cubicBezTo>
                  <a:cubicBezTo>
                    <a:pt x="953" y="6882"/>
                    <a:pt x="524" y="5965"/>
                    <a:pt x="441" y="4977"/>
                  </a:cubicBezTo>
                  <a:cubicBezTo>
                    <a:pt x="346" y="4013"/>
                    <a:pt x="596" y="3037"/>
                    <a:pt x="1132" y="2227"/>
                  </a:cubicBezTo>
                  <a:cubicBezTo>
                    <a:pt x="1179" y="2155"/>
                    <a:pt x="1167" y="2048"/>
                    <a:pt x="1096" y="1989"/>
                  </a:cubicBezTo>
                  <a:cubicBezTo>
                    <a:pt x="1066" y="1972"/>
                    <a:pt x="1035" y="1964"/>
                    <a:pt x="1005" y="1964"/>
                  </a:cubicBezTo>
                  <a:cubicBezTo>
                    <a:pt x="950" y="1964"/>
                    <a:pt x="896" y="1990"/>
                    <a:pt x="858" y="2036"/>
                  </a:cubicBezTo>
                  <a:cubicBezTo>
                    <a:pt x="274" y="2894"/>
                    <a:pt x="1" y="3953"/>
                    <a:pt x="108" y="5013"/>
                  </a:cubicBezTo>
                  <a:cubicBezTo>
                    <a:pt x="215" y="6073"/>
                    <a:pt x="679" y="7085"/>
                    <a:pt x="1429" y="7823"/>
                  </a:cubicBezTo>
                  <a:cubicBezTo>
                    <a:pt x="2322" y="8716"/>
                    <a:pt x="3501" y="9168"/>
                    <a:pt x="4680" y="9168"/>
                  </a:cubicBezTo>
                  <a:cubicBezTo>
                    <a:pt x="5858" y="9168"/>
                    <a:pt x="7025" y="8716"/>
                    <a:pt x="7918" y="7823"/>
                  </a:cubicBezTo>
                  <a:cubicBezTo>
                    <a:pt x="8787" y="6966"/>
                    <a:pt x="9264" y="5799"/>
                    <a:pt x="9264" y="4584"/>
                  </a:cubicBezTo>
                  <a:cubicBezTo>
                    <a:pt x="9264" y="3358"/>
                    <a:pt x="8787" y="2203"/>
                    <a:pt x="7906" y="1334"/>
                  </a:cubicBezTo>
                  <a:cubicBezTo>
                    <a:pt x="7049" y="477"/>
                    <a:pt x="5882" y="0"/>
                    <a:pt x="466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" name="Google Shape;7697;p56">
              <a:extLst>
                <a:ext uri="{FF2B5EF4-FFF2-40B4-BE49-F238E27FC236}">
                  <a16:creationId xmlns:a16="http://schemas.microsoft.com/office/drawing/2014/main" id="{AED732DD-DD25-64A8-9FFB-24ABAD4FFAF5}"/>
                </a:ext>
              </a:extLst>
            </p:cNvPr>
            <p:cNvSpPr/>
            <p:nvPr/>
          </p:nvSpPr>
          <p:spPr>
            <a:xfrm>
              <a:off x="7408948" y="3772259"/>
              <a:ext cx="259407" cy="236257"/>
            </a:xfrm>
            <a:custGeom>
              <a:avLst/>
              <a:gdLst/>
              <a:ahLst/>
              <a:cxnLst/>
              <a:rect l="l" t="t" r="r" b="b"/>
              <a:pathLst>
                <a:path w="8169" h="7440" extrusionOk="0">
                  <a:moveTo>
                    <a:pt x="4085" y="319"/>
                  </a:moveTo>
                  <a:cubicBezTo>
                    <a:pt x="4942" y="319"/>
                    <a:pt x="5823" y="653"/>
                    <a:pt x="6478" y="1319"/>
                  </a:cubicBezTo>
                  <a:cubicBezTo>
                    <a:pt x="7800" y="2653"/>
                    <a:pt x="7800" y="4796"/>
                    <a:pt x="6478" y="6117"/>
                  </a:cubicBezTo>
                  <a:cubicBezTo>
                    <a:pt x="5817" y="6778"/>
                    <a:pt x="4951" y="7109"/>
                    <a:pt x="4083" y="7109"/>
                  </a:cubicBezTo>
                  <a:cubicBezTo>
                    <a:pt x="3216" y="7109"/>
                    <a:pt x="2346" y="6778"/>
                    <a:pt x="1680" y="6117"/>
                  </a:cubicBezTo>
                  <a:cubicBezTo>
                    <a:pt x="358" y="4796"/>
                    <a:pt x="358" y="2653"/>
                    <a:pt x="1680" y="1319"/>
                  </a:cubicBezTo>
                  <a:cubicBezTo>
                    <a:pt x="2335" y="664"/>
                    <a:pt x="3216" y="319"/>
                    <a:pt x="4085" y="319"/>
                  </a:cubicBezTo>
                  <a:close/>
                  <a:moveTo>
                    <a:pt x="4088" y="1"/>
                  </a:moveTo>
                  <a:cubicBezTo>
                    <a:pt x="3132" y="1"/>
                    <a:pt x="2174" y="361"/>
                    <a:pt x="1442" y="1081"/>
                  </a:cubicBezTo>
                  <a:cubicBezTo>
                    <a:pt x="1" y="2534"/>
                    <a:pt x="1" y="4891"/>
                    <a:pt x="1442" y="6356"/>
                  </a:cubicBezTo>
                  <a:cubicBezTo>
                    <a:pt x="2180" y="7082"/>
                    <a:pt x="3120" y="7439"/>
                    <a:pt x="4085" y="7439"/>
                  </a:cubicBezTo>
                  <a:cubicBezTo>
                    <a:pt x="5037" y="7439"/>
                    <a:pt x="5978" y="7082"/>
                    <a:pt x="6716" y="6356"/>
                  </a:cubicBezTo>
                  <a:cubicBezTo>
                    <a:pt x="8169" y="4891"/>
                    <a:pt x="8169" y="2546"/>
                    <a:pt x="6716" y="1081"/>
                  </a:cubicBezTo>
                  <a:cubicBezTo>
                    <a:pt x="5996" y="361"/>
                    <a:pt x="5043" y="1"/>
                    <a:pt x="4088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" name="Google Shape;7698;p56">
              <a:extLst>
                <a:ext uri="{FF2B5EF4-FFF2-40B4-BE49-F238E27FC236}">
                  <a16:creationId xmlns:a16="http://schemas.microsoft.com/office/drawing/2014/main" id="{4DFD3367-4C0A-96CA-D56E-B1A6BF857A7F}"/>
                </a:ext>
              </a:extLst>
            </p:cNvPr>
            <p:cNvSpPr/>
            <p:nvPr/>
          </p:nvSpPr>
          <p:spPr>
            <a:xfrm>
              <a:off x="7487986" y="3680868"/>
              <a:ext cx="274522" cy="259565"/>
            </a:xfrm>
            <a:custGeom>
              <a:avLst/>
              <a:gdLst/>
              <a:ahLst/>
              <a:cxnLst/>
              <a:rect l="l" t="t" r="r" b="b"/>
              <a:pathLst>
                <a:path w="8645" h="8174" extrusionOk="0">
                  <a:moveTo>
                    <a:pt x="3614" y="0"/>
                  </a:moveTo>
                  <a:cubicBezTo>
                    <a:pt x="2438" y="0"/>
                    <a:pt x="1262" y="447"/>
                    <a:pt x="369" y="1340"/>
                  </a:cubicBezTo>
                  <a:cubicBezTo>
                    <a:pt x="262" y="1447"/>
                    <a:pt x="167" y="1566"/>
                    <a:pt x="60" y="1685"/>
                  </a:cubicBezTo>
                  <a:cubicBezTo>
                    <a:pt x="0" y="1756"/>
                    <a:pt x="12" y="1864"/>
                    <a:pt x="84" y="1923"/>
                  </a:cubicBezTo>
                  <a:cubicBezTo>
                    <a:pt x="118" y="1948"/>
                    <a:pt x="155" y="1960"/>
                    <a:pt x="191" y="1960"/>
                  </a:cubicBezTo>
                  <a:cubicBezTo>
                    <a:pt x="240" y="1960"/>
                    <a:pt x="287" y="1936"/>
                    <a:pt x="322" y="1887"/>
                  </a:cubicBezTo>
                  <a:cubicBezTo>
                    <a:pt x="417" y="1792"/>
                    <a:pt x="500" y="1685"/>
                    <a:pt x="608" y="1578"/>
                  </a:cubicBezTo>
                  <a:cubicBezTo>
                    <a:pt x="1435" y="750"/>
                    <a:pt x="2524" y="337"/>
                    <a:pt x="3614" y="337"/>
                  </a:cubicBezTo>
                  <a:cubicBezTo>
                    <a:pt x="4703" y="337"/>
                    <a:pt x="5793" y="750"/>
                    <a:pt x="6620" y="1578"/>
                  </a:cubicBezTo>
                  <a:cubicBezTo>
                    <a:pt x="8275" y="3233"/>
                    <a:pt x="8275" y="5936"/>
                    <a:pt x="6620" y="7591"/>
                  </a:cubicBezTo>
                  <a:cubicBezTo>
                    <a:pt x="6513" y="7698"/>
                    <a:pt x="6418" y="7781"/>
                    <a:pt x="6311" y="7876"/>
                  </a:cubicBezTo>
                  <a:cubicBezTo>
                    <a:pt x="6239" y="7936"/>
                    <a:pt x="6215" y="8043"/>
                    <a:pt x="6275" y="8114"/>
                  </a:cubicBezTo>
                  <a:cubicBezTo>
                    <a:pt x="6311" y="8162"/>
                    <a:pt x="6358" y="8174"/>
                    <a:pt x="6418" y="8174"/>
                  </a:cubicBezTo>
                  <a:cubicBezTo>
                    <a:pt x="6454" y="8174"/>
                    <a:pt x="6489" y="8162"/>
                    <a:pt x="6513" y="8126"/>
                  </a:cubicBezTo>
                  <a:cubicBezTo>
                    <a:pt x="6632" y="8043"/>
                    <a:pt x="6751" y="7936"/>
                    <a:pt x="6858" y="7817"/>
                  </a:cubicBezTo>
                  <a:cubicBezTo>
                    <a:pt x="8644" y="6031"/>
                    <a:pt x="8644" y="3126"/>
                    <a:pt x="6858" y="1340"/>
                  </a:cubicBezTo>
                  <a:cubicBezTo>
                    <a:pt x="5965" y="447"/>
                    <a:pt x="4790" y="0"/>
                    <a:pt x="361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" name="Google Shape;7699;p56">
              <a:extLst>
                <a:ext uri="{FF2B5EF4-FFF2-40B4-BE49-F238E27FC236}">
                  <a16:creationId xmlns:a16="http://schemas.microsoft.com/office/drawing/2014/main" id="{0AB3AF09-BC82-CD60-9E5C-3C35EC5BEFA0}"/>
                </a:ext>
              </a:extLst>
            </p:cNvPr>
            <p:cNvSpPr/>
            <p:nvPr/>
          </p:nvSpPr>
          <p:spPr>
            <a:xfrm>
              <a:off x="7691758" y="3789502"/>
              <a:ext cx="34073" cy="102918"/>
            </a:xfrm>
            <a:custGeom>
              <a:avLst/>
              <a:gdLst/>
              <a:ahLst/>
              <a:cxnLst/>
              <a:rect l="l" t="t" r="r" b="b"/>
              <a:pathLst>
                <a:path w="1073" h="3241" extrusionOk="0">
                  <a:moveTo>
                    <a:pt x="589" y="1"/>
                  </a:moveTo>
                  <a:cubicBezTo>
                    <a:pt x="580" y="1"/>
                    <a:pt x="570" y="1"/>
                    <a:pt x="560" y="2"/>
                  </a:cubicBezTo>
                  <a:cubicBezTo>
                    <a:pt x="477" y="38"/>
                    <a:pt x="429" y="121"/>
                    <a:pt x="441" y="217"/>
                  </a:cubicBezTo>
                  <a:cubicBezTo>
                    <a:pt x="715" y="1157"/>
                    <a:pt x="560" y="2145"/>
                    <a:pt x="37" y="2967"/>
                  </a:cubicBezTo>
                  <a:cubicBezTo>
                    <a:pt x="1" y="3038"/>
                    <a:pt x="13" y="3146"/>
                    <a:pt x="84" y="3205"/>
                  </a:cubicBezTo>
                  <a:cubicBezTo>
                    <a:pt x="120" y="3217"/>
                    <a:pt x="144" y="3241"/>
                    <a:pt x="167" y="3241"/>
                  </a:cubicBezTo>
                  <a:cubicBezTo>
                    <a:pt x="239" y="3241"/>
                    <a:pt x="275" y="3205"/>
                    <a:pt x="310" y="3158"/>
                  </a:cubicBezTo>
                  <a:cubicBezTo>
                    <a:pt x="906" y="2265"/>
                    <a:pt x="1072" y="1169"/>
                    <a:pt x="775" y="121"/>
                  </a:cubicBezTo>
                  <a:cubicBezTo>
                    <a:pt x="743" y="47"/>
                    <a:pt x="672" y="1"/>
                    <a:pt x="58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14" name="Google Shape;7700;p56">
              <a:extLst>
                <a:ext uri="{FF2B5EF4-FFF2-40B4-BE49-F238E27FC236}">
                  <a16:creationId xmlns:a16="http://schemas.microsoft.com/office/drawing/2014/main" id="{CFB9E45F-24B8-C17E-5D27-06A870BDBF69}"/>
                </a:ext>
              </a:extLst>
            </p:cNvPr>
            <p:cNvSpPr/>
            <p:nvPr/>
          </p:nvSpPr>
          <p:spPr>
            <a:xfrm>
              <a:off x="7536000" y="3708082"/>
              <a:ext cx="173192" cy="72052"/>
            </a:xfrm>
            <a:custGeom>
              <a:avLst/>
              <a:gdLst/>
              <a:ahLst/>
              <a:cxnLst/>
              <a:rect l="l" t="t" r="r" b="b"/>
              <a:pathLst>
                <a:path w="5454" h="2269" extrusionOk="0">
                  <a:moveTo>
                    <a:pt x="2121" y="0"/>
                  </a:moveTo>
                  <a:cubicBezTo>
                    <a:pt x="1410" y="0"/>
                    <a:pt x="707" y="204"/>
                    <a:pt x="108" y="590"/>
                  </a:cubicBezTo>
                  <a:cubicBezTo>
                    <a:pt x="36" y="638"/>
                    <a:pt x="0" y="733"/>
                    <a:pt x="60" y="828"/>
                  </a:cubicBezTo>
                  <a:cubicBezTo>
                    <a:pt x="91" y="874"/>
                    <a:pt x="147" y="906"/>
                    <a:pt x="205" y="906"/>
                  </a:cubicBezTo>
                  <a:cubicBezTo>
                    <a:pt x="237" y="906"/>
                    <a:pt x="269" y="897"/>
                    <a:pt x="298" y="876"/>
                  </a:cubicBezTo>
                  <a:cubicBezTo>
                    <a:pt x="841" y="534"/>
                    <a:pt x="1478" y="344"/>
                    <a:pt x="2123" y="344"/>
                  </a:cubicBezTo>
                  <a:cubicBezTo>
                    <a:pt x="2241" y="344"/>
                    <a:pt x="2359" y="351"/>
                    <a:pt x="2477" y="364"/>
                  </a:cubicBezTo>
                  <a:cubicBezTo>
                    <a:pt x="3251" y="435"/>
                    <a:pt x="3977" y="792"/>
                    <a:pt x="4513" y="1328"/>
                  </a:cubicBezTo>
                  <a:cubicBezTo>
                    <a:pt x="4763" y="1590"/>
                    <a:pt x="4977" y="1864"/>
                    <a:pt x="5120" y="2185"/>
                  </a:cubicBezTo>
                  <a:cubicBezTo>
                    <a:pt x="5156" y="2245"/>
                    <a:pt x="5215" y="2269"/>
                    <a:pt x="5275" y="2269"/>
                  </a:cubicBezTo>
                  <a:cubicBezTo>
                    <a:pt x="5299" y="2269"/>
                    <a:pt x="5323" y="2269"/>
                    <a:pt x="5346" y="2257"/>
                  </a:cubicBezTo>
                  <a:cubicBezTo>
                    <a:pt x="5418" y="2197"/>
                    <a:pt x="5453" y="2102"/>
                    <a:pt x="5406" y="2019"/>
                  </a:cubicBezTo>
                  <a:cubicBezTo>
                    <a:pt x="5227" y="1673"/>
                    <a:pt x="5001" y="1364"/>
                    <a:pt x="4739" y="1102"/>
                  </a:cubicBezTo>
                  <a:cubicBezTo>
                    <a:pt x="4144" y="507"/>
                    <a:pt x="3334" y="114"/>
                    <a:pt x="2489" y="18"/>
                  </a:cubicBezTo>
                  <a:cubicBezTo>
                    <a:pt x="2366" y="6"/>
                    <a:pt x="2243" y="0"/>
                    <a:pt x="21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" name="Google Shape;7701;p56">
              <a:extLst>
                <a:ext uri="{FF2B5EF4-FFF2-40B4-BE49-F238E27FC236}">
                  <a16:creationId xmlns:a16="http://schemas.microsoft.com/office/drawing/2014/main" id="{BC02EAA8-C4CD-30C2-A5C2-0CC3A561A6F4}"/>
                </a:ext>
              </a:extLst>
            </p:cNvPr>
            <p:cNvSpPr/>
            <p:nvPr/>
          </p:nvSpPr>
          <p:spPr>
            <a:xfrm>
              <a:off x="7501228" y="3819415"/>
              <a:ext cx="75640" cy="141437"/>
            </a:xfrm>
            <a:custGeom>
              <a:avLst/>
              <a:gdLst/>
              <a:ahLst/>
              <a:cxnLst/>
              <a:rect l="l" t="t" r="r" b="b"/>
              <a:pathLst>
                <a:path w="2382" h="4454" extrusionOk="0">
                  <a:moveTo>
                    <a:pt x="1012" y="692"/>
                  </a:moveTo>
                  <a:lnTo>
                    <a:pt x="1012" y="2061"/>
                  </a:lnTo>
                  <a:cubicBezTo>
                    <a:pt x="607" y="2001"/>
                    <a:pt x="310" y="1715"/>
                    <a:pt x="310" y="1370"/>
                  </a:cubicBezTo>
                  <a:cubicBezTo>
                    <a:pt x="310" y="1025"/>
                    <a:pt x="607" y="763"/>
                    <a:pt x="1012" y="692"/>
                  </a:cubicBezTo>
                  <a:close/>
                  <a:moveTo>
                    <a:pt x="1357" y="2418"/>
                  </a:moveTo>
                  <a:cubicBezTo>
                    <a:pt x="1750" y="2477"/>
                    <a:pt x="2048" y="2751"/>
                    <a:pt x="2048" y="3097"/>
                  </a:cubicBezTo>
                  <a:cubicBezTo>
                    <a:pt x="2048" y="3430"/>
                    <a:pt x="1738" y="3704"/>
                    <a:pt x="1357" y="3763"/>
                  </a:cubicBezTo>
                  <a:lnTo>
                    <a:pt x="1357" y="2418"/>
                  </a:lnTo>
                  <a:close/>
                  <a:moveTo>
                    <a:pt x="1191" y="1"/>
                  </a:moveTo>
                  <a:cubicBezTo>
                    <a:pt x="1095" y="1"/>
                    <a:pt x="1024" y="72"/>
                    <a:pt x="1024" y="168"/>
                  </a:cubicBezTo>
                  <a:lnTo>
                    <a:pt x="1024" y="358"/>
                  </a:lnTo>
                  <a:cubicBezTo>
                    <a:pt x="441" y="430"/>
                    <a:pt x="0" y="870"/>
                    <a:pt x="0" y="1370"/>
                  </a:cubicBezTo>
                  <a:cubicBezTo>
                    <a:pt x="0" y="1882"/>
                    <a:pt x="441" y="2323"/>
                    <a:pt x="1024" y="2382"/>
                  </a:cubicBezTo>
                  <a:lnTo>
                    <a:pt x="1024" y="3763"/>
                  </a:lnTo>
                  <a:cubicBezTo>
                    <a:pt x="619" y="3704"/>
                    <a:pt x="322" y="3430"/>
                    <a:pt x="322" y="3085"/>
                  </a:cubicBezTo>
                  <a:cubicBezTo>
                    <a:pt x="322" y="2989"/>
                    <a:pt x="250" y="2918"/>
                    <a:pt x="167" y="2918"/>
                  </a:cubicBezTo>
                  <a:cubicBezTo>
                    <a:pt x="71" y="2918"/>
                    <a:pt x="0" y="2989"/>
                    <a:pt x="0" y="3085"/>
                  </a:cubicBezTo>
                  <a:cubicBezTo>
                    <a:pt x="0" y="3609"/>
                    <a:pt x="441" y="4037"/>
                    <a:pt x="1024" y="4097"/>
                  </a:cubicBezTo>
                  <a:lnTo>
                    <a:pt x="1024" y="4287"/>
                  </a:lnTo>
                  <a:cubicBezTo>
                    <a:pt x="1024" y="4371"/>
                    <a:pt x="1095" y="4454"/>
                    <a:pt x="1191" y="4454"/>
                  </a:cubicBezTo>
                  <a:cubicBezTo>
                    <a:pt x="1274" y="4454"/>
                    <a:pt x="1357" y="4371"/>
                    <a:pt x="1357" y="4287"/>
                  </a:cubicBezTo>
                  <a:lnTo>
                    <a:pt x="1357" y="4097"/>
                  </a:lnTo>
                  <a:cubicBezTo>
                    <a:pt x="1929" y="4025"/>
                    <a:pt x="2381" y="3585"/>
                    <a:pt x="2381" y="3085"/>
                  </a:cubicBezTo>
                  <a:cubicBezTo>
                    <a:pt x="2381" y="2573"/>
                    <a:pt x="1929" y="2144"/>
                    <a:pt x="1357" y="2073"/>
                  </a:cubicBezTo>
                  <a:lnTo>
                    <a:pt x="1357" y="692"/>
                  </a:lnTo>
                  <a:cubicBezTo>
                    <a:pt x="1750" y="751"/>
                    <a:pt x="2048" y="1025"/>
                    <a:pt x="2048" y="1370"/>
                  </a:cubicBezTo>
                  <a:cubicBezTo>
                    <a:pt x="2048" y="1465"/>
                    <a:pt x="2131" y="1537"/>
                    <a:pt x="2215" y="1537"/>
                  </a:cubicBezTo>
                  <a:cubicBezTo>
                    <a:pt x="2298" y="1537"/>
                    <a:pt x="2381" y="1465"/>
                    <a:pt x="2381" y="1370"/>
                  </a:cubicBezTo>
                  <a:cubicBezTo>
                    <a:pt x="2381" y="846"/>
                    <a:pt x="1929" y="418"/>
                    <a:pt x="1345" y="358"/>
                  </a:cubicBezTo>
                  <a:lnTo>
                    <a:pt x="1345" y="168"/>
                  </a:lnTo>
                  <a:cubicBezTo>
                    <a:pt x="1345" y="72"/>
                    <a:pt x="1274" y="1"/>
                    <a:pt x="119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16" name="Google Shape;3323;p48">
            <a:extLst>
              <a:ext uri="{FF2B5EF4-FFF2-40B4-BE49-F238E27FC236}">
                <a16:creationId xmlns:a16="http://schemas.microsoft.com/office/drawing/2014/main" id="{A6AEDDB1-3F9E-A85B-EA29-0DEA8CCE402F}"/>
              </a:ext>
            </a:extLst>
          </p:cNvPr>
          <p:cNvGrpSpPr/>
          <p:nvPr/>
        </p:nvGrpSpPr>
        <p:grpSpPr>
          <a:xfrm>
            <a:off x="8270012" y="3151523"/>
            <a:ext cx="519748" cy="1314260"/>
            <a:chOff x="7042300" y="1388275"/>
            <a:chExt cx="1255127" cy="3173775"/>
          </a:xfrm>
        </p:grpSpPr>
        <p:sp>
          <p:nvSpPr>
            <p:cNvPr id="317" name="Google Shape;3324;p48">
              <a:extLst>
                <a:ext uri="{FF2B5EF4-FFF2-40B4-BE49-F238E27FC236}">
                  <a16:creationId xmlns:a16="http://schemas.microsoft.com/office/drawing/2014/main" id="{FAEB5874-5877-AB69-CC65-5824CF2FE0A5}"/>
                </a:ext>
              </a:extLst>
            </p:cNvPr>
            <p:cNvSpPr/>
            <p:nvPr/>
          </p:nvSpPr>
          <p:spPr>
            <a:xfrm>
              <a:off x="8053138" y="4183691"/>
              <a:ext cx="244288" cy="328700"/>
            </a:xfrm>
            <a:custGeom>
              <a:avLst/>
              <a:gdLst/>
              <a:ahLst/>
              <a:cxnLst/>
              <a:rect l="l" t="t" r="r" b="b"/>
              <a:pathLst>
                <a:path w="4969" h="6686" extrusionOk="0">
                  <a:moveTo>
                    <a:pt x="2823" y="1"/>
                  </a:moveTo>
                  <a:lnTo>
                    <a:pt x="109" y="2736"/>
                  </a:lnTo>
                  <a:lnTo>
                    <a:pt x="1560" y="4196"/>
                  </a:lnTo>
                  <a:cubicBezTo>
                    <a:pt x="1560" y="4196"/>
                    <a:pt x="0" y="6686"/>
                    <a:pt x="396" y="6686"/>
                  </a:cubicBezTo>
                  <a:cubicBezTo>
                    <a:pt x="423" y="6686"/>
                    <a:pt x="460" y="6674"/>
                    <a:pt x="507" y="6649"/>
                  </a:cubicBezTo>
                  <a:cubicBezTo>
                    <a:pt x="1163" y="6294"/>
                    <a:pt x="4103" y="3091"/>
                    <a:pt x="4811" y="2291"/>
                  </a:cubicBezTo>
                  <a:lnTo>
                    <a:pt x="4969" y="2112"/>
                  </a:lnTo>
                  <a:lnTo>
                    <a:pt x="2823" y="1"/>
                  </a:lnTo>
                  <a:close/>
                </a:path>
              </a:pathLst>
            </a:custGeom>
            <a:solidFill>
              <a:srgbClr val="FFA4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" name="Google Shape;3325;p48">
              <a:extLst>
                <a:ext uri="{FF2B5EF4-FFF2-40B4-BE49-F238E27FC236}">
                  <a16:creationId xmlns:a16="http://schemas.microsoft.com/office/drawing/2014/main" id="{6CBAF7A0-4C10-1156-C55C-068C1DC79D0F}"/>
                </a:ext>
              </a:extLst>
            </p:cNvPr>
            <p:cNvSpPr/>
            <p:nvPr/>
          </p:nvSpPr>
          <p:spPr>
            <a:xfrm>
              <a:off x="8234451" y="4248390"/>
              <a:ext cx="60863" cy="86870"/>
            </a:xfrm>
            <a:custGeom>
              <a:avLst/>
              <a:gdLst/>
              <a:ahLst/>
              <a:cxnLst/>
              <a:rect l="l" t="t" r="r" b="b"/>
              <a:pathLst>
                <a:path w="1238" h="1767" extrusionOk="0">
                  <a:moveTo>
                    <a:pt x="472" y="0"/>
                  </a:moveTo>
                  <a:cubicBezTo>
                    <a:pt x="224" y="214"/>
                    <a:pt x="75" y="516"/>
                    <a:pt x="36" y="839"/>
                  </a:cubicBezTo>
                  <a:cubicBezTo>
                    <a:pt x="0" y="1163"/>
                    <a:pt x="84" y="1499"/>
                    <a:pt x="276" y="1766"/>
                  </a:cubicBezTo>
                  <a:lnTo>
                    <a:pt x="1238" y="761"/>
                  </a:lnTo>
                  <a:lnTo>
                    <a:pt x="472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" name="Google Shape;3326;p48">
              <a:extLst>
                <a:ext uri="{FF2B5EF4-FFF2-40B4-BE49-F238E27FC236}">
                  <a16:creationId xmlns:a16="http://schemas.microsoft.com/office/drawing/2014/main" id="{5FAEB473-DD14-23B2-D508-C7937B3C76D3}"/>
                </a:ext>
              </a:extLst>
            </p:cNvPr>
            <p:cNvSpPr/>
            <p:nvPr/>
          </p:nvSpPr>
          <p:spPr>
            <a:xfrm>
              <a:off x="8060857" y="4284672"/>
              <a:ext cx="236570" cy="228704"/>
            </a:xfrm>
            <a:custGeom>
              <a:avLst/>
              <a:gdLst/>
              <a:ahLst/>
              <a:cxnLst/>
              <a:rect l="l" t="t" r="r" b="b"/>
              <a:pathLst>
                <a:path w="4812" h="4652" extrusionOk="0">
                  <a:moveTo>
                    <a:pt x="4747" y="1"/>
                  </a:moveTo>
                  <a:lnTo>
                    <a:pt x="1163" y="3681"/>
                  </a:lnTo>
                  <a:cubicBezTo>
                    <a:pt x="1163" y="3681"/>
                    <a:pt x="909" y="3524"/>
                    <a:pt x="717" y="3524"/>
                  </a:cubicBezTo>
                  <a:cubicBezTo>
                    <a:pt x="661" y="3524"/>
                    <a:pt x="611" y="3537"/>
                    <a:pt x="573" y="3572"/>
                  </a:cubicBezTo>
                  <a:cubicBezTo>
                    <a:pt x="573" y="3572"/>
                    <a:pt x="1" y="4621"/>
                    <a:pt x="237" y="4651"/>
                  </a:cubicBezTo>
                  <a:cubicBezTo>
                    <a:pt x="238" y="4651"/>
                    <a:pt x="239" y="4651"/>
                    <a:pt x="240" y="4651"/>
                  </a:cubicBezTo>
                  <a:cubicBezTo>
                    <a:pt x="498" y="4651"/>
                    <a:pt x="3573" y="1550"/>
                    <a:pt x="4812" y="58"/>
                  </a:cubicBezTo>
                  <a:lnTo>
                    <a:pt x="4747" y="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" name="Google Shape;3327;p48">
              <a:extLst>
                <a:ext uri="{FF2B5EF4-FFF2-40B4-BE49-F238E27FC236}">
                  <a16:creationId xmlns:a16="http://schemas.microsoft.com/office/drawing/2014/main" id="{AF6C8C66-758D-AFE2-A4A8-AB541E841F0E}"/>
                </a:ext>
              </a:extLst>
            </p:cNvPr>
            <p:cNvSpPr/>
            <p:nvPr/>
          </p:nvSpPr>
          <p:spPr>
            <a:xfrm>
              <a:off x="8070099" y="4282558"/>
              <a:ext cx="226049" cy="228655"/>
            </a:xfrm>
            <a:custGeom>
              <a:avLst/>
              <a:gdLst/>
              <a:ahLst/>
              <a:cxnLst/>
              <a:rect l="l" t="t" r="r" b="b"/>
              <a:pathLst>
                <a:path w="4598" h="4651" extrusionOk="0">
                  <a:moveTo>
                    <a:pt x="4598" y="1"/>
                  </a:moveTo>
                  <a:cubicBezTo>
                    <a:pt x="4597" y="1"/>
                    <a:pt x="4581" y="13"/>
                    <a:pt x="4549" y="44"/>
                  </a:cubicBezTo>
                  <a:cubicBezTo>
                    <a:pt x="4510" y="88"/>
                    <a:pt x="4466" y="132"/>
                    <a:pt x="4418" y="184"/>
                  </a:cubicBezTo>
                  <a:cubicBezTo>
                    <a:pt x="4287" y="319"/>
                    <a:pt x="4126" y="489"/>
                    <a:pt x="3938" y="691"/>
                  </a:cubicBezTo>
                  <a:cubicBezTo>
                    <a:pt x="3527" y="1119"/>
                    <a:pt x="2963" y="1713"/>
                    <a:pt x="2330" y="2351"/>
                  </a:cubicBezTo>
                  <a:cubicBezTo>
                    <a:pt x="1691" y="2994"/>
                    <a:pt x="1110" y="3567"/>
                    <a:pt x="682" y="3982"/>
                  </a:cubicBezTo>
                  <a:cubicBezTo>
                    <a:pt x="485" y="4174"/>
                    <a:pt x="319" y="4335"/>
                    <a:pt x="180" y="4467"/>
                  </a:cubicBezTo>
                  <a:cubicBezTo>
                    <a:pt x="132" y="4519"/>
                    <a:pt x="88" y="4563"/>
                    <a:pt x="45" y="4602"/>
                  </a:cubicBezTo>
                  <a:cubicBezTo>
                    <a:pt x="13" y="4632"/>
                    <a:pt x="0" y="4650"/>
                    <a:pt x="0" y="4650"/>
                  </a:cubicBezTo>
                  <a:cubicBezTo>
                    <a:pt x="0" y="4650"/>
                    <a:pt x="18" y="4638"/>
                    <a:pt x="53" y="4606"/>
                  </a:cubicBezTo>
                  <a:cubicBezTo>
                    <a:pt x="92" y="4571"/>
                    <a:pt x="140" y="4527"/>
                    <a:pt x="192" y="4480"/>
                  </a:cubicBezTo>
                  <a:cubicBezTo>
                    <a:pt x="333" y="4353"/>
                    <a:pt x="503" y="4192"/>
                    <a:pt x="708" y="4003"/>
                  </a:cubicBezTo>
                  <a:cubicBezTo>
                    <a:pt x="1136" y="3597"/>
                    <a:pt x="1727" y="3029"/>
                    <a:pt x="2360" y="2387"/>
                  </a:cubicBezTo>
                  <a:cubicBezTo>
                    <a:pt x="2998" y="1744"/>
                    <a:pt x="3558" y="1150"/>
                    <a:pt x="3960" y="713"/>
                  </a:cubicBezTo>
                  <a:cubicBezTo>
                    <a:pt x="4148" y="511"/>
                    <a:pt x="4305" y="337"/>
                    <a:pt x="4432" y="197"/>
                  </a:cubicBezTo>
                  <a:cubicBezTo>
                    <a:pt x="4480" y="140"/>
                    <a:pt x="4519" y="96"/>
                    <a:pt x="4559" y="53"/>
                  </a:cubicBezTo>
                  <a:cubicBezTo>
                    <a:pt x="4585" y="17"/>
                    <a:pt x="4597" y="1"/>
                    <a:pt x="4598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" name="Google Shape;3328;p48">
              <a:extLst>
                <a:ext uri="{FF2B5EF4-FFF2-40B4-BE49-F238E27FC236}">
                  <a16:creationId xmlns:a16="http://schemas.microsoft.com/office/drawing/2014/main" id="{5B7A2098-BC24-BE89-496C-95AB639A9C4F}"/>
                </a:ext>
              </a:extLst>
            </p:cNvPr>
            <p:cNvSpPr/>
            <p:nvPr/>
          </p:nvSpPr>
          <p:spPr>
            <a:xfrm>
              <a:off x="8086077" y="4457431"/>
              <a:ext cx="34758" cy="10177"/>
            </a:xfrm>
            <a:custGeom>
              <a:avLst/>
              <a:gdLst/>
              <a:ahLst/>
              <a:cxnLst/>
              <a:rect l="l" t="t" r="r" b="b"/>
              <a:pathLst>
                <a:path w="707" h="207" extrusionOk="0">
                  <a:moveTo>
                    <a:pt x="223" y="1"/>
                  </a:moveTo>
                  <a:cubicBezTo>
                    <a:pt x="92" y="1"/>
                    <a:pt x="1" y="38"/>
                    <a:pt x="8" y="44"/>
                  </a:cubicBezTo>
                  <a:cubicBezTo>
                    <a:pt x="9" y="46"/>
                    <a:pt x="13" y="47"/>
                    <a:pt x="22" y="47"/>
                  </a:cubicBezTo>
                  <a:cubicBezTo>
                    <a:pt x="44" y="47"/>
                    <a:pt x="92" y="42"/>
                    <a:pt x="155" y="42"/>
                  </a:cubicBezTo>
                  <a:cubicBezTo>
                    <a:pt x="215" y="42"/>
                    <a:pt x="288" y="47"/>
                    <a:pt x="366" y="66"/>
                  </a:cubicBezTo>
                  <a:cubicBezTo>
                    <a:pt x="547" y="108"/>
                    <a:pt x="670" y="207"/>
                    <a:pt x="691" y="207"/>
                  </a:cubicBezTo>
                  <a:cubicBezTo>
                    <a:pt x="692" y="207"/>
                    <a:pt x="693" y="207"/>
                    <a:pt x="694" y="206"/>
                  </a:cubicBezTo>
                  <a:cubicBezTo>
                    <a:pt x="706" y="202"/>
                    <a:pt x="585" y="66"/>
                    <a:pt x="375" y="18"/>
                  </a:cubicBezTo>
                  <a:cubicBezTo>
                    <a:pt x="321" y="5"/>
                    <a:pt x="269" y="1"/>
                    <a:pt x="223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" name="Google Shape;3329;p48">
              <a:extLst>
                <a:ext uri="{FF2B5EF4-FFF2-40B4-BE49-F238E27FC236}">
                  <a16:creationId xmlns:a16="http://schemas.microsoft.com/office/drawing/2014/main" id="{AF983135-D281-06EC-6819-7CAC9842EB4E}"/>
                </a:ext>
              </a:extLst>
            </p:cNvPr>
            <p:cNvSpPr/>
            <p:nvPr/>
          </p:nvSpPr>
          <p:spPr>
            <a:xfrm>
              <a:off x="8120983" y="4403647"/>
              <a:ext cx="18583" cy="4523"/>
            </a:xfrm>
            <a:custGeom>
              <a:avLst/>
              <a:gdLst/>
              <a:ahLst/>
              <a:cxnLst/>
              <a:rect l="l" t="t" r="r" b="b"/>
              <a:pathLst>
                <a:path w="378" h="92" extrusionOk="0">
                  <a:moveTo>
                    <a:pt x="30" y="0"/>
                  </a:moveTo>
                  <a:cubicBezTo>
                    <a:pt x="15" y="0"/>
                    <a:pt x="6" y="2"/>
                    <a:pt x="6" y="7"/>
                  </a:cubicBezTo>
                  <a:cubicBezTo>
                    <a:pt x="1" y="19"/>
                    <a:pt x="85" y="45"/>
                    <a:pt x="184" y="67"/>
                  </a:cubicBezTo>
                  <a:cubicBezTo>
                    <a:pt x="256" y="82"/>
                    <a:pt x="318" y="91"/>
                    <a:pt x="351" y="91"/>
                  </a:cubicBezTo>
                  <a:cubicBezTo>
                    <a:pt x="367" y="91"/>
                    <a:pt x="376" y="89"/>
                    <a:pt x="377" y="85"/>
                  </a:cubicBezTo>
                  <a:cubicBezTo>
                    <a:pt x="377" y="72"/>
                    <a:pt x="299" y="45"/>
                    <a:pt x="194" y="24"/>
                  </a:cubicBezTo>
                  <a:cubicBezTo>
                    <a:pt x="125" y="9"/>
                    <a:pt x="63" y="0"/>
                    <a:pt x="3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" name="Google Shape;3330;p48">
              <a:extLst>
                <a:ext uri="{FF2B5EF4-FFF2-40B4-BE49-F238E27FC236}">
                  <a16:creationId xmlns:a16="http://schemas.microsoft.com/office/drawing/2014/main" id="{84A3F487-FB80-A3DB-4CC9-F2B81287B28E}"/>
                </a:ext>
              </a:extLst>
            </p:cNvPr>
            <p:cNvSpPr/>
            <p:nvPr/>
          </p:nvSpPr>
          <p:spPr>
            <a:xfrm>
              <a:off x="8128505" y="4390520"/>
              <a:ext cx="15978" cy="2556"/>
            </a:xfrm>
            <a:custGeom>
              <a:avLst/>
              <a:gdLst/>
              <a:ahLst/>
              <a:cxnLst/>
              <a:rect l="l" t="t" r="r" b="b"/>
              <a:pathLst>
                <a:path w="325" h="52" extrusionOk="0">
                  <a:moveTo>
                    <a:pt x="227" y="1"/>
                  </a:moveTo>
                  <a:cubicBezTo>
                    <a:pt x="207" y="1"/>
                    <a:pt x="185" y="2"/>
                    <a:pt x="162" y="3"/>
                  </a:cubicBezTo>
                  <a:cubicBezTo>
                    <a:pt x="71" y="7"/>
                    <a:pt x="1" y="20"/>
                    <a:pt x="1" y="33"/>
                  </a:cubicBezTo>
                  <a:cubicBezTo>
                    <a:pt x="1" y="44"/>
                    <a:pt x="49" y="52"/>
                    <a:pt x="114" y="52"/>
                  </a:cubicBezTo>
                  <a:cubicBezTo>
                    <a:pt x="129" y="52"/>
                    <a:pt x="146" y="51"/>
                    <a:pt x="162" y="50"/>
                  </a:cubicBezTo>
                  <a:cubicBezTo>
                    <a:pt x="255" y="42"/>
                    <a:pt x="325" y="29"/>
                    <a:pt x="325" y="16"/>
                  </a:cubicBezTo>
                  <a:cubicBezTo>
                    <a:pt x="325" y="6"/>
                    <a:pt x="284" y="1"/>
                    <a:pt x="2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" name="Google Shape;3331;p48">
              <a:extLst>
                <a:ext uri="{FF2B5EF4-FFF2-40B4-BE49-F238E27FC236}">
                  <a16:creationId xmlns:a16="http://schemas.microsoft.com/office/drawing/2014/main" id="{6531A907-7842-F81A-8DF7-62C1E55F9420}"/>
                </a:ext>
              </a:extLst>
            </p:cNvPr>
            <p:cNvSpPr/>
            <p:nvPr/>
          </p:nvSpPr>
          <p:spPr>
            <a:xfrm>
              <a:off x="8124424" y="4371691"/>
              <a:ext cx="14650" cy="14503"/>
            </a:xfrm>
            <a:custGeom>
              <a:avLst/>
              <a:gdLst/>
              <a:ahLst/>
              <a:cxnLst/>
              <a:rect l="l" t="t" r="r" b="b"/>
              <a:pathLst>
                <a:path w="298" h="295" extrusionOk="0">
                  <a:moveTo>
                    <a:pt x="287" y="0"/>
                  </a:moveTo>
                  <a:cubicBezTo>
                    <a:pt x="272" y="0"/>
                    <a:pt x="206" y="58"/>
                    <a:pt x="132" y="132"/>
                  </a:cubicBezTo>
                  <a:cubicBezTo>
                    <a:pt x="53" y="211"/>
                    <a:pt x="1" y="285"/>
                    <a:pt x="9" y="294"/>
                  </a:cubicBezTo>
                  <a:cubicBezTo>
                    <a:pt x="10" y="294"/>
                    <a:pt x="11" y="294"/>
                    <a:pt x="12" y="294"/>
                  </a:cubicBezTo>
                  <a:cubicBezTo>
                    <a:pt x="28" y="294"/>
                    <a:pt x="93" y="240"/>
                    <a:pt x="167" y="163"/>
                  </a:cubicBezTo>
                  <a:cubicBezTo>
                    <a:pt x="241" y="84"/>
                    <a:pt x="298" y="9"/>
                    <a:pt x="289" y="1"/>
                  </a:cubicBezTo>
                  <a:cubicBezTo>
                    <a:pt x="289" y="1"/>
                    <a:pt x="288" y="0"/>
                    <a:pt x="28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" name="Google Shape;3332;p48">
              <a:extLst>
                <a:ext uri="{FF2B5EF4-FFF2-40B4-BE49-F238E27FC236}">
                  <a16:creationId xmlns:a16="http://schemas.microsoft.com/office/drawing/2014/main" id="{453667F2-88AE-D687-E004-0D5C53044CBB}"/>
                </a:ext>
              </a:extLst>
            </p:cNvPr>
            <p:cNvSpPr/>
            <p:nvPr/>
          </p:nvSpPr>
          <p:spPr>
            <a:xfrm>
              <a:off x="8116903" y="4360531"/>
              <a:ext cx="15732" cy="17305"/>
            </a:xfrm>
            <a:custGeom>
              <a:avLst/>
              <a:gdLst/>
              <a:ahLst/>
              <a:cxnLst/>
              <a:rect l="l" t="t" r="r" b="b"/>
              <a:pathLst>
                <a:path w="320" h="352" extrusionOk="0">
                  <a:moveTo>
                    <a:pt x="306" y="0"/>
                  </a:moveTo>
                  <a:cubicBezTo>
                    <a:pt x="291" y="0"/>
                    <a:pt x="239" y="85"/>
                    <a:pt x="158" y="176"/>
                  </a:cubicBezTo>
                  <a:cubicBezTo>
                    <a:pt x="79" y="272"/>
                    <a:pt x="1" y="337"/>
                    <a:pt x="10" y="351"/>
                  </a:cubicBezTo>
                  <a:cubicBezTo>
                    <a:pt x="11" y="351"/>
                    <a:pt x="12" y="352"/>
                    <a:pt x="13" y="352"/>
                  </a:cubicBezTo>
                  <a:cubicBezTo>
                    <a:pt x="31" y="352"/>
                    <a:pt x="116" y="300"/>
                    <a:pt x="194" y="206"/>
                  </a:cubicBezTo>
                  <a:cubicBezTo>
                    <a:pt x="281" y="105"/>
                    <a:pt x="320" y="5"/>
                    <a:pt x="307" y="0"/>
                  </a:cubicBezTo>
                  <a:cubicBezTo>
                    <a:pt x="307" y="0"/>
                    <a:pt x="306" y="0"/>
                    <a:pt x="306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" name="Google Shape;3333;p48">
              <a:extLst>
                <a:ext uri="{FF2B5EF4-FFF2-40B4-BE49-F238E27FC236}">
                  <a16:creationId xmlns:a16="http://schemas.microsoft.com/office/drawing/2014/main" id="{017DF86D-7BC1-8689-A8F8-49E8F1445C7E}"/>
                </a:ext>
              </a:extLst>
            </p:cNvPr>
            <p:cNvSpPr/>
            <p:nvPr/>
          </p:nvSpPr>
          <p:spPr>
            <a:xfrm>
              <a:off x="8088781" y="4399222"/>
              <a:ext cx="35495" cy="20845"/>
            </a:xfrm>
            <a:custGeom>
              <a:avLst/>
              <a:gdLst/>
              <a:ahLst/>
              <a:cxnLst/>
              <a:rect l="l" t="t" r="r" b="b"/>
              <a:pathLst>
                <a:path w="722" h="424" extrusionOk="0">
                  <a:moveTo>
                    <a:pt x="447" y="37"/>
                  </a:moveTo>
                  <a:cubicBezTo>
                    <a:pt x="462" y="37"/>
                    <a:pt x="476" y="38"/>
                    <a:pt x="490" y="40"/>
                  </a:cubicBezTo>
                  <a:cubicBezTo>
                    <a:pt x="556" y="44"/>
                    <a:pt x="607" y="58"/>
                    <a:pt x="645" y="73"/>
                  </a:cubicBezTo>
                  <a:lnTo>
                    <a:pt x="645" y="73"/>
                  </a:lnTo>
                  <a:cubicBezTo>
                    <a:pt x="612" y="100"/>
                    <a:pt x="564" y="138"/>
                    <a:pt x="504" y="179"/>
                  </a:cubicBezTo>
                  <a:cubicBezTo>
                    <a:pt x="442" y="223"/>
                    <a:pt x="367" y="272"/>
                    <a:pt x="276" y="315"/>
                  </a:cubicBezTo>
                  <a:cubicBezTo>
                    <a:pt x="232" y="337"/>
                    <a:pt x="184" y="363"/>
                    <a:pt x="137" y="371"/>
                  </a:cubicBezTo>
                  <a:cubicBezTo>
                    <a:pt x="127" y="374"/>
                    <a:pt x="118" y="375"/>
                    <a:pt x="109" y="375"/>
                  </a:cubicBezTo>
                  <a:cubicBezTo>
                    <a:pt x="73" y="375"/>
                    <a:pt x="46" y="353"/>
                    <a:pt x="53" y="315"/>
                  </a:cubicBezTo>
                  <a:cubicBezTo>
                    <a:pt x="75" y="219"/>
                    <a:pt x="167" y="135"/>
                    <a:pt x="246" y="92"/>
                  </a:cubicBezTo>
                  <a:cubicBezTo>
                    <a:pt x="312" y="54"/>
                    <a:pt x="384" y="37"/>
                    <a:pt x="447" y="37"/>
                  </a:cubicBezTo>
                  <a:close/>
                  <a:moveTo>
                    <a:pt x="444" y="1"/>
                  </a:moveTo>
                  <a:cubicBezTo>
                    <a:pt x="293" y="1"/>
                    <a:pt x="76" y="84"/>
                    <a:pt x="5" y="311"/>
                  </a:cubicBezTo>
                  <a:cubicBezTo>
                    <a:pt x="0" y="345"/>
                    <a:pt x="14" y="389"/>
                    <a:pt x="48" y="407"/>
                  </a:cubicBezTo>
                  <a:cubicBezTo>
                    <a:pt x="69" y="420"/>
                    <a:pt x="89" y="423"/>
                    <a:pt x="108" y="423"/>
                  </a:cubicBezTo>
                  <a:cubicBezTo>
                    <a:pt x="123" y="423"/>
                    <a:pt x="136" y="421"/>
                    <a:pt x="149" y="420"/>
                  </a:cubicBezTo>
                  <a:cubicBezTo>
                    <a:pt x="206" y="403"/>
                    <a:pt x="250" y="377"/>
                    <a:pt x="298" y="355"/>
                  </a:cubicBezTo>
                  <a:cubicBezTo>
                    <a:pt x="389" y="306"/>
                    <a:pt x="464" y="254"/>
                    <a:pt x="525" y="210"/>
                  </a:cubicBezTo>
                  <a:cubicBezTo>
                    <a:pt x="588" y="159"/>
                    <a:pt x="635" y="113"/>
                    <a:pt x="664" y="81"/>
                  </a:cubicBezTo>
                  <a:lnTo>
                    <a:pt x="664" y="81"/>
                  </a:lnTo>
                  <a:cubicBezTo>
                    <a:pt x="695" y="94"/>
                    <a:pt x="714" y="106"/>
                    <a:pt x="720" y="106"/>
                  </a:cubicBezTo>
                  <a:cubicBezTo>
                    <a:pt x="721" y="106"/>
                    <a:pt x="721" y="106"/>
                    <a:pt x="722" y="105"/>
                  </a:cubicBezTo>
                  <a:cubicBezTo>
                    <a:pt x="722" y="105"/>
                    <a:pt x="706" y="90"/>
                    <a:pt x="674" y="69"/>
                  </a:cubicBezTo>
                  <a:lnTo>
                    <a:pt x="674" y="69"/>
                  </a:lnTo>
                  <a:cubicBezTo>
                    <a:pt x="693" y="48"/>
                    <a:pt x="701" y="36"/>
                    <a:pt x="700" y="36"/>
                  </a:cubicBezTo>
                  <a:cubicBezTo>
                    <a:pt x="699" y="35"/>
                    <a:pt x="699" y="35"/>
                    <a:pt x="698" y="35"/>
                  </a:cubicBezTo>
                  <a:cubicBezTo>
                    <a:pt x="694" y="35"/>
                    <a:pt x="681" y="45"/>
                    <a:pt x="661" y="61"/>
                  </a:cubicBezTo>
                  <a:lnTo>
                    <a:pt x="661" y="61"/>
                  </a:lnTo>
                  <a:cubicBezTo>
                    <a:pt x="625" y="40"/>
                    <a:pt x="567" y="13"/>
                    <a:pt x="494" y="4"/>
                  </a:cubicBezTo>
                  <a:cubicBezTo>
                    <a:pt x="478" y="2"/>
                    <a:pt x="462" y="1"/>
                    <a:pt x="444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" name="Google Shape;3334;p48">
              <a:extLst>
                <a:ext uri="{FF2B5EF4-FFF2-40B4-BE49-F238E27FC236}">
                  <a16:creationId xmlns:a16="http://schemas.microsoft.com/office/drawing/2014/main" id="{B159E0D5-2E90-6DB3-3925-0B50BF024B33}"/>
                </a:ext>
              </a:extLst>
            </p:cNvPr>
            <p:cNvSpPr/>
            <p:nvPr/>
          </p:nvSpPr>
          <p:spPr>
            <a:xfrm>
              <a:off x="8109184" y="4377590"/>
              <a:ext cx="14208" cy="26007"/>
            </a:xfrm>
            <a:custGeom>
              <a:avLst/>
              <a:gdLst/>
              <a:ahLst/>
              <a:cxnLst/>
              <a:rect l="l" t="t" r="r" b="b"/>
              <a:pathLst>
                <a:path w="289" h="529" extrusionOk="0">
                  <a:moveTo>
                    <a:pt x="131" y="0"/>
                  </a:moveTo>
                  <a:cubicBezTo>
                    <a:pt x="113" y="0"/>
                    <a:pt x="95" y="5"/>
                    <a:pt x="79" y="16"/>
                  </a:cubicBezTo>
                  <a:cubicBezTo>
                    <a:pt x="0" y="87"/>
                    <a:pt x="18" y="182"/>
                    <a:pt x="27" y="252"/>
                  </a:cubicBezTo>
                  <a:cubicBezTo>
                    <a:pt x="40" y="323"/>
                    <a:pt x="71" y="383"/>
                    <a:pt x="105" y="427"/>
                  </a:cubicBezTo>
                  <a:cubicBezTo>
                    <a:pt x="170" y="507"/>
                    <a:pt x="237" y="529"/>
                    <a:pt x="248" y="529"/>
                  </a:cubicBezTo>
                  <a:cubicBezTo>
                    <a:pt x="250" y="529"/>
                    <a:pt x="250" y="529"/>
                    <a:pt x="250" y="528"/>
                  </a:cubicBezTo>
                  <a:cubicBezTo>
                    <a:pt x="254" y="519"/>
                    <a:pt x="188" y="493"/>
                    <a:pt x="132" y="405"/>
                  </a:cubicBezTo>
                  <a:cubicBezTo>
                    <a:pt x="105" y="366"/>
                    <a:pt x="79" y="309"/>
                    <a:pt x="67" y="244"/>
                  </a:cubicBezTo>
                  <a:cubicBezTo>
                    <a:pt x="57" y="182"/>
                    <a:pt x="57" y="95"/>
                    <a:pt x="105" y="56"/>
                  </a:cubicBezTo>
                  <a:cubicBezTo>
                    <a:pt x="115" y="49"/>
                    <a:pt x="124" y="46"/>
                    <a:pt x="134" y="46"/>
                  </a:cubicBezTo>
                  <a:cubicBezTo>
                    <a:pt x="176" y="46"/>
                    <a:pt x="213" y="110"/>
                    <a:pt x="224" y="161"/>
                  </a:cubicBezTo>
                  <a:cubicBezTo>
                    <a:pt x="241" y="226"/>
                    <a:pt x="250" y="287"/>
                    <a:pt x="254" y="339"/>
                  </a:cubicBezTo>
                  <a:cubicBezTo>
                    <a:pt x="263" y="444"/>
                    <a:pt x="254" y="510"/>
                    <a:pt x="259" y="510"/>
                  </a:cubicBezTo>
                  <a:cubicBezTo>
                    <a:pt x="267" y="510"/>
                    <a:pt x="289" y="450"/>
                    <a:pt x="289" y="339"/>
                  </a:cubicBezTo>
                  <a:cubicBezTo>
                    <a:pt x="289" y="283"/>
                    <a:pt x="281" y="218"/>
                    <a:pt x="263" y="152"/>
                  </a:cubicBezTo>
                  <a:cubicBezTo>
                    <a:pt x="254" y="117"/>
                    <a:pt x="241" y="77"/>
                    <a:pt x="214" y="43"/>
                  </a:cubicBezTo>
                  <a:cubicBezTo>
                    <a:pt x="200" y="19"/>
                    <a:pt x="166" y="0"/>
                    <a:pt x="13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" name="Google Shape;3335;p48">
              <a:extLst>
                <a:ext uri="{FF2B5EF4-FFF2-40B4-BE49-F238E27FC236}">
                  <a16:creationId xmlns:a16="http://schemas.microsoft.com/office/drawing/2014/main" id="{1126D2C4-7B95-CB02-20C0-282EC4F3197F}"/>
                </a:ext>
              </a:extLst>
            </p:cNvPr>
            <p:cNvSpPr/>
            <p:nvPr/>
          </p:nvSpPr>
          <p:spPr>
            <a:xfrm>
              <a:off x="8230813" y="4248783"/>
              <a:ext cx="26056" cy="85592"/>
            </a:xfrm>
            <a:custGeom>
              <a:avLst/>
              <a:gdLst/>
              <a:ahLst/>
              <a:cxnLst/>
              <a:rect l="l" t="t" r="r" b="b"/>
              <a:pathLst>
                <a:path w="530" h="1741" extrusionOk="0">
                  <a:moveTo>
                    <a:pt x="524" y="1"/>
                  </a:moveTo>
                  <a:cubicBezTo>
                    <a:pt x="519" y="1"/>
                    <a:pt x="494" y="17"/>
                    <a:pt x="459" y="40"/>
                  </a:cubicBezTo>
                  <a:cubicBezTo>
                    <a:pt x="420" y="71"/>
                    <a:pt x="363" y="119"/>
                    <a:pt x="306" y="189"/>
                  </a:cubicBezTo>
                  <a:cubicBezTo>
                    <a:pt x="188" y="325"/>
                    <a:pt x="62" y="552"/>
                    <a:pt x="31" y="827"/>
                  </a:cubicBezTo>
                  <a:cubicBezTo>
                    <a:pt x="1" y="1103"/>
                    <a:pt x="79" y="1352"/>
                    <a:pt x="162" y="1509"/>
                  </a:cubicBezTo>
                  <a:cubicBezTo>
                    <a:pt x="205" y="1588"/>
                    <a:pt x="249" y="1648"/>
                    <a:pt x="280" y="1684"/>
                  </a:cubicBezTo>
                  <a:cubicBezTo>
                    <a:pt x="315" y="1723"/>
                    <a:pt x="336" y="1741"/>
                    <a:pt x="336" y="1741"/>
                  </a:cubicBezTo>
                  <a:cubicBezTo>
                    <a:pt x="346" y="1732"/>
                    <a:pt x="271" y="1654"/>
                    <a:pt x="193" y="1491"/>
                  </a:cubicBezTo>
                  <a:cubicBezTo>
                    <a:pt x="118" y="1339"/>
                    <a:pt x="48" y="1098"/>
                    <a:pt x="74" y="831"/>
                  </a:cubicBezTo>
                  <a:cubicBezTo>
                    <a:pt x="106" y="565"/>
                    <a:pt x="223" y="347"/>
                    <a:pt x="332" y="211"/>
                  </a:cubicBezTo>
                  <a:cubicBezTo>
                    <a:pt x="441" y="71"/>
                    <a:pt x="529" y="6"/>
                    <a:pt x="525" y="2"/>
                  </a:cubicBezTo>
                  <a:cubicBezTo>
                    <a:pt x="525" y="1"/>
                    <a:pt x="525" y="1"/>
                    <a:pt x="524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" name="Google Shape;3336;p48">
              <a:extLst>
                <a:ext uri="{FF2B5EF4-FFF2-40B4-BE49-F238E27FC236}">
                  <a16:creationId xmlns:a16="http://schemas.microsoft.com/office/drawing/2014/main" id="{8D5087A4-A1B7-7D06-B451-4B552DEE2888}"/>
                </a:ext>
              </a:extLst>
            </p:cNvPr>
            <p:cNvSpPr/>
            <p:nvPr/>
          </p:nvSpPr>
          <p:spPr>
            <a:xfrm>
              <a:off x="8186321" y="4207289"/>
              <a:ext cx="56979" cy="54030"/>
            </a:xfrm>
            <a:custGeom>
              <a:avLst/>
              <a:gdLst/>
              <a:ahLst/>
              <a:cxnLst/>
              <a:rect l="l" t="t" r="r" b="b"/>
              <a:pathLst>
                <a:path w="1159" h="1099" extrusionOk="0">
                  <a:moveTo>
                    <a:pt x="10" y="1"/>
                  </a:moveTo>
                  <a:cubicBezTo>
                    <a:pt x="10" y="1"/>
                    <a:pt x="9" y="1"/>
                    <a:pt x="9" y="1"/>
                  </a:cubicBezTo>
                  <a:cubicBezTo>
                    <a:pt x="1" y="11"/>
                    <a:pt x="250" y="264"/>
                    <a:pt x="565" y="566"/>
                  </a:cubicBezTo>
                  <a:cubicBezTo>
                    <a:pt x="873" y="866"/>
                    <a:pt x="1132" y="1099"/>
                    <a:pt x="1149" y="1099"/>
                  </a:cubicBezTo>
                  <a:cubicBezTo>
                    <a:pt x="1150" y="1099"/>
                    <a:pt x="1150" y="1099"/>
                    <a:pt x="1150" y="1098"/>
                  </a:cubicBezTo>
                  <a:cubicBezTo>
                    <a:pt x="1158" y="1090"/>
                    <a:pt x="910" y="836"/>
                    <a:pt x="595" y="535"/>
                  </a:cubicBezTo>
                  <a:cubicBezTo>
                    <a:pt x="288" y="237"/>
                    <a:pt x="32" y="1"/>
                    <a:pt x="10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" name="Google Shape;3337;p48">
              <a:extLst>
                <a:ext uri="{FF2B5EF4-FFF2-40B4-BE49-F238E27FC236}">
                  <a16:creationId xmlns:a16="http://schemas.microsoft.com/office/drawing/2014/main" id="{4CC5D38D-E32E-BF0F-3C4C-6B785E8E68FA}"/>
                </a:ext>
              </a:extLst>
            </p:cNvPr>
            <p:cNvSpPr/>
            <p:nvPr/>
          </p:nvSpPr>
          <p:spPr>
            <a:xfrm>
              <a:off x="8178995" y="4339243"/>
              <a:ext cx="39625" cy="39625"/>
            </a:xfrm>
            <a:custGeom>
              <a:avLst/>
              <a:gdLst/>
              <a:ahLst/>
              <a:cxnLst/>
              <a:rect l="l" t="t" r="r" b="b"/>
              <a:pathLst>
                <a:path w="806" h="806" extrusionOk="0">
                  <a:moveTo>
                    <a:pt x="795" y="1"/>
                  </a:moveTo>
                  <a:cubicBezTo>
                    <a:pt x="775" y="1"/>
                    <a:pt x="616" y="190"/>
                    <a:pt x="403" y="407"/>
                  </a:cubicBezTo>
                  <a:cubicBezTo>
                    <a:pt x="189" y="631"/>
                    <a:pt x="1" y="796"/>
                    <a:pt x="10" y="805"/>
                  </a:cubicBezTo>
                  <a:cubicBezTo>
                    <a:pt x="10" y="805"/>
                    <a:pt x="11" y="806"/>
                    <a:pt x="12" y="806"/>
                  </a:cubicBezTo>
                  <a:cubicBezTo>
                    <a:pt x="35" y="806"/>
                    <a:pt x="229" y="652"/>
                    <a:pt x="438" y="438"/>
                  </a:cubicBezTo>
                  <a:cubicBezTo>
                    <a:pt x="656" y="215"/>
                    <a:pt x="805" y="6"/>
                    <a:pt x="797" y="1"/>
                  </a:cubicBezTo>
                  <a:cubicBezTo>
                    <a:pt x="796" y="1"/>
                    <a:pt x="796" y="1"/>
                    <a:pt x="795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" name="Google Shape;3338;p48">
              <a:extLst>
                <a:ext uri="{FF2B5EF4-FFF2-40B4-BE49-F238E27FC236}">
                  <a16:creationId xmlns:a16="http://schemas.microsoft.com/office/drawing/2014/main" id="{8658487F-2F93-B992-C253-1B9CCF00C8A4}"/>
                </a:ext>
              </a:extLst>
            </p:cNvPr>
            <p:cNvSpPr/>
            <p:nvPr/>
          </p:nvSpPr>
          <p:spPr>
            <a:xfrm>
              <a:off x="8243104" y="4312843"/>
              <a:ext cx="5801" cy="11062"/>
            </a:xfrm>
            <a:custGeom>
              <a:avLst/>
              <a:gdLst/>
              <a:ahLst/>
              <a:cxnLst/>
              <a:rect l="l" t="t" r="r" b="b"/>
              <a:pathLst>
                <a:path w="118" h="225" extrusionOk="0">
                  <a:moveTo>
                    <a:pt x="20" y="0"/>
                  </a:moveTo>
                  <a:lnTo>
                    <a:pt x="20" y="0"/>
                  </a:lnTo>
                  <a:cubicBezTo>
                    <a:pt x="7" y="0"/>
                    <a:pt x="0" y="59"/>
                    <a:pt x="25" y="127"/>
                  </a:cubicBezTo>
                  <a:cubicBezTo>
                    <a:pt x="49" y="187"/>
                    <a:pt x="91" y="225"/>
                    <a:pt x="105" y="225"/>
                  </a:cubicBezTo>
                  <a:cubicBezTo>
                    <a:pt x="106" y="225"/>
                    <a:pt x="108" y="224"/>
                    <a:pt x="108" y="224"/>
                  </a:cubicBezTo>
                  <a:cubicBezTo>
                    <a:pt x="118" y="214"/>
                    <a:pt x="92" y="171"/>
                    <a:pt x="70" y="109"/>
                  </a:cubicBezTo>
                  <a:cubicBezTo>
                    <a:pt x="43" y="49"/>
                    <a:pt x="34" y="0"/>
                    <a:pt x="21" y="0"/>
                  </a:cubicBezTo>
                  <a:cubicBezTo>
                    <a:pt x="21" y="0"/>
                    <a:pt x="20" y="0"/>
                    <a:pt x="2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" name="Google Shape;3339;p48">
              <a:extLst>
                <a:ext uri="{FF2B5EF4-FFF2-40B4-BE49-F238E27FC236}">
                  <a16:creationId xmlns:a16="http://schemas.microsoft.com/office/drawing/2014/main" id="{EEF52378-9802-E432-7477-BACB1DCE8C86}"/>
                </a:ext>
              </a:extLst>
            </p:cNvPr>
            <p:cNvSpPr/>
            <p:nvPr/>
          </p:nvSpPr>
          <p:spPr>
            <a:xfrm>
              <a:off x="8240449" y="4290522"/>
              <a:ext cx="2458" cy="10127"/>
            </a:xfrm>
            <a:custGeom>
              <a:avLst/>
              <a:gdLst/>
              <a:ahLst/>
              <a:cxnLst/>
              <a:rect l="l" t="t" r="r" b="b"/>
              <a:pathLst>
                <a:path w="50" h="206" extrusionOk="0">
                  <a:moveTo>
                    <a:pt x="23" y="0"/>
                  </a:moveTo>
                  <a:cubicBezTo>
                    <a:pt x="9" y="0"/>
                    <a:pt x="1" y="48"/>
                    <a:pt x="1" y="105"/>
                  </a:cubicBezTo>
                  <a:cubicBezTo>
                    <a:pt x="1" y="162"/>
                    <a:pt x="14" y="206"/>
                    <a:pt x="27" y="206"/>
                  </a:cubicBezTo>
                  <a:cubicBezTo>
                    <a:pt x="41" y="206"/>
                    <a:pt x="49" y="162"/>
                    <a:pt x="49" y="105"/>
                  </a:cubicBezTo>
                  <a:cubicBezTo>
                    <a:pt x="49" y="48"/>
                    <a:pt x="35" y="0"/>
                    <a:pt x="23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" name="Google Shape;3340;p48">
              <a:extLst>
                <a:ext uri="{FF2B5EF4-FFF2-40B4-BE49-F238E27FC236}">
                  <a16:creationId xmlns:a16="http://schemas.microsoft.com/office/drawing/2014/main" id="{039DEDD7-A98D-1E98-BC41-DAD06572F184}"/>
                </a:ext>
              </a:extLst>
            </p:cNvPr>
            <p:cNvSpPr/>
            <p:nvPr/>
          </p:nvSpPr>
          <p:spPr>
            <a:xfrm>
              <a:off x="8243792" y="4270562"/>
              <a:ext cx="6637" cy="10324"/>
            </a:xfrm>
            <a:custGeom>
              <a:avLst/>
              <a:gdLst/>
              <a:ahLst/>
              <a:cxnLst/>
              <a:rect l="l" t="t" r="r" b="b"/>
              <a:pathLst>
                <a:path w="135" h="210" extrusionOk="0">
                  <a:moveTo>
                    <a:pt x="121" y="1"/>
                  </a:moveTo>
                  <a:cubicBezTo>
                    <a:pt x="102" y="1"/>
                    <a:pt x="58" y="28"/>
                    <a:pt x="29" y="83"/>
                  </a:cubicBezTo>
                  <a:cubicBezTo>
                    <a:pt x="0" y="150"/>
                    <a:pt x="14" y="209"/>
                    <a:pt x="24" y="209"/>
                  </a:cubicBezTo>
                  <a:cubicBezTo>
                    <a:pt x="24" y="209"/>
                    <a:pt x="25" y="209"/>
                    <a:pt x="25" y="209"/>
                  </a:cubicBezTo>
                  <a:cubicBezTo>
                    <a:pt x="38" y="209"/>
                    <a:pt x="46" y="157"/>
                    <a:pt x="72" y="104"/>
                  </a:cubicBezTo>
                  <a:cubicBezTo>
                    <a:pt x="99" y="52"/>
                    <a:pt x="134" y="13"/>
                    <a:pt x="130" y="4"/>
                  </a:cubicBezTo>
                  <a:cubicBezTo>
                    <a:pt x="128" y="2"/>
                    <a:pt x="125" y="1"/>
                    <a:pt x="121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" name="Google Shape;3341;p48">
              <a:extLst>
                <a:ext uri="{FF2B5EF4-FFF2-40B4-BE49-F238E27FC236}">
                  <a16:creationId xmlns:a16="http://schemas.microsoft.com/office/drawing/2014/main" id="{7190B1C9-3841-05A8-2436-EA7E613A504D}"/>
                </a:ext>
              </a:extLst>
            </p:cNvPr>
            <p:cNvSpPr/>
            <p:nvPr/>
          </p:nvSpPr>
          <p:spPr>
            <a:xfrm>
              <a:off x="8254460" y="4257829"/>
              <a:ext cx="3687" cy="5900"/>
            </a:xfrm>
            <a:custGeom>
              <a:avLst/>
              <a:gdLst/>
              <a:ahLst/>
              <a:cxnLst/>
              <a:rect l="l" t="t" r="r" b="b"/>
              <a:pathLst>
                <a:path w="75" h="120" extrusionOk="0">
                  <a:moveTo>
                    <a:pt x="57" y="0"/>
                  </a:moveTo>
                  <a:cubicBezTo>
                    <a:pt x="44" y="0"/>
                    <a:pt x="25" y="21"/>
                    <a:pt x="13" y="48"/>
                  </a:cubicBezTo>
                  <a:cubicBezTo>
                    <a:pt x="0" y="84"/>
                    <a:pt x="0" y="110"/>
                    <a:pt x="8" y="119"/>
                  </a:cubicBezTo>
                  <a:cubicBezTo>
                    <a:pt x="10" y="119"/>
                    <a:pt x="11" y="119"/>
                    <a:pt x="12" y="119"/>
                  </a:cubicBezTo>
                  <a:cubicBezTo>
                    <a:pt x="26" y="119"/>
                    <a:pt x="45" y="98"/>
                    <a:pt x="57" y="70"/>
                  </a:cubicBezTo>
                  <a:cubicBezTo>
                    <a:pt x="70" y="36"/>
                    <a:pt x="75" y="10"/>
                    <a:pt x="61" y="1"/>
                  </a:cubicBezTo>
                  <a:cubicBezTo>
                    <a:pt x="60" y="1"/>
                    <a:pt x="58" y="0"/>
                    <a:pt x="5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" name="Google Shape;3342;p48">
              <a:extLst>
                <a:ext uri="{FF2B5EF4-FFF2-40B4-BE49-F238E27FC236}">
                  <a16:creationId xmlns:a16="http://schemas.microsoft.com/office/drawing/2014/main" id="{98B47E6E-09DB-E9C9-CB43-C7DC09FB560C}"/>
                </a:ext>
              </a:extLst>
            </p:cNvPr>
            <p:cNvSpPr/>
            <p:nvPr/>
          </p:nvSpPr>
          <p:spPr>
            <a:xfrm>
              <a:off x="7422083" y="4407383"/>
              <a:ext cx="353478" cy="154370"/>
            </a:xfrm>
            <a:custGeom>
              <a:avLst/>
              <a:gdLst/>
              <a:ahLst/>
              <a:cxnLst/>
              <a:rect l="l" t="t" r="r" b="b"/>
              <a:pathLst>
                <a:path w="7190" h="3140" extrusionOk="0">
                  <a:moveTo>
                    <a:pt x="3340" y="1"/>
                  </a:moveTo>
                  <a:lnTo>
                    <a:pt x="3288" y="2054"/>
                  </a:lnTo>
                  <a:cubicBezTo>
                    <a:pt x="3288" y="2054"/>
                    <a:pt x="1" y="2736"/>
                    <a:pt x="787" y="2990"/>
                  </a:cubicBezTo>
                  <a:cubicBezTo>
                    <a:pt x="1150" y="3106"/>
                    <a:pt x="2468" y="3140"/>
                    <a:pt x="3810" y="3140"/>
                  </a:cubicBezTo>
                  <a:cubicBezTo>
                    <a:pt x="5090" y="3140"/>
                    <a:pt x="6392" y="3109"/>
                    <a:pt x="6911" y="3090"/>
                  </a:cubicBezTo>
                  <a:lnTo>
                    <a:pt x="7151" y="3077"/>
                  </a:lnTo>
                  <a:lnTo>
                    <a:pt x="7189" y="66"/>
                  </a:lnTo>
                  <a:lnTo>
                    <a:pt x="3340" y="1"/>
                  </a:lnTo>
                  <a:close/>
                </a:path>
              </a:pathLst>
            </a:custGeom>
            <a:solidFill>
              <a:srgbClr val="FFA4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" name="Google Shape;3343;p48">
              <a:extLst>
                <a:ext uri="{FF2B5EF4-FFF2-40B4-BE49-F238E27FC236}">
                  <a16:creationId xmlns:a16="http://schemas.microsoft.com/office/drawing/2014/main" id="{EB1E4DDB-692B-1109-FA30-CF53B379B7B6}"/>
                </a:ext>
              </a:extLst>
            </p:cNvPr>
            <p:cNvSpPr/>
            <p:nvPr/>
          </p:nvSpPr>
          <p:spPr>
            <a:xfrm>
              <a:off x="7704868" y="4502711"/>
              <a:ext cx="69663" cy="53390"/>
            </a:xfrm>
            <a:custGeom>
              <a:avLst/>
              <a:gdLst/>
              <a:ahLst/>
              <a:cxnLst/>
              <a:rect l="l" t="t" r="r" b="b"/>
              <a:pathLst>
                <a:path w="1417" h="1086" extrusionOk="0">
                  <a:moveTo>
                    <a:pt x="1300" y="1"/>
                  </a:moveTo>
                  <a:cubicBezTo>
                    <a:pt x="1013" y="1"/>
                    <a:pt x="738" y="99"/>
                    <a:pt x="507" y="273"/>
                  </a:cubicBezTo>
                  <a:cubicBezTo>
                    <a:pt x="249" y="465"/>
                    <a:pt x="61" y="763"/>
                    <a:pt x="1" y="1086"/>
                  </a:cubicBezTo>
                  <a:lnTo>
                    <a:pt x="1394" y="1086"/>
                  </a:lnTo>
                  <a:lnTo>
                    <a:pt x="1417" y="6"/>
                  </a:lnTo>
                  <a:cubicBezTo>
                    <a:pt x="1378" y="3"/>
                    <a:pt x="1339" y="1"/>
                    <a:pt x="130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" name="Google Shape;3344;p48">
              <a:extLst>
                <a:ext uri="{FF2B5EF4-FFF2-40B4-BE49-F238E27FC236}">
                  <a16:creationId xmlns:a16="http://schemas.microsoft.com/office/drawing/2014/main" id="{118DABAE-03B5-8D8D-CA00-7DE49DE9A92F}"/>
                </a:ext>
              </a:extLst>
            </p:cNvPr>
            <p:cNvSpPr/>
            <p:nvPr/>
          </p:nvSpPr>
          <p:spPr>
            <a:xfrm>
              <a:off x="7448091" y="4527489"/>
              <a:ext cx="325554" cy="34561"/>
            </a:xfrm>
            <a:custGeom>
              <a:avLst/>
              <a:gdLst/>
              <a:ahLst/>
              <a:cxnLst/>
              <a:rect l="l" t="t" r="r" b="b"/>
              <a:pathLst>
                <a:path w="6622" h="703" extrusionOk="0">
                  <a:moveTo>
                    <a:pt x="1150" y="1"/>
                  </a:moveTo>
                  <a:cubicBezTo>
                    <a:pt x="1150" y="1"/>
                    <a:pt x="0" y="311"/>
                    <a:pt x="141" y="503"/>
                  </a:cubicBezTo>
                  <a:cubicBezTo>
                    <a:pt x="229" y="628"/>
                    <a:pt x="2123" y="703"/>
                    <a:pt x="3971" y="703"/>
                  </a:cubicBezTo>
                  <a:cubicBezTo>
                    <a:pt x="4963" y="703"/>
                    <a:pt x="5942" y="681"/>
                    <a:pt x="6622" y="634"/>
                  </a:cubicBezTo>
                  <a:lnTo>
                    <a:pt x="6617" y="547"/>
                  </a:lnTo>
                  <a:lnTo>
                    <a:pt x="1482" y="503"/>
                  </a:lnTo>
                  <a:cubicBezTo>
                    <a:pt x="1482" y="503"/>
                    <a:pt x="1378" y="13"/>
                    <a:pt x="115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" name="Google Shape;3345;p48">
              <a:extLst>
                <a:ext uri="{FF2B5EF4-FFF2-40B4-BE49-F238E27FC236}">
                  <a16:creationId xmlns:a16="http://schemas.microsoft.com/office/drawing/2014/main" id="{06BF20C7-80FA-0676-8AC7-18DE20E7D7C5}"/>
                </a:ext>
              </a:extLst>
            </p:cNvPr>
            <p:cNvSpPr/>
            <p:nvPr/>
          </p:nvSpPr>
          <p:spPr>
            <a:xfrm>
              <a:off x="7502907" y="4525276"/>
              <a:ext cx="19321" cy="29940"/>
            </a:xfrm>
            <a:custGeom>
              <a:avLst/>
              <a:gdLst/>
              <a:ahLst/>
              <a:cxnLst/>
              <a:rect l="l" t="t" r="r" b="b"/>
              <a:pathLst>
                <a:path w="393" h="609" extrusionOk="0">
                  <a:moveTo>
                    <a:pt x="12" y="0"/>
                  </a:moveTo>
                  <a:cubicBezTo>
                    <a:pt x="10" y="0"/>
                    <a:pt x="9" y="1"/>
                    <a:pt x="9" y="2"/>
                  </a:cubicBezTo>
                  <a:cubicBezTo>
                    <a:pt x="0" y="10"/>
                    <a:pt x="144" y="102"/>
                    <a:pt x="245" y="272"/>
                  </a:cubicBezTo>
                  <a:cubicBezTo>
                    <a:pt x="345" y="443"/>
                    <a:pt x="354" y="609"/>
                    <a:pt x="367" y="609"/>
                  </a:cubicBezTo>
                  <a:cubicBezTo>
                    <a:pt x="368" y="609"/>
                    <a:pt x="368" y="609"/>
                    <a:pt x="368" y="609"/>
                  </a:cubicBezTo>
                  <a:cubicBezTo>
                    <a:pt x="380" y="609"/>
                    <a:pt x="392" y="427"/>
                    <a:pt x="285" y="251"/>
                  </a:cubicBezTo>
                  <a:cubicBezTo>
                    <a:pt x="183" y="76"/>
                    <a:pt x="36" y="0"/>
                    <a:pt x="12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" name="Google Shape;3346;p48">
              <a:extLst>
                <a:ext uri="{FF2B5EF4-FFF2-40B4-BE49-F238E27FC236}">
                  <a16:creationId xmlns:a16="http://schemas.microsoft.com/office/drawing/2014/main" id="{D2AC06C6-437A-0E25-22EA-5014878D65BD}"/>
                </a:ext>
              </a:extLst>
            </p:cNvPr>
            <p:cNvSpPr/>
            <p:nvPr/>
          </p:nvSpPr>
          <p:spPr>
            <a:xfrm>
              <a:off x="7567163" y="4511806"/>
              <a:ext cx="10767" cy="15978"/>
            </a:xfrm>
            <a:custGeom>
              <a:avLst/>
              <a:gdLst/>
              <a:ahLst/>
              <a:cxnLst/>
              <a:rect l="l" t="t" r="r" b="b"/>
              <a:pathLst>
                <a:path w="219" h="325" extrusionOk="0">
                  <a:moveTo>
                    <a:pt x="14" y="0"/>
                  </a:moveTo>
                  <a:cubicBezTo>
                    <a:pt x="14" y="0"/>
                    <a:pt x="13" y="1"/>
                    <a:pt x="13" y="1"/>
                  </a:cubicBezTo>
                  <a:cubicBezTo>
                    <a:pt x="0" y="9"/>
                    <a:pt x="35" y="88"/>
                    <a:pt x="91" y="175"/>
                  </a:cubicBezTo>
                  <a:cubicBezTo>
                    <a:pt x="141" y="262"/>
                    <a:pt x="190" y="324"/>
                    <a:pt x="207" y="324"/>
                  </a:cubicBezTo>
                  <a:cubicBezTo>
                    <a:pt x="208" y="324"/>
                    <a:pt x="209" y="324"/>
                    <a:pt x="210" y="324"/>
                  </a:cubicBezTo>
                  <a:cubicBezTo>
                    <a:pt x="218" y="320"/>
                    <a:pt x="184" y="241"/>
                    <a:pt x="131" y="153"/>
                  </a:cubicBezTo>
                  <a:cubicBezTo>
                    <a:pt x="77" y="65"/>
                    <a:pt x="26" y="0"/>
                    <a:pt x="14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" name="Google Shape;3347;p48">
              <a:extLst>
                <a:ext uri="{FF2B5EF4-FFF2-40B4-BE49-F238E27FC236}">
                  <a16:creationId xmlns:a16="http://schemas.microsoft.com/office/drawing/2014/main" id="{9FCE0C26-7D80-B0E1-2ADA-9180CD60123C}"/>
                </a:ext>
              </a:extLst>
            </p:cNvPr>
            <p:cNvSpPr/>
            <p:nvPr/>
          </p:nvSpPr>
          <p:spPr>
            <a:xfrm>
              <a:off x="7580879" y="4509102"/>
              <a:ext cx="12487" cy="10963"/>
            </a:xfrm>
            <a:custGeom>
              <a:avLst/>
              <a:gdLst/>
              <a:ahLst/>
              <a:cxnLst/>
              <a:rect l="l" t="t" r="r" b="b"/>
              <a:pathLst>
                <a:path w="254" h="223" extrusionOk="0">
                  <a:moveTo>
                    <a:pt x="15" y="1"/>
                  </a:moveTo>
                  <a:cubicBezTo>
                    <a:pt x="12" y="1"/>
                    <a:pt x="11" y="2"/>
                    <a:pt x="10" y="3"/>
                  </a:cubicBezTo>
                  <a:cubicBezTo>
                    <a:pt x="0" y="12"/>
                    <a:pt x="44" y="68"/>
                    <a:pt x="110" y="129"/>
                  </a:cubicBezTo>
                  <a:cubicBezTo>
                    <a:pt x="169" y="185"/>
                    <a:pt x="225" y="223"/>
                    <a:pt x="242" y="223"/>
                  </a:cubicBezTo>
                  <a:cubicBezTo>
                    <a:pt x="243" y="223"/>
                    <a:pt x="245" y="222"/>
                    <a:pt x="246" y="221"/>
                  </a:cubicBezTo>
                  <a:cubicBezTo>
                    <a:pt x="254" y="213"/>
                    <a:pt x="206" y="155"/>
                    <a:pt x="145" y="95"/>
                  </a:cubicBezTo>
                  <a:cubicBezTo>
                    <a:pt x="87" y="41"/>
                    <a:pt x="33" y="1"/>
                    <a:pt x="15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" name="Google Shape;3348;p48">
              <a:extLst>
                <a:ext uri="{FF2B5EF4-FFF2-40B4-BE49-F238E27FC236}">
                  <a16:creationId xmlns:a16="http://schemas.microsoft.com/office/drawing/2014/main" id="{B3265A90-FBAC-8163-C397-BD4EB41BFD6F}"/>
                </a:ext>
              </a:extLst>
            </p:cNvPr>
            <p:cNvSpPr/>
            <p:nvPr/>
          </p:nvSpPr>
          <p:spPr>
            <a:xfrm>
              <a:off x="7583043" y="4501039"/>
              <a:ext cx="20058" cy="2409"/>
            </a:xfrm>
            <a:custGeom>
              <a:avLst/>
              <a:gdLst/>
              <a:ahLst/>
              <a:cxnLst/>
              <a:rect l="l" t="t" r="r" b="b"/>
              <a:pathLst>
                <a:path w="408" h="49" extrusionOk="0">
                  <a:moveTo>
                    <a:pt x="202" y="1"/>
                  </a:moveTo>
                  <a:cubicBezTo>
                    <a:pt x="93" y="1"/>
                    <a:pt x="0" y="10"/>
                    <a:pt x="0" y="23"/>
                  </a:cubicBezTo>
                  <a:cubicBezTo>
                    <a:pt x="0" y="36"/>
                    <a:pt x="93" y="45"/>
                    <a:pt x="202" y="49"/>
                  </a:cubicBezTo>
                  <a:cubicBezTo>
                    <a:pt x="315" y="49"/>
                    <a:pt x="407" y="36"/>
                    <a:pt x="407" y="23"/>
                  </a:cubicBezTo>
                  <a:cubicBezTo>
                    <a:pt x="407" y="14"/>
                    <a:pt x="315" y="1"/>
                    <a:pt x="202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" name="Google Shape;3349;p48">
              <a:extLst>
                <a:ext uri="{FF2B5EF4-FFF2-40B4-BE49-F238E27FC236}">
                  <a16:creationId xmlns:a16="http://schemas.microsoft.com/office/drawing/2014/main" id="{3AFAEEEA-4FED-D523-25E5-D909FFDAFBF7}"/>
                </a:ext>
              </a:extLst>
            </p:cNvPr>
            <p:cNvSpPr/>
            <p:nvPr/>
          </p:nvSpPr>
          <p:spPr>
            <a:xfrm>
              <a:off x="7583928" y="4489437"/>
              <a:ext cx="22762" cy="3392"/>
            </a:xfrm>
            <a:custGeom>
              <a:avLst/>
              <a:gdLst/>
              <a:ahLst/>
              <a:cxnLst/>
              <a:rect l="l" t="t" r="r" b="b"/>
              <a:pathLst>
                <a:path w="463" h="69" extrusionOk="0">
                  <a:moveTo>
                    <a:pt x="443" y="1"/>
                  </a:moveTo>
                  <a:cubicBezTo>
                    <a:pt x="409" y="1"/>
                    <a:pt x="327" y="15"/>
                    <a:pt x="232" y="18"/>
                  </a:cubicBezTo>
                  <a:cubicBezTo>
                    <a:pt x="105" y="27"/>
                    <a:pt x="4" y="18"/>
                    <a:pt x="4" y="31"/>
                  </a:cubicBezTo>
                  <a:cubicBezTo>
                    <a:pt x="1" y="43"/>
                    <a:pt x="78" y="68"/>
                    <a:pt x="187" y="68"/>
                  </a:cubicBezTo>
                  <a:cubicBezTo>
                    <a:pt x="201" y="68"/>
                    <a:pt x="216" y="68"/>
                    <a:pt x="232" y="67"/>
                  </a:cubicBezTo>
                  <a:cubicBezTo>
                    <a:pt x="363" y="57"/>
                    <a:pt x="463" y="18"/>
                    <a:pt x="458" y="5"/>
                  </a:cubicBezTo>
                  <a:cubicBezTo>
                    <a:pt x="457" y="2"/>
                    <a:pt x="452" y="1"/>
                    <a:pt x="443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3" name="Google Shape;3350;p48">
              <a:extLst>
                <a:ext uri="{FF2B5EF4-FFF2-40B4-BE49-F238E27FC236}">
                  <a16:creationId xmlns:a16="http://schemas.microsoft.com/office/drawing/2014/main" id="{9ABF5AC9-B245-88A2-380A-E683EC92088C}"/>
                </a:ext>
              </a:extLst>
            </p:cNvPr>
            <p:cNvSpPr/>
            <p:nvPr/>
          </p:nvSpPr>
          <p:spPr>
            <a:xfrm>
              <a:off x="7535355" y="4493665"/>
              <a:ext cx="35938" cy="20796"/>
            </a:xfrm>
            <a:custGeom>
              <a:avLst/>
              <a:gdLst/>
              <a:ahLst/>
              <a:cxnLst/>
              <a:rect l="l" t="t" r="r" b="b"/>
              <a:pathLst>
                <a:path w="731" h="423" extrusionOk="0">
                  <a:moveTo>
                    <a:pt x="235" y="47"/>
                  </a:moveTo>
                  <a:cubicBezTo>
                    <a:pt x="285" y="47"/>
                    <a:pt x="335" y="55"/>
                    <a:pt x="376" y="68"/>
                  </a:cubicBezTo>
                  <a:cubicBezTo>
                    <a:pt x="468" y="98"/>
                    <a:pt x="538" y="155"/>
                    <a:pt x="585" y="207"/>
                  </a:cubicBezTo>
                  <a:cubicBezTo>
                    <a:pt x="626" y="259"/>
                    <a:pt x="650" y="307"/>
                    <a:pt x="665" y="345"/>
                  </a:cubicBezTo>
                  <a:lnTo>
                    <a:pt x="665" y="345"/>
                  </a:lnTo>
                  <a:cubicBezTo>
                    <a:pt x="624" y="340"/>
                    <a:pt x="564" y="332"/>
                    <a:pt x="490" y="317"/>
                  </a:cubicBezTo>
                  <a:cubicBezTo>
                    <a:pt x="415" y="304"/>
                    <a:pt x="328" y="282"/>
                    <a:pt x="236" y="247"/>
                  </a:cubicBezTo>
                  <a:cubicBezTo>
                    <a:pt x="188" y="229"/>
                    <a:pt x="135" y="212"/>
                    <a:pt x="97" y="186"/>
                  </a:cubicBezTo>
                  <a:cubicBezTo>
                    <a:pt x="52" y="160"/>
                    <a:pt x="40" y="112"/>
                    <a:pt x="79" y="85"/>
                  </a:cubicBezTo>
                  <a:cubicBezTo>
                    <a:pt x="123" y="58"/>
                    <a:pt x="179" y="47"/>
                    <a:pt x="235" y="47"/>
                  </a:cubicBezTo>
                  <a:close/>
                  <a:moveTo>
                    <a:pt x="241" y="1"/>
                  </a:moveTo>
                  <a:cubicBezTo>
                    <a:pt x="180" y="1"/>
                    <a:pt x="116" y="14"/>
                    <a:pt x="52" y="46"/>
                  </a:cubicBezTo>
                  <a:cubicBezTo>
                    <a:pt x="22" y="68"/>
                    <a:pt x="0" y="108"/>
                    <a:pt x="14" y="146"/>
                  </a:cubicBezTo>
                  <a:cubicBezTo>
                    <a:pt x="22" y="181"/>
                    <a:pt x="48" y="207"/>
                    <a:pt x="70" y="225"/>
                  </a:cubicBezTo>
                  <a:cubicBezTo>
                    <a:pt x="123" y="255"/>
                    <a:pt x="175" y="269"/>
                    <a:pt x="223" y="286"/>
                  </a:cubicBezTo>
                  <a:cubicBezTo>
                    <a:pt x="319" y="321"/>
                    <a:pt x="407" y="338"/>
                    <a:pt x="486" y="352"/>
                  </a:cubicBezTo>
                  <a:cubicBezTo>
                    <a:pt x="550" y="361"/>
                    <a:pt x="603" y="364"/>
                    <a:pt x="643" y="364"/>
                  </a:cubicBezTo>
                  <a:cubicBezTo>
                    <a:pt x="654" y="364"/>
                    <a:pt x="664" y="364"/>
                    <a:pt x="673" y="364"/>
                  </a:cubicBezTo>
                  <a:lnTo>
                    <a:pt x="673" y="364"/>
                  </a:lnTo>
                  <a:cubicBezTo>
                    <a:pt x="686" y="400"/>
                    <a:pt x="690" y="422"/>
                    <a:pt x="695" y="422"/>
                  </a:cubicBezTo>
                  <a:cubicBezTo>
                    <a:pt x="695" y="422"/>
                    <a:pt x="695" y="422"/>
                    <a:pt x="695" y="422"/>
                  </a:cubicBezTo>
                  <a:cubicBezTo>
                    <a:pt x="695" y="422"/>
                    <a:pt x="695" y="402"/>
                    <a:pt x="687" y="363"/>
                  </a:cubicBezTo>
                  <a:lnTo>
                    <a:pt x="687" y="363"/>
                  </a:lnTo>
                  <a:cubicBezTo>
                    <a:pt x="715" y="361"/>
                    <a:pt x="730" y="358"/>
                    <a:pt x="730" y="356"/>
                  </a:cubicBezTo>
                  <a:cubicBezTo>
                    <a:pt x="730" y="353"/>
                    <a:pt x="714" y="351"/>
                    <a:pt x="684" y="347"/>
                  </a:cubicBezTo>
                  <a:lnTo>
                    <a:pt x="684" y="347"/>
                  </a:lnTo>
                  <a:cubicBezTo>
                    <a:pt x="675" y="304"/>
                    <a:pt x="653" y="247"/>
                    <a:pt x="612" y="190"/>
                  </a:cubicBezTo>
                  <a:cubicBezTo>
                    <a:pt x="548" y="98"/>
                    <a:pt x="405" y="1"/>
                    <a:pt x="241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4" name="Google Shape;3351;p48">
              <a:extLst>
                <a:ext uri="{FF2B5EF4-FFF2-40B4-BE49-F238E27FC236}">
                  <a16:creationId xmlns:a16="http://schemas.microsoft.com/office/drawing/2014/main" id="{92BF8E51-D835-82E6-795E-3B5351E2D0FA}"/>
                </a:ext>
              </a:extLst>
            </p:cNvPr>
            <p:cNvSpPr/>
            <p:nvPr/>
          </p:nvSpPr>
          <p:spPr>
            <a:xfrm>
              <a:off x="7566278" y="4488306"/>
              <a:ext cx="18485" cy="23549"/>
            </a:xfrm>
            <a:custGeom>
              <a:avLst/>
              <a:gdLst/>
              <a:ahLst/>
              <a:cxnLst/>
              <a:rect l="l" t="t" r="r" b="b"/>
              <a:pathLst>
                <a:path w="376" h="479" extrusionOk="0">
                  <a:moveTo>
                    <a:pt x="277" y="1"/>
                  </a:moveTo>
                  <a:cubicBezTo>
                    <a:pt x="178" y="1"/>
                    <a:pt x="125" y="74"/>
                    <a:pt x="83" y="124"/>
                  </a:cubicBezTo>
                  <a:cubicBezTo>
                    <a:pt x="40" y="185"/>
                    <a:pt x="18" y="251"/>
                    <a:pt x="14" y="304"/>
                  </a:cubicBezTo>
                  <a:cubicBezTo>
                    <a:pt x="0" y="417"/>
                    <a:pt x="35" y="479"/>
                    <a:pt x="40" y="479"/>
                  </a:cubicBezTo>
                  <a:cubicBezTo>
                    <a:pt x="44" y="473"/>
                    <a:pt x="22" y="408"/>
                    <a:pt x="44" y="308"/>
                  </a:cubicBezTo>
                  <a:cubicBezTo>
                    <a:pt x="57" y="260"/>
                    <a:pt x="79" y="203"/>
                    <a:pt x="119" y="150"/>
                  </a:cubicBezTo>
                  <a:cubicBezTo>
                    <a:pt x="156" y="104"/>
                    <a:pt x="215" y="45"/>
                    <a:pt x="278" y="45"/>
                  </a:cubicBezTo>
                  <a:cubicBezTo>
                    <a:pt x="280" y="45"/>
                    <a:pt x="282" y="45"/>
                    <a:pt x="285" y="46"/>
                  </a:cubicBezTo>
                  <a:cubicBezTo>
                    <a:pt x="345" y="59"/>
                    <a:pt x="319" y="155"/>
                    <a:pt x="285" y="203"/>
                  </a:cubicBezTo>
                  <a:cubicBezTo>
                    <a:pt x="250" y="264"/>
                    <a:pt x="214" y="312"/>
                    <a:pt x="180" y="352"/>
                  </a:cubicBezTo>
                  <a:cubicBezTo>
                    <a:pt x="109" y="430"/>
                    <a:pt x="53" y="465"/>
                    <a:pt x="57" y="473"/>
                  </a:cubicBezTo>
                  <a:cubicBezTo>
                    <a:pt x="57" y="474"/>
                    <a:pt x="58" y="474"/>
                    <a:pt x="59" y="474"/>
                  </a:cubicBezTo>
                  <a:cubicBezTo>
                    <a:pt x="70" y="474"/>
                    <a:pt x="129" y="442"/>
                    <a:pt x="202" y="374"/>
                  </a:cubicBezTo>
                  <a:cubicBezTo>
                    <a:pt x="241" y="338"/>
                    <a:pt x="285" y="290"/>
                    <a:pt x="323" y="229"/>
                  </a:cubicBezTo>
                  <a:cubicBezTo>
                    <a:pt x="341" y="199"/>
                    <a:pt x="359" y="159"/>
                    <a:pt x="367" y="116"/>
                  </a:cubicBezTo>
                  <a:cubicBezTo>
                    <a:pt x="376" y="76"/>
                    <a:pt x="350" y="11"/>
                    <a:pt x="293" y="2"/>
                  </a:cubicBezTo>
                  <a:cubicBezTo>
                    <a:pt x="288" y="1"/>
                    <a:pt x="282" y="1"/>
                    <a:pt x="27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5" name="Google Shape;3352;p48">
              <a:extLst>
                <a:ext uri="{FF2B5EF4-FFF2-40B4-BE49-F238E27FC236}">
                  <a16:creationId xmlns:a16="http://schemas.microsoft.com/office/drawing/2014/main" id="{B4F8802A-3E86-5303-E719-85ED3BBF6243}"/>
                </a:ext>
              </a:extLst>
            </p:cNvPr>
            <p:cNvSpPr/>
            <p:nvPr/>
          </p:nvSpPr>
          <p:spPr>
            <a:xfrm>
              <a:off x="7705065" y="4500941"/>
              <a:ext cx="68385" cy="54079"/>
            </a:xfrm>
            <a:custGeom>
              <a:avLst/>
              <a:gdLst/>
              <a:ahLst/>
              <a:cxnLst/>
              <a:rect l="l" t="t" r="r" b="b"/>
              <a:pathLst>
                <a:path w="1391" h="1100" extrusionOk="0">
                  <a:moveTo>
                    <a:pt x="1170" y="1"/>
                  </a:moveTo>
                  <a:cubicBezTo>
                    <a:pt x="1149" y="1"/>
                    <a:pt x="1126" y="1"/>
                    <a:pt x="1102" y="3"/>
                  </a:cubicBezTo>
                  <a:cubicBezTo>
                    <a:pt x="923" y="12"/>
                    <a:pt x="673" y="77"/>
                    <a:pt x="451" y="243"/>
                  </a:cubicBezTo>
                  <a:cubicBezTo>
                    <a:pt x="233" y="414"/>
                    <a:pt x="106" y="641"/>
                    <a:pt x="53" y="811"/>
                  </a:cubicBezTo>
                  <a:cubicBezTo>
                    <a:pt x="23" y="898"/>
                    <a:pt x="9" y="968"/>
                    <a:pt x="5" y="1021"/>
                  </a:cubicBezTo>
                  <a:cubicBezTo>
                    <a:pt x="1" y="1069"/>
                    <a:pt x="1" y="1095"/>
                    <a:pt x="5" y="1100"/>
                  </a:cubicBezTo>
                  <a:cubicBezTo>
                    <a:pt x="13" y="1100"/>
                    <a:pt x="23" y="986"/>
                    <a:pt x="84" y="825"/>
                  </a:cubicBezTo>
                  <a:cubicBezTo>
                    <a:pt x="140" y="662"/>
                    <a:pt x="267" y="444"/>
                    <a:pt x="481" y="283"/>
                  </a:cubicBezTo>
                  <a:cubicBezTo>
                    <a:pt x="691" y="121"/>
                    <a:pt x="931" y="51"/>
                    <a:pt x="1106" y="38"/>
                  </a:cubicBezTo>
                  <a:cubicBezTo>
                    <a:pt x="1160" y="33"/>
                    <a:pt x="1208" y="31"/>
                    <a:pt x="1249" y="31"/>
                  </a:cubicBezTo>
                  <a:cubicBezTo>
                    <a:pt x="1314" y="31"/>
                    <a:pt x="1359" y="35"/>
                    <a:pt x="1379" y="35"/>
                  </a:cubicBezTo>
                  <a:cubicBezTo>
                    <a:pt x="1386" y="35"/>
                    <a:pt x="1390" y="35"/>
                    <a:pt x="1390" y="33"/>
                  </a:cubicBezTo>
                  <a:cubicBezTo>
                    <a:pt x="1390" y="29"/>
                    <a:pt x="1364" y="20"/>
                    <a:pt x="1316" y="12"/>
                  </a:cubicBezTo>
                  <a:cubicBezTo>
                    <a:pt x="1277" y="5"/>
                    <a:pt x="1229" y="1"/>
                    <a:pt x="1170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" name="Google Shape;3353;p48">
              <a:extLst>
                <a:ext uri="{FF2B5EF4-FFF2-40B4-BE49-F238E27FC236}">
                  <a16:creationId xmlns:a16="http://schemas.microsoft.com/office/drawing/2014/main" id="{FA7C7371-D537-2EAE-2A81-767DA9211D3B}"/>
                </a:ext>
              </a:extLst>
            </p:cNvPr>
            <p:cNvSpPr/>
            <p:nvPr/>
          </p:nvSpPr>
          <p:spPr>
            <a:xfrm>
              <a:off x="7753589" y="4423263"/>
              <a:ext cx="2655" cy="77824"/>
            </a:xfrm>
            <a:custGeom>
              <a:avLst/>
              <a:gdLst/>
              <a:ahLst/>
              <a:cxnLst/>
              <a:rect l="l" t="t" r="r" b="b"/>
              <a:pathLst>
                <a:path w="54" h="1583" extrusionOk="0">
                  <a:moveTo>
                    <a:pt x="32" y="1"/>
                  </a:moveTo>
                  <a:cubicBezTo>
                    <a:pt x="19" y="1"/>
                    <a:pt x="6" y="354"/>
                    <a:pt x="6" y="792"/>
                  </a:cubicBezTo>
                  <a:cubicBezTo>
                    <a:pt x="1" y="1229"/>
                    <a:pt x="10" y="1583"/>
                    <a:pt x="23" y="1583"/>
                  </a:cubicBezTo>
                  <a:cubicBezTo>
                    <a:pt x="23" y="1583"/>
                    <a:pt x="23" y="1583"/>
                    <a:pt x="23" y="1583"/>
                  </a:cubicBezTo>
                  <a:cubicBezTo>
                    <a:pt x="37" y="1583"/>
                    <a:pt x="49" y="1227"/>
                    <a:pt x="49" y="792"/>
                  </a:cubicBezTo>
                  <a:cubicBezTo>
                    <a:pt x="53" y="354"/>
                    <a:pt x="45" y="1"/>
                    <a:pt x="32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" name="Google Shape;3354;p48">
              <a:extLst>
                <a:ext uri="{FF2B5EF4-FFF2-40B4-BE49-F238E27FC236}">
                  <a16:creationId xmlns:a16="http://schemas.microsoft.com/office/drawing/2014/main" id="{8502AF71-5DD0-99D8-214D-07D538BC6C40}"/>
                </a:ext>
              </a:extLst>
            </p:cNvPr>
            <p:cNvSpPr/>
            <p:nvPr/>
          </p:nvSpPr>
          <p:spPr>
            <a:xfrm>
              <a:off x="7625962" y="4536486"/>
              <a:ext cx="55504" cy="2901"/>
            </a:xfrm>
            <a:custGeom>
              <a:avLst/>
              <a:gdLst/>
              <a:ahLst/>
              <a:cxnLst/>
              <a:rect l="l" t="t" r="r" b="b"/>
              <a:pathLst>
                <a:path w="1129" h="59" extrusionOk="0">
                  <a:moveTo>
                    <a:pt x="54" y="0"/>
                  </a:moveTo>
                  <a:cubicBezTo>
                    <a:pt x="21" y="0"/>
                    <a:pt x="2" y="2"/>
                    <a:pt x="1" y="5"/>
                  </a:cubicBezTo>
                  <a:cubicBezTo>
                    <a:pt x="1" y="14"/>
                    <a:pt x="251" y="58"/>
                    <a:pt x="565" y="58"/>
                  </a:cubicBezTo>
                  <a:cubicBezTo>
                    <a:pt x="581" y="58"/>
                    <a:pt x="597" y="58"/>
                    <a:pt x="613" y="58"/>
                  </a:cubicBezTo>
                  <a:cubicBezTo>
                    <a:pt x="905" y="58"/>
                    <a:pt x="1128" y="23"/>
                    <a:pt x="1128" y="14"/>
                  </a:cubicBezTo>
                  <a:cubicBezTo>
                    <a:pt x="1128" y="10"/>
                    <a:pt x="1100" y="8"/>
                    <a:pt x="1051" y="8"/>
                  </a:cubicBezTo>
                  <a:cubicBezTo>
                    <a:pt x="953" y="8"/>
                    <a:pt x="772" y="14"/>
                    <a:pt x="565" y="14"/>
                  </a:cubicBezTo>
                  <a:cubicBezTo>
                    <a:pt x="338" y="11"/>
                    <a:pt x="144" y="0"/>
                    <a:pt x="54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" name="Google Shape;3355;p48">
              <a:extLst>
                <a:ext uri="{FF2B5EF4-FFF2-40B4-BE49-F238E27FC236}">
                  <a16:creationId xmlns:a16="http://schemas.microsoft.com/office/drawing/2014/main" id="{8A41A629-C6CE-2605-7BD4-ED7463E52B42}"/>
                </a:ext>
              </a:extLst>
            </p:cNvPr>
            <p:cNvSpPr/>
            <p:nvPr/>
          </p:nvSpPr>
          <p:spPr>
            <a:xfrm>
              <a:off x="7712587" y="4537518"/>
              <a:ext cx="6539" cy="10865"/>
            </a:xfrm>
            <a:custGeom>
              <a:avLst/>
              <a:gdLst/>
              <a:ahLst/>
              <a:cxnLst/>
              <a:rect l="l" t="t" r="r" b="b"/>
              <a:pathLst>
                <a:path w="133" h="221" extrusionOk="0">
                  <a:moveTo>
                    <a:pt x="118" y="1"/>
                  </a:moveTo>
                  <a:cubicBezTo>
                    <a:pt x="103" y="1"/>
                    <a:pt x="59" y="35"/>
                    <a:pt x="31" y="93"/>
                  </a:cubicBezTo>
                  <a:cubicBezTo>
                    <a:pt x="1" y="159"/>
                    <a:pt x="5" y="220"/>
                    <a:pt x="18" y="220"/>
                  </a:cubicBezTo>
                  <a:cubicBezTo>
                    <a:pt x="31" y="220"/>
                    <a:pt x="44" y="172"/>
                    <a:pt x="74" y="115"/>
                  </a:cubicBezTo>
                  <a:cubicBezTo>
                    <a:pt x="101" y="59"/>
                    <a:pt x="132" y="15"/>
                    <a:pt x="123" y="2"/>
                  </a:cubicBezTo>
                  <a:cubicBezTo>
                    <a:pt x="122" y="1"/>
                    <a:pt x="120" y="1"/>
                    <a:pt x="118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" name="Google Shape;3356;p48">
              <a:extLst>
                <a:ext uri="{FF2B5EF4-FFF2-40B4-BE49-F238E27FC236}">
                  <a16:creationId xmlns:a16="http://schemas.microsoft.com/office/drawing/2014/main" id="{5B1F0480-1DB5-0E31-C158-6D3029B91C1A}"/>
                </a:ext>
              </a:extLst>
            </p:cNvPr>
            <p:cNvSpPr/>
            <p:nvPr/>
          </p:nvSpPr>
          <p:spPr>
            <a:xfrm>
              <a:off x="7725222" y="4520311"/>
              <a:ext cx="8063" cy="7325"/>
            </a:xfrm>
            <a:custGeom>
              <a:avLst/>
              <a:gdLst/>
              <a:ahLst/>
              <a:cxnLst/>
              <a:rect l="l" t="t" r="r" b="b"/>
              <a:pathLst>
                <a:path w="164" h="149" extrusionOk="0">
                  <a:moveTo>
                    <a:pt x="149" y="0"/>
                  </a:moveTo>
                  <a:cubicBezTo>
                    <a:pt x="136" y="0"/>
                    <a:pt x="101" y="25"/>
                    <a:pt x="67" y="58"/>
                  </a:cubicBezTo>
                  <a:cubicBezTo>
                    <a:pt x="23" y="98"/>
                    <a:pt x="1" y="137"/>
                    <a:pt x="10" y="147"/>
                  </a:cubicBezTo>
                  <a:cubicBezTo>
                    <a:pt x="12" y="148"/>
                    <a:pt x="13" y="148"/>
                    <a:pt x="16" y="148"/>
                  </a:cubicBezTo>
                  <a:cubicBezTo>
                    <a:pt x="30" y="148"/>
                    <a:pt x="64" y="127"/>
                    <a:pt x="97" y="94"/>
                  </a:cubicBezTo>
                  <a:cubicBezTo>
                    <a:pt x="141" y="54"/>
                    <a:pt x="163" y="15"/>
                    <a:pt x="154" y="2"/>
                  </a:cubicBezTo>
                  <a:cubicBezTo>
                    <a:pt x="153" y="1"/>
                    <a:pt x="151" y="0"/>
                    <a:pt x="149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" name="Google Shape;3357;p48">
              <a:extLst>
                <a:ext uri="{FF2B5EF4-FFF2-40B4-BE49-F238E27FC236}">
                  <a16:creationId xmlns:a16="http://schemas.microsoft.com/office/drawing/2014/main" id="{401BE4BA-00B4-D36E-A538-7B9B8BA031D5}"/>
                </a:ext>
              </a:extLst>
            </p:cNvPr>
            <p:cNvSpPr/>
            <p:nvPr/>
          </p:nvSpPr>
          <p:spPr>
            <a:xfrm>
              <a:off x="7741790" y="4511757"/>
              <a:ext cx="11406" cy="4670"/>
            </a:xfrm>
            <a:custGeom>
              <a:avLst/>
              <a:gdLst/>
              <a:ahLst/>
              <a:cxnLst/>
              <a:rect l="l" t="t" r="r" b="b"/>
              <a:pathLst>
                <a:path w="232" h="95" extrusionOk="0">
                  <a:moveTo>
                    <a:pt x="164" y="1"/>
                  </a:moveTo>
                  <a:cubicBezTo>
                    <a:pt x="145" y="1"/>
                    <a:pt x="124" y="3"/>
                    <a:pt x="101" y="10"/>
                  </a:cubicBezTo>
                  <a:cubicBezTo>
                    <a:pt x="31" y="32"/>
                    <a:pt x="1" y="85"/>
                    <a:pt x="10" y="93"/>
                  </a:cubicBezTo>
                  <a:cubicBezTo>
                    <a:pt x="11" y="94"/>
                    <a:pt x="12" y="94"/>
                    <a:pt x="14" y="94"/>
                  </a:cubicBezTo>
                  <a:cubicBezTo>
                    <a:pt x="29" y="94"/>
                    <a:pt x="69" y="69"/>
                    <a:pt x="119" y="54"/>
                  </a:cubicBezTo>
                  <a:cubicBezTo>
                    <a:pt x="176" y="36"/>
                    <a:pt x="224" y="36"/>
                    <a:pt x="228" y="23"/>
                  </a:cubicBezTo>
                  <a:cubicBezTo>
                    <a:pt x="231" y="14"/>
                    <a:pt x="205" y="1"/>
                    <a:pt x="164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" name="Google Shape;3358;p48">
              <a:extLst>
                <a:ext uri="{FF2B5EF4-FFF2-40B4-BE49-F238E27FC236}">
                  <a16:creationId xmlns:a16="http://schemas.microsoft.com/office/drawing/2014/main" id="{DFED674B-C1A4-610F-B498-4DFB22D3766F}"/>
                </a:ext>
              </a:extLst>
            </p:cNvPr>
            <p:cNvSpPr/>
            <p:nvPr/>
          </p:nvSpPr>
          <p:spPr>
            <a:xfrm>
              <a:off x="7761356" y="4508954"/>
              <a:ext cx="6244" cy="2999"/>
            </a:xfrm>
            <a:custGeom>
              <a:avLst/>
              <a:gdLst/>
              <a:ahLst/>
              <a:cxnLst/>
              <a:rect l="l" t="t" r="r" b="b"/>
              <a:pathLst>
                <a:path w="127" h="61" extrusionOk="0">
                  <a:moveTo>
                    <a:pt x="100" y="0"/>
                  </a:moveTo>
                  <a:cubicBezTo>
                    <a:pt x="88" y="0"/>
                    <a:pt x="73" y="4"/>
                    <a:pt x="58" y="10"/>
                  </a:cubicBezTo>
                  <a:cubicBezTo>
                    <a:pt x="22" y="19"/>
                    <a:pt x="0" y="41"/>
                    <a:pt x="5" y="53"/>
                  </a:cubicBezTo>
                  <a:cubicBezTo>
                    <a:pt x="7" y="58"/>
                    <a:pt x="16" y="61"/>
                    <a:pt x="28" y="61"/>
                  </a:cubicBezTo>
                  <a:cubicBezTo>
                    <a:pt x="40" y="61"/>
                    <a:pt x="55" y="58"/>
                    <a:pt x="70" y="53"/>
                  </a:cubicBezTo>
                  <a:cubicBezTo>
                    <a:pt x="105" y="41"/>
                    <a:pt x="127" y="19"/>
                    <a:pt x="123" y="10"/>
                  </a:cubicBezTo>
                  <a:cubicBezTo>
                    <a:pt x="121" y="4"/>
                    <a:pt x="112" y="0"/>
                    <a:pt x="10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" name="Google Shape;3359;p48">
              <a:extLst>
                <a:ext uri="{FF2B5EF4-FFF2-40B4-BE49-F238E27FC236}">
                  <a16:creationId xmlns:a16="http://schemas.microsoft.com/office/drawing/2014/main" id="{E631F88D-FB26-A9FF-D88F-A0E46A076CBD}"/>
                </a:ext>
              </a:extLst>
            </p:cNvPr>
            <p:cNvSpPr/>
            <p:nvPr/>
          </p:nvSpPr>
          <p:spPr>
            <a:xfrm>
              <a:off x="7378279" y="2300349"/>
              <a:ext cx="514191" cy="879370"/>
            </a:xfrm>
            <a:custGeom>
              <a:avLst/>
              <a:gdLst/>
              <a:ahLst/>
              <a:cxnLst/>
              <a:rect l="l" t="t" r="r" b="b"/>
              <a:pathLst>
                <a:path w="10459" h="17887" extrusionOk="0">
                  <a:moveTo>
                    <a:pt x="10458" y="0"/>
                  </a:moveTo>
                  <a:lnTo>
                    <a:pt x="6245" y="827"/>
                  </a:lnTo>
                  <a:cubicBezTo>
                    <a:pt x="4817" y="5043"/>
                    <a:pt x="2243" y="12683"/>
                    <a:pt x="2243" y="12683"/>
                  </a:cubicBezTo>
                  <a:cubicBezTo>
                    <a:pt x="2059" y="12792"/>
                    <a:pt x="1382" y="13151"/>
                    <a:pt x="1176" y="13194"/>
                  </a:cubicBezTo>
                  <a:cubicBezTo>
                    <a:pt x="972" y="13236"/>
                    <a:pt x="714" y="13281"/>
                    <a:pt x="519" y="13281"/>
                  </a:cubicBezTo>
                  <a:cubicBezTo>
                    <a:pt x="471" y="13281"/>
                    <a:pt x="428" y="13278"/>
                    <a:pt x="389" y="13272"/>
                  </a:cubicBezTo>
                  <a:cubicBezTo>
                    <a:pt x="377" y="13271"/>
                    <a:pt x="365" y="13270"/>
                    <a:pt x="353" y="13270"/>
                  </a:cubicBezTo>
                  <a:cubicBezTo>
                    <a:pt x="134" y="13270"/>
                    <a:pt x="0" y="13525"/>
                    <a:pt x="149" y="13670"/>
                  </a:cubicBezTo>
                  <a:cubicBezTo>
                    <a:pt x="242" y="13760"/>
                    <a:pt x="510" y="13835"/>
                    <a:pt x="868" y="13835"/>
                  </a:cubicBezTo>
                  <a:cubicBezTo>
                    <a:pt x="1118" y="13835"/>
                    <a:pt x="1411" y="13798"/>
                    <a:pt x="1718" y="13705"/>
                  </a:cubicBezTo>
                  <a:cubicBezTo>
                    <a:pt x="1785" y="13686"/>
                    <a:pt x="1841" y="13677"/>
                    <a:pt x="1887" y="13677"/>
                  </a:cubicBezTo>
                  <a:cubicBezTo>
                    <a:pt x="2373" y="13677"/>
                    <a:pt x="1889" y="14652"/>
                    <a:pt x="1666" y="14994"/>
                  </a:cubicBezTo>
                  <a:cubicBezTo>
                    <a:pt x="1420" y="15370"/>
                    <a:pt x="722" y="16602"/>
                    <a:pt x="779" y="16769"/>
                  </a:cubicBezTo>
                  <a:cubicBezTo>
                    <a:pt x="809" y="16858"/>
                    <a:pt x="868" y="16902"/>
                    <a:pt x="942" y="16902"/>
                  </a:cubicBezTo>
                  <a:cubicBezTo>
                    <a:pt x="1071" y="16902"/>
                    <a:pt x="1246" y="16772"/>
                    <a:pt x="1399" y="16528"/>
                  </a:cubicBezTo>
                  <a:cubicBezTo>
                    <a:pt x="1629" y="16154"/>
                    <a:pt x="2310" y="15101"/>
                    <a:pt x="2439" y="15101"/>
                  </a:cubicBezTo>
                  <a:cubicBezTo>
                    <a:pt x="2442" y="15101"/>
                    <a:pt x="2446" y="15102"/>
                    <a:pt x="2448" y="15104"/>
                  </a:cubicBezTo>
                  <a:cubicBezTo>
                    <a:pt x="2653" y="15217"/>
                    <a:pt x="1426" y="17175"/>
                    <a:pt x="1426" y="17175"/>
                  </a:cubicBezTo>
                  <a:cubicBezTo>
                    <a:pt x="1426" y="17175"/>
                    <a:pt x="1141" y="17520"/>
                    <a:pt x="1360" y="17687"/>
                  </a:cubicBezTo>
                  <a:cubicBezTo>
                    <a:pt x="1386" y="17707"/>
                    <a:pt x="1416" y="17717"/>
                    <a:pt x="1448" y="17717"/>
                  </a:cubicBezTo>
                  <a:cubicBezTo>
                    <a:pt x="1905" y="17717"/>
                    <a:pt x="2958" y="15868"/>
                    <a:pt x="3060" y="15680"/>
                  </a:cubicBezTo>
                  <a:cubicBezTo>
                    <a:pt x="3085" y="15633"/>
                    <a:pt x="3113" y="15614"/>
                    <a:pt x="3137" y="15614"/>
                  </a:cubicBezTo>
                  <a:cubicBezTo>
                    <a:pt x="3184" y="15614"/>
                    <a:pt x="3210" y="15697"/>
                    <a:pt x="3151" y="15794"/>
                  </a:cubicBezTo>
                  <a:cubicBezTo>
                    <a:pt x="3056" y="15947"/>
                    <a:pt x="2011" y="17673"/>
                    <a:pt x="2326" y="17870"/>
                  </a:cubicBezTo>
                  <a:cubicBezTo>
                    <a:pt x="2343" y="17881"/>
                    <a:pt x="2362" y="17886"/>
                    <a:pt x="2383" y="17886"/>
                  </a:cubicBezTo>
                  <a:cubicBezTo>
                    <a:pt x="2732" y="17886"/>
                    <a:pt x="3403" y="16327"/>
                    <a:pt x="3689" y="16025"/>
                  </a:cubicBezTo>
                  <a:cubicBezTo>
                    <a:pt x="3720" y="15992"/>
                    <a:pt x="3740" y="15977"/>
                    <a:pt x="3750" y="15977"/>
                  </a:cubicBezTo>
                  <a:cubicBezTo>
                    <a:pt x="3853" y="15977"/>
                    <a:pt x="3026" y="17483"/>
                    <a:pt x="3300" y="17682"/>
                  </a:cubicBezTo>
                  <a:cubicBezTo>
                    <a:pt x="3326" y="17701"/>
                    <a:pt x="3352" y="17718"/>
                    <a:pt x="3383" y="17718"/>
                  </a:cubicBezTo>
                  <a:cubicBezTo>
                    <a:pt x="3481" y="17718"/>
                    <a:pt x="3631" y="17552"/>
                    <a:pt x="4022" y="16764"/>
                  </a:cubicBezTo>
                  <a:cubicBezTo>
                    <a:pt x="4349" y="16100"/>
                    <a:pt x="4847" y="14645"/>
                    <a:pt x="5175" y="13635"/>
                  </a:cubicBezTo>
                  <a:cubicBezTo>
                    <a:pt x="6271" y="11433"/>
                    <a:pt x="9418" y="4633"/>
                    <a:pt x="10458" y="0"/>
                  </a:cubicBezTo>
                  <a:close/>
                </a:path>
              </a:pathLst>
            </a:custGeom>
            <a:solidFill>
              <a:srgbClr val="E5BAA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" name="Google Shape;3360;p48">
              <a:extLst>
                <a:ext uri="{FF2B5EF4-FFF2-40B4-BE49-F238E27FC236}">
                  <a16:creationId xmlns:a16="http://schemas.microsoft.com/office/drawing/2014/main" id="{1DF43E03-A05D-AADF-C66C-BA68224CC275}"/>
                </a:ext>
              </a:extLst>
            </p:cNvPr>
            <p:cNvSpPr/>
            <p:nvPr/>
          </p:nvSpPr>
          <p:spPr>
            <a:xfrm>
              <a:off x="7515788" y="1831481"/>
              <a:ext cx="471862" cy="981087"/>
            </a:xfrm>
            <a:custGeom>
              <a:avLst/>
              <a:gdLst/>
              <a:ahLst/>
              <a:cxnLst/>
              <a:rect l="l" t="t" r="r" b="b"/>
              <a:pathLst>
                <a:path w="9598" h="19956" extrusionOk="0">
                  <a:moveTo>
                    <a:pt x="4783" y="0"/>
                  </a:moveTo>
                  <a:cubicBezTo>
                    <a:pt x="4435" y="0"/>
                    <a:pt x="4204" y="67"/>
                    <a:pt x="4204" y="67"/>
                  </a:cubicBezTo>
                  <a:cubicBezTo>
                    <a:pt x="1945" y="72"/>
                    <a:pt x="1644" y="102"/>
                    <a:pt x="1172" y="1532"/>
                  </a:cubicBezTo>
                  <a:cubicBezTo>
                    <a:pt x="682" y="3026"/>
                    <a:pt x="686" y="13930"/>
                    <a:pt x="346" y="18309"/>
                  </a:cubicBezTo>
                  <a:cubicBezTo>
                    <a:pt x="324" y="18614"/>
                    <a:pt x="1" y="18833"/>
                    <a:pt x="1" y="19322"/>
                  </a:cubicBezTo>
                  <a:cubicBezTo>
                    <a:pt x="5" y="19943"/>
                    <a:pt x="688" y="19955"/>
                    <a:pt x="744" y="19955"/>
                  </a:cubicBezTo>
                  <a:cubicBezTo>
                    <a:pt x="746" y="19955"/>
                    <a:pt x="747" y="19955"/>
                    <a:pt x="747" y="19955"/>
                  </a:cubicBezTo>
                  <a:lnTo>
                    <a:pt x="8740" y="19576"/>
                  </a:lnTo>
                  <a:cubicBezTo>
                    <a:pt x="8740" y="19576"/>
                    <a:pt x="8741" y="19576"/>
                    <a:pt x="8743" y="19576"/>
                  </a:cubicBezTo>
                  <a:cubicBezTo>
                    <a:pt x="8795" y="19576"/>
                    <a:pt x="9597" y="19564"/>
                    <a:pt x="9597" y="18837"/>
                  </a:cubicBezTo>
                  <a:cubicBezTo>
                    <a:pt x="9597" y="18601"/>
                    <a:pt x="9305" y="18335"/>
                    <a:pt x="9274" y="18007"/>
                  </a:cubicBezTo>
                  <a:cubicBezTo>
                    <a:pt x="9252" y="17722"/>
                    <a:pt x="9466" y="17853"/>
                    <a:pt x="9436" y="17513"/>
                  </a:cubicBezTo>
                  <a:cubicBezTo>
                    <a:pt x="9103" y="13872"/>
                    <a:pt x="8246" y="6792"/>
                    <a:pt x="7867" y="3861"/>
                  </a:cubicBezTo>
                  <a:cubicBezTo>
                    <a:pt x="7429" y="467"/>
                    <a:pt x="5701" y="0"/>
                    <a:pt x="4783" y="0"/>
                  </a:cubicBezTo>
                  <a:close/>
                </a:path>
              </a:pathLst>
            </a:custGeom>
            <a:solidFill>
              <a:srgbClr val="FFB37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" name="Google Shape;3361;p48">
              <a:extLst>
                <a:ext uri="{FF2B5EF4-FFF2-40B4-BE49-F238E27FC236}">
                  <a16:creationId xmlns:a16="http://schemas.microsoft.com/office/drawing/2014/main" id="{F5877CD7-907E-1479-9788-4E769D81F0F6}"/>
                </a:ext>
              </a:extLst>
            </p:cNvPr>
            <p:cNvSpPr/>
            <p:nvPr/>
          </p:nvSpPr>
          <p:spPr>
            <a:xfrm>
              <a:off x="7752114" y="1845689"/>
              <a:ext cx="58258" cy="71236"/>
            </a:xfrm>
            <a:custGeom>
              <a:avLst/>
              <a:gdLst/>
              <a:ahLst/>
              <a:cxnLst/>
              <a:rect l="l" t="t" r="r" b="b"/>
              <a:pathLst>
                <a:path w="1185" h="1449" extrusionOk="0">
                  <a:moveTo>
                    <a:pt x="5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0" y="6"/>
                    <a:pt x="62" y="93"/>
                    <a:pt x="167" y="224"/>
                  </a:cubicBezTo>
                  <a:cubicBezTo>
                    <a:pt x="272" y="355"/>
                    <a:pt x="424" y="530"/>
                    <a:pt x="591" y="726"/>
                  </a:cubicBezTo>
                  <a:cubicBezTo>
                    <a:pt x="761" y="918"/>
                    <a:pt x="905" y="1102"/>
                    <a:pt x="1006" y="1233"/>
                  </a:cubicBezTo>
                  <a:cubicBezTo>
                    <a:pt x="1109" y="1366"/>
                    <a:pt x="1169" y="1448"/>
                    <a:pt x="1180" y="1448"/>
                  </a:cubicBezTo>
                  <a:cubicBezTo>
                    <a:pt x="1180" y="1448"/>
                    <a:pt x="1180" y="1448"/>
                    <a:pt x="1180" y="1448"/>
                  </a:cubicBezTo>
                  <a:cubicBezTo>
                    <a:pt x="1184" y="1443"/>
                    <a:pt x="1132" y="1356"/>
                    <a:pt x="1037" y="1216"/>
                  </a:cubicBezTo>
                  <a:cubicBezTo>
                    <a:pt x="936" y="1076"/>
                    <a:pt x="796" y="892"/>
                    <a:pt x="630" y="696"/>
                  </a:cubicBezTo>
                  <a:cubicBezTo>
                    <a:pt x="460" y="499"/>
                    <a:pt x="302" y="329"/>
                    <a:pt x="193" y="202"/>
                  </a:cubicBezTo>
                  <a:cubicBezTo>
                    <a:pt x="82" y="78"/>
                    <a:pt x="13" y="1"/>
                    <a:pt x="5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" name="Google Shape;3362;p48">
              <a:extLst>
                <a:ext uri="{FF2B5EF4-FFF2-40B4-BE49-F238E27FC236}">
                  <a16:creationId xmlns:a16="http://schemas.microsoft.com/office/drawing/2014/main" id="{5C68D7CD-5EDA-36E9-C721-41F6E37AE369}"/>
                </a:ext>
              </a:extLst>
            </p:cNvPr>
            <p:cNvSpPr/>
            <p:nvPr/>
          </p:nvSpPr>
          <p:spPr>
            <a:xfrm>
              <a:off x="7603839" y="1841805"/>
              <a:ext cx="165973" cy="57520"/>
            </a:xfrm>
            <a:custGeom>
              <a:avLst/>
              <a:gdLst/>
              <a:ahLst/>
              <a:cxnLst/>
              <a:rect l="l" t="t" r="r" b="b"/>
              <a:pathLst>
                <a:path w="3376" h="1170" extrusionOk="0">
                  <a:moveTo>
                    <a:pt x="3369" y="0"/>
                  </a:moveTo>
                  <a:cubicBezTo>
                    <a:pt x="3361" y="0"/>
                    <a:pt x="3315" y="18"/>
                    <a:pt x="3240" y="45"/>
                  </a:cubicBezTo>
                  <a:cubicBezTo>
                    <a:pt x="3125" y="85"/>
                    <a:pt x="3008" y="128"/>
                    <a:pt x="2881" y="176"/>
                  </a:cubicBezTo>
                  <a:cubicBezTo>
                    <a:pt x="2580" y="289"/>
                    <a:pt x="2160" y="443"/>
                    <a:pt x="1693" y="600"/>
                  </a:cubicBezTo>
                  <a:cubicBezTo>
                    <a:pt x="1229" y="761"/>
                    <a:pt x="805" y="902"/>
                    <a:pt x="499" y="1003"/>
                  </a:cubicBezTo>
                  <a:cubicBezTo>
                    <a:pt x="368" y="1046"/>
                    <a:pt x="246" y="1086"/>
                    <a:pt x="136" y="1120"/>
                  </a:cubicBezTo>
                  <a:cubicBezTo>
                    <a:pt x="49" y="1151"/>
                    <a:pt x="1" y="1168"/>
                    <a:pt x="1" y="1168"/>
                  </a:cubicBezTo>
                  <a:cubicBezTo>
                    <a:pt x="1" y="1169"/>
                    <a:pt x="3" y="1169"/>
                    <a:pt x="5" y="1169"/>
                  </a:cubicBezTo>
                  <a:cubicBezTo>
                    <a:pt x="18" y="1169"/>
                    <a:pt x="65" y="1157"/>
                    <a:pt x="141" y="1138"/>
                  </a:cubicBezTo>
                  <a:cubicBezTo>
                    <a:pt x="255" y="1108"/>
                    <a:pt x="377" y="1072"/>
                    <a:pt x="509" y="1033"/>
                  </a:cubicBezTo>
                  <a:cubicBezTo>
                    <a:pt x="818" y="941"/>
                    <a:pt x="1243" y="810"/>
                    <a:pt x="1709" y="648"/>
                  </a:cubicBezTo>
                  <a:cubicBezTo>
                    <a:pt x="2173" y="487"/>
                    <a:pt x="2593" y="325"/>
                    <a:pt x="2895" y="207"/>
                  </a:cubicBezTo>
                  <a:cubicBezTo>
                    <a:pt x="3021" y="154"/>
                    <a:pt x="3135" y="106"/>
                    <a:pt x="3244" y="63"/>
                  </a:cubicBezTo>
                  <a:cubicBezTo>
                    <a:pt x="3327" y="27"/>
                    <a:pt x="3375" y="6"/>
                    <a:pt x="3371" y="1"/>
                  </a:cubicBezTo>
                  <a:cubicBezTo>
                    <a:pt x="3371" y="1"/>
                    <a:pt x="3370" y="0"/>
                    <a:pt x="336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6" name="Google Shape;3363;p48">
              <a:extLst>
                <a:ext uri="{FF2B5EF4-FFF2-40B4-BE49-F238E27FC236}">
                  <a16:creationId xmlns:a16="http://schemas.microsoft.com/office/drawing/2014/main" id="{1F1D2F26-165E-6B32-E6AC-5C814B64B863}"/>
                </a:ext>
              </a:extLst>
            </p:cNvPr>
            <p:cNvSpPr/>
            <p:nvPr/>
          </p:nvSpPr>
          <p:spPr>
            <a:xfrm>
              <a:off x="7604330" y="1857095"/>
              <a:ext cx="2360" cy="41985"/>
            </a:xfrm>
            <a:custGeom>
              <a:avLst/>
              <a:gdLst/>
              <a:ahLst/>
              <a:cxnLst/>
              <a:rect l="l" t="t" r="r" b="b"/>
              <a:pathLst>
                <a:path w="48" h="854" extrusionOk="0">
                  <a:moveTo>
                    <a:pt x="27" y="0"/>
                  </a:moveTo>
                  <a:cubicBezTo>
                    <a:pt x="13" y="0"/>
                    <a:pt x="0" y="193"/>
                    <a:pt x="0" y="429"/>
                  </a:cubicBezTo>
                  <a:cubicBezTo>
                    <a:pt x="0" y="665"/>
                    <a:pt x="13" y="853"/>
                    <a:pt x="27" y="853"/>
                  </a:cubicBezTo>
                  <a:cubicBezTo>
                    <a:pt x="39" y="853"/>
                    <a:pt x="48" y="665"/>
                    <a:pt x="48" y="429"/>
                  </a:cubicBezTo>
                  <a:cubicBezTo>
                    <a:pt x="48" y="193"/>
                    <a:pt x="39" y="0"/>
                    <a:pt x="2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7" name="Google Shape;3364;p48">
              <a:extLst>
                <a:ext uri="{FF2B5EF4-FFF2-40B4-BE49-F238E27FC236}">
                  <a16:creationId xmlns:a16="http://schemas.microsoft.com/office/drawing/2014/main" id="{4F850C5E-76D4-4697-F59E-D5D0699A80E2}"/>
                </a:ext>
              </a:extLst>
            </p:cNvPr>
            <p:cNvSpPr/>
            <p:nvPr/>
          </p:nvSpPr>
          <p:spPr>
            <a:xfrm>
              <a:off x="7576160" y="1915795"/>
              <a:ext cx="298466" cy="2163"/>
            </a:xfrm>
            <a:custGeom>
              <a:avLst/>
              <a:gdLst/>
              <a:ahLst/>
              <a:cxnLst/>
              <a:rect l="l" t="t" r="r" b="b"/>
              <a:pathLst>
                <a:path w="6071" h="44" extrusionOk="0">
                  <a:moveTo>
                    <a:pt x="3038" y="0"/>
                  </a:moveTo>
                  <a:cubicBezTo>
                    <a:pt x="1360" y="0"/>
                    <a:pt x="1" y="8"/>
                    <a:pt x="1" y="22"/>
                  </a:cubicBezTo>
                  <a:cubicBezTo>
                    <a:pt x="1" y="35"/>
                    <a:pt x="1360" y="43"/>
                    <a:pt x="3038" y="43"/>
                  </a:cubicBezTo>
                  <a:cubicBezTo>
                    <a:pt x="4711" y="43"/>
                    <a:pt x="6070" y="35"/>
                    <a:pt x="6070" y="22"/>
                  </a:cubicBezTo>
                  <a:cubicBezTo>
                    <a:pt x="6070" y="8"/>
                    <a:pt x="4711" y="0"/>
                    <a:pt x="3038" y="0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8" name="Google Shape;3365;p48">
              <a:extLst>
                <a:ext uri="{FF2B5EF4-FFF2-40B4-BE49-F238E27FC236}">
                  <a16:creationId xmlns:a16="http://schemas.microsoft.com/office/drawing/2014/main" id="{CFE55F72-A975-D800-6060-0397A031B9E9}"/>
                </a:ext>
              </a:extLst>
            </p:cNvPr>
            <p:cNvSpPr/>
            <p:nvPr/>
          </p:nvSpPr>
          <p:spPr>
            <a:xfrm>
              <a:off x="7563279" y="1957043"/>
              <a:ext cx="330470" cy="9046"/>
            </a:xfrm>
            <a:custGeom>
              <a:avLst/>
              <a:gdLst/>
              <a:ahLst/>
              <a:cxnLst/>
              <a:rect l="l" t="t" r="r" b="b"/>
              <a:pathLst>
                <a:path w="6722" h="184" extrusionOk="0">
                  <a:moveTo>
                    <a:pt x="983" y="0"/>
                  </a:moveTo>
                  <a:cubicBezTo>
                    <a:pt x="699" y="4"/>
                    <a:pt x="459" y="4"/>
                    <a:pt x="263" y="4"/>
                  </a:cubicBezTo>
                  <a:cubicBezTo>
                    <a:pt x="192" y="9"/>
                    <a:pt x="127" y="9"/>
                    <a:pt x="70" y="9"/>
                  </a:cubicBezTo>
                  <a:cubicBezTo>
                    <a:pt x="23" y="13"/>
                    <a:pt x="1" y="13"/>
                    <a:pt x="1" y="13"/>
                  </a:cubicBezTo>
                  <a:cubicBezTo>
                    <a:pt x="1" y="17"/>
                    <a:pt x="23" y="17"/>
                    <a:pt x="70" y="17"/>
                  </a:cubicBezTo>
                  <a:cubicBezTo>
                    <a:pt x="127" y="22"/>
                    <a:pt x="192" y="22"/>
                    <a:pt x="263" y="22"/>
                  </a:cubicBezTo>
                  <a:cubicBezTo>
                    <a:pt x="459" y="26"/>
                    <a:pt x="699" y="31"/>
                    <a:pt x="983" y="35"/>
                  </a:cubicBezTo>
                  <a:cubicBezTo>
                    <a:pt x="1622" y="43"/>
                    <a:pt x="2447" y="61"/>
                    <a:pt x="3361" y="79"/>
                  </a:cubicBezTo>
                  <a:cubicBezTo>
                    <a:pt x="4279" y="105"/>
                    <a:pt x="5104" y="131"/>
                    <a:pt x="5739" y="153"/>
                  </a:cubicBezTo>
                  <a:cubicBezTo>
                    <a:pt x="6022" y="162"/>
                    <a:pt x="6263" y="170"/>
                    <a:pt x="6459" y="179"/>
                  </a:cubicBezTo>
                  <a:cubicBezTo>
                    <a:pt x="6534" y="179"/>
                    <a:pt x="6595" y="184"/>
                    <a:pt x="6656" y="184"/>
                  </a:cubicBezTo>
                  <a:lnTo>
                    <a:pt x="6721" y="184"/>
                  </a:lnTo>
                  <a:cubicBezTo>
                    <a:pt x="6721" y="179"/>
                    <a:pt x="6699" y="179"/>
                    <a:pt x="6656" y="174"/>
                  </a:cubicBezTo>
                  <a:cubicBezTo>
                    <a:pt x="6595" y="170"/>
                    <a:pt x="6534" y="166"/>
                    <a:pt x="6459" y="162"/>
                  </a:cubicBezTo>
                  <a:cubicBezTo>
                    <a:pt x="6267" y="148"/>
                    <a:pt x="6027" y="135"/>
                    <a:pt x="5739" y="118"/>
                  </a:cubicBezTo>
                  <a:cubicBezTo>
                    <a:pt x="5130" y="87"/>
                    <a:pt x="4291" y="53"/>
                    <a:pt x="3365" y="31"/>
                  </a:cubicBezTo>
                  <a:cubicBezTo>
                    <a:pt x="2435" y="9"/>
                    <a:pt x="1596" y="0"/>
                    <a:pt x="983" y="0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9" name="Google Shape;3366;p48">
              <a:extLst>
                <a:ext uri="{FF2B5EF4-FFF2-40B4-BE49-F238E27FC236}">
                  <a16:creationId xmlns:a16="http://schemas.microsoft.com/office/drawing/2014/main" id="{292C521C-0E78-B617-6C06-E36B037F3614}"/>
                </a:ext>
              </a:extLst>
            </p:cNvPr>
            <p:cNvSpPr/>
            <p:nvPr/>
          </p:nvSpPr>
          <p:spPr>
            <a:xfrm>
              <a:off x="7561313" y="2008124"/>
              <a:ext cx="337156" cy="2409"/>
            </a:xfrm>
            <a:custGeom>
              <a:avLst/>
              <a:gdLst/>
              <a:ahLst/>
              <a:cxnLst/>
              <a:rect l="l" t="t" r="r" b="b"/>
              <a:pathLst>
                <a:path w="6858" h="49" extrusionOk="0">
                  <a:moveTo>
                    <a:pt x="3431" y="1"/>
                  </a:moveTo>
                  <a:cubicBezTo>
                    <a:pt x="1535" y="1"/>
                    <a:pt x="1" y="10"/>
                    <a:pt x="1" y="23"/>
                  </a:cubicBezTo>
                  <a:cubicBezTo>
                    <a:pt x="1" y="36"/>
                    <a:pt x="1535" y="49"/>
                    <a:pt x="3431" y="49"/>
                  </a:cubicBezTo>
                  <a:cubicBezTo>
                    <a:pt x="5323" y="49"/>
                    <a:pt x="6858" y="36"/>
                    <a:pt x="6858" y="23"/>
                  </a:cubicBezTo>
                  <a:cubicBezTo>
                    <a:pt x="6858" y="10"/>
                    <a:pt x="5323" y="1"/>
                    <a:pt x="3431" y="1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0" name="Google Shape;3367;p48">
              <a:extLst>
                <a:ext uri="{FF2B5EF4-FFF2-40B4-BE49-F238E27FC236}">
                  <a16:creationId xmlns:a16="http://schemas.microsoft.com/office/drawing/2014/main" id="{B46C3007-2449-CF48-8F0F-7DF06E96C284}"/>
                </a:ext>
              </a:extLst>
            </p:cNvPr>
            <p:cNvSpPr/>
            <p:nvPr/>
          </p:nvSpPr>
          <p:spPr>
            <a:xfrm>
              <a:off x="7557675" y="2054976"/>
              <a:ext cx="349398" cy="2458"/>
            </a:xfrm>
            <a:custGeom>
              <a:avLst/>
              <a:gdLst/>
              <a:ahLst/>
              <a:cxnLst/>
              <a:rect l="l" t="t" r="r" b="b"/>
              <a:pathLst>
                <a:path w="7107" h="50" extrusionOk="0">
                  <a:moveTo>
                    <a:pt x="3554" y="1"/>
                  </a:moveTo>
                  <a:cubicBezTo>
                    <a:pt x="1591" y="1"/>
                    <a:pt x="0" y="13"/>
                    <a:pt x="0" y="27"/>
                  </a:cubicBezTo>
                  <a:cubicBezTo>
                    <a:pt x="0" y="40"/>
                    <a:pt x="1591" y="49"/>
                    <a:pt x="3554" y="49"/>
                  </a:cubicBezTo>
                  <a:cubicBezTo>
                    <a:pt x="5516" y="49"/>
                    <a:pt x="7106" y="40"/>
                    <a:pt x="7106" y="27"/>
                  </a:cubicBezTo>
                  <a:cubicBezTo>
                    <a:pt x="7106" y="13"/>
                    <a:pt x="5516" y="1"/>
                    <a:pt x="3554" y="1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1" name="Google Shape;3368;p48">
              <a:extLst>
                <a:ext uri="{FF2B5EF4-FFF2-40B4-BE49-F238E27FC236}">
                  <a16:creationId xmlns:a16="http://schemas.microsoft.com/office/drawing/2014/main" id="{B71671FC-1211-C218-5868-706E9EFDE32E}"/>
                </a:ext>
              </a:extLst>
            </p:cNvPr>
            <p:cNvSpPr/>
            <p:nvPr/>
          </p:nvSpPr>
          <p:spPr>
            <a:xfrm>
              <a:off x="7557675" y="2106548"/>
              <a:ext cx="357362" cy="2409"/>
            </a:xfrm>
            <a:custGeom>
              <a:avLst/>
              <a:gdLst/>
              <a:ahLst/>
              <a:cxnLst/>
              <a:rect l="l" t="t" r="r" b="b"/>
              <a:pathLst>
                <a:path w="7269" h="49" extrusionOk="0">
                  <a:moveTo>
                    <a:pt x="3636" y="1"/>
                  </a:moveTo>
                  <a:cubicBezTo>
                    <a:pt x="1626" y="1"/>
                    <a:pt x="0" y="13"/>
                    <a:pt x="0" y="27"/>
                  </a:cubicBezTo>
                  <a:cubicBezTo>
                    <a:pt x="0" y="40"/>
                    <a:pt x="1626" y="49"/>
                    <a:pt x="3636" y="49"/>
                  </a:cubicBezTo>
                  <a:cubicBezTo>
                    <a:pt x="5643" y="49"/>
                    <a:pt x="7269" y="40"/>
                    <a:pt x="7269" y="27"/>
                  </a:cubicBezTo>
                  <a:cubicBezTo>
                    <a:pt x="7269" y="13"/>
                    <a:pt x="5643" y="1"/>
                    <a:pt x="3636" y="1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2" name="Google Shape;3369;p48">
              <a:extLst>
                <a:ext uri="{FF2B5EF4-FFF2-40B4-BE49-F238E27FC236}">
                  <a16:creationId xmlns:a16="http://schemas.microsoft.com/office/drawing/2014/main" id="{F6D6049F-13B8-1344-8DE3-9A7FE756F036}"/>
                </a:ext>
              </a:extLst>
            </p:cNvPr>
            <p:cNvSpPr/>
            <p:nvPr/>
          </p:nvSpPr>
          <p:spPr>
            <a:xfrm>
              <a:off x="7557675" y="2158121"/>
              <a:ext cx="362278" cy="2409"/>
            </a:xfrm>
            <a:custGeom>
              <a:avLst/>
              <a:gdLst/>
              <a:ahLst/>
              <a:cxnLst/>
              <a:rect l="l" t="t" r="r" b="b"/>
              <a:pathLst>
                <a:path w="7369" h="49" extrusionOk="0">
                  <a:moveTo>
                    <a:pt x="3685" y="1"/>
                  </a:moveTo>
                  <a:cubicBezTo>
                    <a:pt x="1648" y="1"/>
                    <a:pt x="0" y="13"/>
                    <a:pt x="0" y="27"/>
                  </a:cubicBezTo>
                  <a:cubicBezTo>
                    <a:pt x="0" y="39"/>
                    <a:pt x="1648" y="49"/>
                    <a:pt x="3685" y="49"/>
                  </a:cubicBezTo>
                  <a:cubicBezTo>
                    <a:pt x="5716" y="49"/>
                    <a:pt x="7368" y="39"/>
                    <a:pt x="7368" y="27"/>
                  </a:cubicBezTo>
                  <a:cubicBezTo>
                    <a:pt x="7368" y="13"/>
                    <a:pt x="5716" y="1"/>
                    <a:pt x="3685" y="1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3" name="Google Shape;3370;p48">
              <a:extLst>
                <a:ext uri="{FF2B5EF4-FFF2-40B4-BE49-F238E27FC236}">
                  <a16:creationId xmlns:a16="http://schemas.microsoft.com/office/drawing/2014/main" id="{E2C24837-40EF-6EB3-8214-286743F2FF1B}"/>
                </a:ext>
              </a:extLst>
            </p:cNvPr>
            <p:cNvSpPr/>
            <p:nvPr/>
          </p:nvSpPr>
          <p:spPr>
            <a:xfrm>
              <a:off x="7557675" y="2213331"/>
              <a:ext cx="368522" cy="2409"/>
            </a:xfrm>
            <a:custGeom>
              <a:avLst/>
              <a:gdLst/>
              <a:ahLst/>
              <a:cxnLst/>
              <a:rect l="l" t="t" r="r" b="b"/>
              <a:pathLst>
                <a:path w="7496" h="49" extrusionOk="0">
                  <a:moveTo>
                    <a:pt x="3750" y="1"/>
                  </a:moveTo>
                  <a:cubicBezTo>
                    <a:pt x="1678" y="1"/>
                    <a:pt x="0" y="13"/>
                    <a:pt x="0" y="27"/>
                  </a:cubicBezTo>
                  <a:cubicBezTo>
                    <a:pt x="0" y="40"/>
                    <a:pt x="1678" y="48"/>
                    <a:pt x="3750" y="48"/>
                  </a:cubicBezTo>
                  <a:cubicBezTo>
                    <a:pt x="5817" y="48"/>
                    <a:pt x="7495" y="40"/>
                    <a:pt x="7495" y="27"/>
                  </a:cubicBezTo>
                  <a:cubicBezTo>
                    <a:pt x="7495" y="13"/>
                    <a:pt x="5817" y="1"/>
                    <a:pt x="3750" y="1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4" name="Google Shape;3371;p48">
              <a:extLst>
                <a:ext uri="{FF2B5EF4-FFF2-40B4-BE49-F238E27FC236}">
                  <a16:creationId xmlns:a16="http://schemas.microsoft.com/office/drawing/2014/main" id="{249BE0A5-C7E8-A7CF-6CE4-38EC95B0BF9E}"/>
                </a:ext>
              </a:extLst>
            </p:cNvPr>
            <p:cNvSpPr/>
            <p:nvPr/>
          </p:nvSpPr>
          <p:spPr>
            <a:xfrm>
              <a:off x="7557675" y="2261265"/>
              <a:ext cx="374766" cy="2409"/>
            </a:xfrm>
            <a:custGeom>
              <a:avLst/>
              <a:gdLst/>
              <a:ahLst/>
              <a:cxnLst/>
              <a:rect l="l" t="t" r="r" b="b"/>
              <a:pathLst>
                <a:path w="7623" h="49" extrusionOk="0">
                  <a:moveTo>
                    <a:pt x="3812" y="0"/>
                  </a:moveTo>
                  <a:cubicBezTo>
                    <a:pt x="1710" y="0"/>
                    <a:pt x="0" y="13"/>
                    <a:pt x="0" y="26"/>
                  </a:cubicBezTo>
                  <a:cubicBezTo>
                    <a:pt x="0" y="39"/>
                    <a:pt x="1710" y="48"/>
                    <a:pt x="3812" y="48"/>
                  </a:cubicBezTo>
                  <a:cubicBezTo>
                    <a:pt x="5913" y="48"/>
                    <a:pt x="7622" y="39"/>
                    <a:pt x="7622" y="26"/>
                  </a:cubicBezTo>
                  <a:cubicBezTo>
                    <a:pt x="7622" y="13"/>
                    <a:pt x="5913" y="0"/>
                    <a:pt x="3812" y="0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5" name="Google Shape;3372;p48">
              <a:extLst>
                <a:ext uri="{FF2B5EF4-FFF2-40B4-BE49-F238E27FC236}">
                  <a16:creationId xmlns:a16="http://schemas.microsoft.com/office/drawing/2014/main" id="{F4941936-E764-BF9E-2A9A-99721985B007}"/>
                </a:ext>
              </a:extLst>
            </p:cNvPr>
            <p:cNvSpPr/>
            <p:nvPr/>
          </p:nvSpPr>
          <p:spPr>
            <a:xfrm>
              <a:off x="7557675" y="2313918"/>
              <a:ext cx="382681" cy="2360"/>
            </a:xfrm>
            <a:custGeom>
              <a:avLst/>
              <a:gdLst/>
              <a:ahLst/>
              <a:cxnLst/>
              <a:rect l="l" t="t" r="r" b="b"/>
              <a:pathLst>
                <a:path w="7784" h="48" extrusionOk="0">
                  <a:moveTo>
                    <a:pt x="3894" y="0"/>
                  </a:moveTo>
                  <a:cubicBezTo>
                    <a:pt x="1744" y="0"/>
                    <a:pt x="0" y="9"/>
                    <a:pt x="0" y="21"/>
                  </a:cubicBezTo>
                  <a:cubicBezTo>
                    <a:pt x="0" y="35"/>
                    <a:pt x="1744" y="47"/>
                    <a:pt x="3894" y="47"/>
                  </a:cubicBezTo>
                  <a:cubicBezTo>
                    <a:pt x="6040" y="47"/>
                    <a:pt x="7784" y="35"/>
                    <a:pt x="7784" y="21"/>
                  </a:cubicBezTo>
                  <a:cubicBezTo>
                    <a:pt x="7784" y="9"/>
                    <a:pt x="6040" y="0"/>
                    <a:pt x="3894" y="0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6" name="Google Shape;3373;p48">
              <a:extLst>
                <a:ext uri="{FF2B5EF4-FFF2-40B4-BE49-F238E27FC236}">
                  <a16:creationId xmlns:a16="http://schemas.microsoft.com/office/drawing/2014/main" id="{DBD62677-DA43-73C5-212D-8BF7700B1A67}"/>
                </a:ext>
              </a:extLst>
            </p:cNvPr>
            <p:cNvSpPr/>
            <p:nvPr/>
          </p:nvSpPr>
          <p:spPr>
            <a:xfrm>
              <a:off x="7557675" y="2366474"/>
              <a:ext cx="387204" cy="2212"/>
            </a:xfrm>
            <a:custGeom>
              <a:avLst/>
              <a:gdLst/>
              <a:ahLst/>
              <a:cxnLst/>
              <a:rect l="l" t="t" r="r" b="b"/>
              <a:pathLst>
                <a:path w="7876" h="45" extrusionOk="0">
                  <a:moveTo>
                    <a:pt x="3939" y="1"/>
                  </a:moveTo>
                  <a:cubicBezTo>
                    <a:pt x="1762" y="1"/>
                    <a:pt x="0" y="10"/>
                    <a:pt x="0" y="23"/>
                  </a:cubicBezTo>
                  <a:cubicBezTo>
                    <a:pt x="0" y="37"/>
                    <a:pt x="1762" y="45"/>
                    <a:pt x="3939" y="45"/>
                  </a:cubicBezTo>
                  <a:cubicBezTo>
                    <a:pt x="6110" y="45"/>
                    <a:pt x="7876" y="37"/>
                    <a:pt x="7876" y="23"/>
                  </a:cubicBezTo>
                  <a:cubicBezTo>
                    <a:pt x="7876" y="10"/>
                    <a:pt x="6110" y="1"/>
                    <a:pt x="3939" y="1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" name="Google Shape;3374;p48">
              <a:extLst>
                <a:ext uri="{FF2B5EF4-FFF2-40B4-BE49-F238E27FC236}">
                  <a16:creationId xmlns:a16="http://schemas.microsoft.com/office/drawing/2014/main" id="{7E78AE5F-D102-1A2D-F17F-DEAE79BBF567}"/>
                </a:ext>
              </a:extLst>
            </p:cNvPr>
            <p:cNvSpPr/>
            <p:nvPr/>
          </p:nvSpPr>
          <p:spPr>
            <a:xfrm>
              <a:off x="7557675" y="2418931"/>
              <a:ext cx="393202" cy="2409"/>
            </a:xfrm>
            <a:custGeom>
              <a:avLst/>
              <a:gdLst/>
              <a:ahLst/>
              <a:cxnLst/>
              <a:rect l="l" t="t" r="r" b="b"/>
              <a:pathLst>
                <a:path w="7998" h="49" extrusionOk="0">
                  <a:moveTo>
                    <a:pt x="3999" y="1"/>
                  </a:moveTo>
                  <a:cubicBezTo>
                    <a:pt x="1793" y="1"/>
                    <a:pt x="0" y="14"/>
                    <a:pt x="0" y="27"/>
                  </a:cubicBezTo>
                  <a:cubicBezTo>
                    <a:pt x="0" y="35"/>
                    <a:pt x="1793" y="49"/>
                    <a:pt x="3999" y="49"/>
                  </a:cubicBezTo>
                  <a:cubicBezTo>
                    <a:pt x="6206" y="49"/>
                    <a:pt x="7998" y="35"/>
                    <a:pt x="7998" y="27"/>
                  </a:cubicBezTo>
                  <a:cubicBezTo>
                    <a:pt x="7998" y="14"/>
                    <a:pt x="6206" y="1"/>
                    <a:pt x="3999" y="1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" name="Google Shape;3375;p48">
              <a:extLst>
                <a:ext uri="{FF2B5EF4-FFF2-40B4-BE49-F238E27FC236}">
                  <a16:creationId xmlns:a16="http://schemas.microsoft.com/office/drawing/2014/main" id="{CEDA0F2F-2DF1-2377-8313-E9B4679A392C}"/>
                </a:ext>
              </a:extLst>
            </p:cNvPr>
            <p:cNvSpPr/>
            <p:nvPr/>
          </p:nvSpPr>
          <p:spPr>
            <a:xfrm>
              <a:off x="7557675" y="2471585"/>
              <a:ext cx="399052" cy="2409"/>
            </a:xfrm>
            <a:custGeom>
              <a:avLst/>
              <a:gdLst/>
              <a:ahLst/>
              <a:cxnLst/>
              <a:rect l="l" t="t" r="r" b="b"/>
              <a:pathLst>
                <a:path w="8117" h="49" extrusionOk="0">
                  <a:moveTo>
                    <a:pt x="4060" y="0"/>
                  </a:moveTo>
                  <a:cubicBezTo>
                    <a:pt x="1819" y="0"/>
                    <a:pt x="0" y="9"/>
                    <a:pt x="0" y="22"/>
                  </a:cubicBezTo>
                  <a:cubicBezTo>
                    <a:pt x="0" y="35"/>
                    <a:pt x="1819" y="49"/>
                    <a:pt x="4060" y="49"/>
                  </a:cubicBezTo>
                  <a:cubicBezTo>
                    <a:pt x="6303" y="49"/>
                    <a:pt x="8116" y="35"/>
                    <a:pt x="8116" y="22"/>
                  </a:cubicBezTo>
                  <a:cubicBezTo>
                    <a:pt x="8116" y="9"/>
                    <a:pt x="6303" y="0"/>
                    <a:pt x="4060" y="0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" name="Google Shape;3376;p48">
              <a:extLst>
                <a:ext uri="{FF2B5EF4-FFF2-40B4-BE49-F238E27FC236}">
                  <a16:creationId xmlns:a16="http://schemas.microsoft.com/office/drawing/2014/main" id="{665EF467-8AE4-8EC1-D8A9-DE2893D05021}"/>
                </a:ext>
              </a:extLst>
            </p:cNvPr>
            <p:cNvSpPr/>
            <p:nvPr/>
          </p:nvSpPr>
          <p:spPr>
            <a:xfrm>
              <a:off x="7548432" y="2524042"/>
              <a:ext cx="414047" cy="2360"/>
            </a:xfrm>
            <a:custGeom>
              <a:avLst/>
              <a:gdLst/>
              <a:ahLst/>
              <a:cxnLst/>
              <a:rect l="l" t="t" r="r" b="b"/>
              <a:pathLst>
                <a:path w="8422" h="48" extrusionOk="0">
                  <a:moveTo>
                    <a:pt x="4214" y="0"/>
                  </a:moveTo>
                  <a:cubicBezTo>
                    <a:pt x="1884" y="0"/>
                    <a:pt x="0" y="13"/>
                    <a:pt x="0" y="26"/>
                  </a:cubicBezTo>
                  <a:cubicBezTo>
                    <a:pt x="0" y="39"/>
                    <a:pt x="1884" y="47"/>
                    <a:pt x="4214" y="47"/>
                  </a:cubicBezTo>
                  <a:cubicBezTo>
                    <a:pt x="6539" y="47"/>
                    <a:pt x="8422" y="39"/>
                    <a:pt x="8422" y="26"/>
                  </a:cubicBezTo>
                  <a:cubicBezTo>
                    <a:pt x="8422" y="13"/>
                    <a:pt x="6539" y="0"/>
                    <a:pt x="4214" y="0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" name="Google Shape;3377;p48">
              <a:extLst>
                <a:ext uri="{FF2B5EF4-FFF2-40B4-BE49-F238E27FC236}">
                  <a16:creationId xmlns:a16="http://schemas.microsoft.com/office/drawing/2014/main" id="{F1DEB407-9D15-619F-586A-2EA0BC15EEDE}"/>
                </a:ext>
              </a:extLst>
            </p:cNvPr>
            <p:cNvSpPr/>
            <p:nvPr/>
          </p:nvSpPr>
          <p:spPr>
            <a:xfrm>
              <a:off x="7540713" y="2576597"/>
              <a:ext cx="427615" cy="2458"/>
            </a:xfrm>
            <a:custGeom>
              <a:avLst/>
              <a:gdLst/>
              <a:ahLst/>
              <a:cxnLst/>
              <a:rect l="l" t="t" r="r" b="b"/>
              <a:pathLst>
                <a:path w="8698" h="50" extrusionOk="0">
                  <a:moveTo>
                    <a:pt x="4349" y="1"/>
                  </a:moveTo>
                  <a:cubicBezTo>
                    <a:pt x="1950" y="1"/>
                    <a:pt x="0" y="15"/>
                    <a:pt x="0" y="23"/>
                  </a:cubicBezTo>
                  <a:cubicBezTo>
                    <a:pt x="0" y="37"/>
                    <a:pt x="1950" y="49"/>
                    <a:pt x="4349" y="49"/>
                  </a:cubicBezTo>
                  <a:cubicBezTo>
                    <a:pt x="6748" y="49"/>
                    <a:pt x="8697" y="37"/>
                    <a:pt x="8697" y="23"/>
                  </a:cubicBezTo>
                  <a:cubicBezTo>
                    <a:pt x="8697" y="15"/>
                    <a:pt x="6748" y="1"/>
                    <a:pt x="4349" y="1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" name="Google Shape;3378;p48">
              <a:extLst>
                <a:ext uri="{FF2B5EF4-FFF2-40B4-BE49-F238E27FC236}">
                  <a16:creationId xmlns:a16="http://schemas.microsoft.com/office/drawing/2014/main" id="{C6F5483B-8112-4624-2340-E777585110B9}"/>
                </a:ext>
              </a:extLst>
            </p:cNvPr>
            <p:cNvSpPr/>
            <p:nvPr/>
          </p:nvSpPr>
          <p:spPr>
            <a:xfrm>
              <a:off x="7539189" y="2629251"/>
              <a:ext cx="434498" cy="2212"/>
            </a:xfrm>
            <a:custGeom>
              <a:avLst/>
              <a:gdLst/>
              <a:ahLst/>
              <a:cxnLst/>
              <a:rect l="l" t="t" r="r" b="b"/>
              <a:pathLst>
                <a:path w="8838" h="45" extrusionOk="0">
                  <a:moveTo>
                    <a:pt x="4419" y="1"/>
                  </a:moveTo>
                  <a:cubicBezTo>
                    <a:pt x="1976" y="1"/>
                    <a:pt x="1" y="10"/>
                    <a:pt x="1" y="23"/>
                  </a:cubicBezTo>
                  <a:cubicBezTo>
                    <a:pt x="1" y="36"/>
                    <a:pt x="1976" y="45"/>
                    <a:pt x="4419" y="45"/>
                  </a:cubicBezTo>
                  <a:cubicBezTo>
                    <a:pt x="6858" y="45"/>
                    <a:pt x="8837" y="36"/>
                    <a:pt x="8837" y="23"/>
                  </a:cubicBezTo>
                  <a:cubicBezTo>
                    <a:pt x="8837" y="10"/>
                    <a:pt x="6858" y="1"/>
                    <a:pt x="4419" y="1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" name="Google Shape;3379;p48">
              <a:extLst>
                <a:ext uri="{FF2B5EF4-FFF2-40B4-BE49-F238E27FC236}">
                  <a16:creationId xmlns:a16="http://schemas.microsoft.com/office/drawing/2014/main" id="{36DFCB60-87ED-5B3E-C317-E88447C19AA9}"/>
                </a:ext>
              </a:extLst>
            </p:cNvPr>
            <p:cNvSpPr/>
            <p:nvPr/>
          </p:nvSpPr>
          <p:spPr>
            <a:xfrm>
              <a:off x="7539189" y="2681708"/>
              <a:ext cx="439611" cy="2409"/>
            </a:xfrm>
            <a:custGeom>
              <a:avLst/>
              <a:gdLst/>
              <a:ahLst/>
              <a:cxnLst/>
              <a:rect l="l" t="t" r="r" b="b"/>
              <a:pathLst>
                <a:path w="8942" h="49" extrusionOk="0">
                  <a:moveTo>
                    <a:pt x="4472" y="0"/>
                  </a:moveTo>
                  <a:cubicBezTo>
                    <a:pt x="2002" y="0"/>
                    <a:pt x="1" y="13"/>
                    <a:pt x="1" y="27"/>
                  </a:cubicBezTo>
                  <a:cubicBezTo>
                    <a:pt x="1" y="39"/>
                    <a:pt x="2002" y="49"/>
                    <a:pt x="4472" y="49"/>
                  </a:cubicBezTo>
                  <a:cubicBezTo>
                    <a:pt x="6941" y="49"/>
                    <a:pt x="8942" y="39"/>
                    <a:pt x="8942" y="27"/>
                  </a:cubicBezTo>
                  <a:cubicBezTo>
                    <a:pt x="8942" y="13"/>
                    <a:pt x="6941" y="0"/>
                    <a:pt x="4472" y="0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" name="Google Shape;3380;p48">
              <a:extLst>
                <a:ext uri="{FF2B5EF4-FFF2-40B4-BE49-F238E27FC236}">
                  <a16:creationId xmlns:a16="http://schemas.microsoft.com/office/drawing/2014/main" id="{82EF325E-6E39-74F3-7248-734B6D3D689D}"/>
                </a:ext>
              </a:extLst>
            </p:cNvPr>
            <p:cNvSpPr/>
            <p:nvPr/>
          </p:nvSpPr>
          <p:spPr>
            <a:xfrm>
              <a:off x="7532749" y="2731264"/>
              <a:ext cx="443102" cy="4572"/>
            </a:xfrm>
            <a:custGeom>
              <a:avLst/>
              <a:gdLst/>
              <a:ahLst/>
              <a:cxnLst/>
              <a:rect l="l" t="t" r="r" b="b"/>
              <a:pathLst>
                <a:path w="9013" h="93" extrusionOk="0">
                  <a:moveTo>
                    <a:pt x="606" y="0"/>
                  </a:moveTo>
                  <a:cubicBezTo>
                    <a:pt x="221" y="0"/>
                    <a:pt x="1" y="2"/>
                    <a:pt x="1" y="7"/>
                  </a:cubicBezTo>
                  <a:cubicBezTo>
                    <a:pt x="1" y="19"/>
                    <a:pt x="2020" y="45"/>
                    <a:pt x="4506" y="68"/>
                  </a:cubicBezTo>
                  <a:cubicBezTo>
                    <a:pt x="6110" y="84"/>
                    <a:pt x="7519" y="92"/>
                    <a:pt x="8317" y="92"/>
                  </a:cubicBezTo>
                  <a:cubicBezTo>
                    <a:pt x="8757" y="92"/>
                    <a:pt x="9012" y="90"/>
                    <a:pt x="9012" y="85"/>
                  </a:cubicBezTo>
                  <a:cubicBezTo>
                    <a:pt x="9012" y="72"/>
                    <a:pt x="6993" y="45"/>
                    <a:pt x="4506" y="23"/>
                  </a:cubicBezTo>
                  <a:cubicBezTo>
                    <a:pt x="2841" y="9"/>
                    <a:pt x="1385" y="0"/>
                    <a:pt x="606" y="0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" name="Google Shape;3381;p48">
              <a:extLst>
                <a:ext uri="{FF2B5EF4-FFF2-40B4-BE49-F238E27FC236}">
                  <a16:creationId xmlns:a16="http://schemas.microsoft.com/office/drawing/2014/main" id="{6B64AFFF-C1B4-8C05-B3C0-7CA52A0E490D}"/>
                </a:ext>
              </a:extLst>
            </p:cNvPr>
            <p:cNvSpPr/>
            <p:nvPr/>
          </p:nvSpPr>
          <p:spPr>
            <a:xfrm>
              <a:off x="7516673" y="2783672"/>
              <a:ext cx="459178" cy="5162"/>
            </a:xfrm>
            <a:custGeom>
              <a:avLst/>
              <a:gdLst/>
              <a:ahLst/>
              <a:cxnLst/>
              <a:rect l="l" t="t" r="r" b="b"/>
              <a:pathLst>
                <a:path w="9340" h="105" extrusionOk="0">
                  <a:moveTo>
                    <a:pt x="8794" y="1"/>
                  </a:moveTo>
                  <a:cubicBezTo>
                    <a:pt x="8010" y="1"/>
                    <a:pt x="6457" y="10"/>
                    <a:pt x="4668" y="28"/>
                  </a:cubicBezTo>
                  <a:cubicBezTo>
                    <a:pt x="2089" y="55"/>
                    <a:pt x="0" y="85"/>
                    <a:pt x="0" y="99"/>
                  </a:cubicBezTo>
                  <a:cubicBezTo>
                    <a:pt x="0" y="102"/>
                    <a:pt x="197" y="104"/>
                    <a:pt x="545" y="104"/>
                  </a:cubicBezTo>
                  <a:cubicBezTo>
                    <a:pt x="1330" y="104"/>
                    <a:pt x="2882" y="95"/>
                    <a:pt x="4672" y="77"/>
                  </a:cubicBezTo>
                  <a:cubicBezTo>
                    <a:pt x="7250" y="50"/>
                    <a:pt x="9339" y="20"/>
                    <a:pt x="9339" y="6"/>
                  </a:cubicBezTo>
                  <a:cubicBezTo>
                    <a:pt x="9339" y="2"/>
                    <a:pt x="9142" y="1"/>
                    <a:pt x="8794" y="1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" name="Google Shape;3382;p48">
              <a:extLst>
                <a:ext uri="{FF2B5EF4-FFF2-40B4-BE49-F238E27FC236}">
                  <a16:creationId xmlns:a16="http://schemas.microsoft.com/office/drawing/2014/main" id="{16AEA9A1-B651-921E-FBCB-30BFBBE57C3C}"/>
                </a:ext>
              </a:extLst>
            </p:cNvPr>
            <p:cNvSpPr/>
            <p:nvPr/>
          </p:nvSpPr>
          <p:spPr>
            <a:xfrm>
              <a:off x="7679500" y="2059499"/>
              <a:ext cx="215725" cy="479039"/>
            </a:xfrm>
            <a:custGeom>
              <a:avLst/>
              <a:gdLst/>
              <a:ahLst/>
              <a:cxnLst/>
              <a:rect l="l" t="t" r="r" b="b"/>
              <a:pathLst>
                <a:path w="4388" h="9744" extrusionOk="0">
                  <a:moveTo>
                    <a:pt x="4297" y="0"/>
                  </a:moveTo>
                  <a:cubicBezTo>
                    <a:pt x="4030" y="2033"/>
                    <a:pt x="3409" y="4240"/>
                    <a:pt x="2889" y="5476"/>
                  </a:cubicBezTo>
                  <a:cubicBezTo>
                    <a:pt x="2216" y="7067"/>
                    <a:pt x="1578" y="8217"/>
                    <a:pt x="451" y="9523"/>
                  </a:cubicBezTo>
                  <a:lnTo>
                    <a:pt x="1" y="9728"/>
                  </a:lnTo>
                  <a:cubicBezTo>
                    <a:pt x="83" y="9739"/>
                    <a:pt x="166" y="9744"/>
                    <a:pt x="248" y="9744"/>
                  </a:cubicBezTo>
                  <a:cubicBezTo>
                    <a:pt x="682" y="9744"/>
                    <a:pt x="1108" y="9601"/>
                    <a:pt x="1461" y="9348"/>
                  </a:cubicBezTo>
                  <a:cubicBezTo>
                    <a:pt x="1884" y="9042"/>
                    <a:pt x="2212" y="8627"/>
                    <a:pt x="2500" y="8195"/>
                  </a:cubicBezTo>
                  <a:cubicBezTo>
                    <a:pt x="3558" y="6630"/>
                    <a:pt x="4192" y="4782"/>
                    <a:pt x="4313" y="2898"/>
                  </a:cubicBezTo>
                  <a:cubicBezTo>
                    <a:pt x="4340" y="2474"/>
                    <a:pt x="4388" y="712"/>
                    <a:pt x="4297" y="0"/>
                  </a:cubicBezTo>
                  <a:close/>
                </a:path>
              </a:pathLst>
            </a:custGeom>
            <a:solidFill>
              <a:srgbClr val="FFA45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" name="Google Shape;3383;p48">
              <a:extLst>
                <a:ext uri="{FF2B5EF4-FFF2-40B4-BE49-F238E27FC236}">
                  <a16:creationId xmlns:a16="http://schemas.microsoft.com/office/drawing/2014/main" id="{EE8C9826-7140-84FD-71AC-8CA80DB8EBC3}"/>
                </a:ext>
              </a:extLst>
            </p:cNvPr>
            <p:cNvSpPr/>
            <p:nvPr/>
          </p:nvSpPr>
          <p:spPr>
            <a:xfrm>
              <a:off x="7601282" y="2585397"/>
              <a:ext cx="325997" cy="154567"/>
            </a:xfrm>
            <a:custGeom>
              <a:avLst/>
              <a:gdLst/>
              <a:ahLst/>
              <a:cxnLst/>
              <a:rect l="l" t="t" r="r" b="b"/>
              <a:pathLst>
                <a:path w="6631" h="3144" extrusionOk="0">
                  <a:moveTo>
                    <a:pt x="6630" y="1"/>
                  </a:moveTo>
                  <a:cubicBezTo>
                    <a:pt x="6627" y="1"/>
                    <a:pt x="6609" y="18"/>
                    <a:pt x="6574" y="50"/>
                  </a:cubicBezTo>
                  <a:cubicBezTo>
                    <a:pt x="6529" y="94"/>
                    <a:pt x="6477" y="142"/>
                    <a:pt x="6416" y="198"/>
                  </a:cubicBezTo>
                  <a:cubicBezTo>
                    <a:pt x="6281" y="334"/>
                    <a:pt x="6075" y="513"/>
                    <a:pt x="5813" y="731"/>
                  </a:cubicBezTo>
                  <a:cubicBezTo>
                    <a:pt x="5555" y="945"/>
                    <a:pt x="5228" y="1185"/>
                    <a:pt x="4856" y="1431"/>
                  </a:cubicBezTo>
                  <a:cubicBezTo>
                    <a:pt x="4480" y="1671"/>
                    <a:pt x="4052" y="1920"/>
                    <a:pt x="3584" y="2143"/>
                  </a:cubicBezTo>
                  <a:cubicBezTo>
                    <a:pt x="3117" y="2361"/>
                    <a:pt x="2658" y="2536"/>
                    <a:pt x="2233" y="2676"/>
                  </a:cubicBezTo>
                  <a:cubicBezTo>
                    <a:pt x="1806" y="2807"/>
                    <a:pt x="1412" y="2908"/>
                    <a:pt x="1080" y="2974"/>
                  </a:cubicBezTo>
                  <a:cubicBezTo>
                    <a:pt x="748" y="3039"/>
                    <a:pt x="477" y="3083"/>
                    <a:pt x="289" y="3105"/>
                  </a:cubicBezTo>
                  <a:cubicBezTo>
                    <a:pt x="210" y="3113"/>
                    <a:pt x="136" y="3122"/>
                    <a:pt x="75" y="3131"/>
                  </a:cubicBezTo>
                  <a:cubicBezTo>
                    <a:pt x="23" y="3139"/>
                    <a:pt x="0" y="3144"/>
                    <a:pt x="0" y="3144"/>
                  </a:cubicBezTo>
                  <a:cubicBezTo>
                    <a:pt x="0" y="3144"/>
                    <a:pt x="420" y="3131"/>
                    <a:pt x="1089" y="3004"/>
                  </a:cubicBezTo>
                  <a:cubicBezTo>
                    <a:pt x="1421" y="2942"/>
                    <a:pt x="1814" y="2847"/>
                    <a:pt x="2247" y="2716"/>
                  </a:cubicBezTo>
                  <a:cubicBezTo>
                    <a:pt x="2671" y="2580"/>
                    <a:pt x="3134" y="2405"/>
                    <a:pt x="3606" y="2182"/>
                  </a:cubicBezTo>
                  <a:cubicBezTo>
                    <a:pt x="4074" y="1959"/>
                    <a:pt x="4502" y="1710"/>
                    <a:pt x="4878" y="1465"/>
                  </a:cubicBezTo>
                  <a:cubicBezTo>
                    <a:pt x="5254" y="1217"/>
                    <a:pt x="5577" y="976"/>
                    <a:pt x="5835" y="753"/>
                  </a:cubicBezTo>
                  <a:cubicBezTo>
                    <a:pt x="6355" y="316"/>
                    <a:pt x="6630" y="1"/>
                    <a:pt x="6630" y="1"/>
                  </a:cubicBezTo>
                  <a:cubicBezTo>
                    <a:pt x="6630" y="1"/>
                    <a:pt x="6630" y="1"/>
                    <a:pt x="663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" name="Google Shape;3384;p48">
              <a:extLst>
                <a:ext uri="{FF2B5EF4-FFF2-40B4-BE49-F238E27FC236}">
                  <a16:creationId xmlns:a16="http://schemas.microsoft.com/office/drawing/2014/main" id="{DBBDDC61-E58F-961C-5890-343BE573EE2D}"/>
                </a:ext>
              </a:extLst>
            </p:cNvPr>
            <p:cNvSpPr/>
            <p:nvPr/>
          </p:nvSpPr>
          <p:spPr>
            <a:xfrm>
              <a:off x="7608214" y="2265050"/>
              <a:ext cx="211153" cy="71826"/>
            </a:xfrm>
            <a:custGeom>
              <a:avLst/>
              <a:gdLst/>
              <a:ahLst/>
              <a:cxnLst/>
              <a:rect l="l" t="t" r="r" b="b"/>
              <a:pathLst>
                <a:path w="4295" h="1461" extrusionOk="0">
                  <a:moveTo>
                    <a:pt x="3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3" y="6"/>
                    <a:pt x="43" y="14"/>
                  </a:cubicBezTo>
                  <a:cubicBezTo>
                    <a:pt x="83" y="28"/>
                    <a:pt x="126" y="41"/>
                    <a:pt x="170" y="54"/>
                  </a:cubicBezTo>
                  <a:cubicBezTo>
                    <a:pt x="305" y="89"/>
                    <a:pt x="463" y="133"/>
                    <a:pt x="638" y="185"/>
                  </a:cubicBezTo>
                  <a:cubicBezTo>
                    <a:pt x="1031" y="299"/>
                    <a:pt x="1573" y="470"/>
                    <a:pt x="2159" y="688"/>
                  </a:cubicBezTo>
                  <a:cubicBezTo>
                    <a:pt x="2731" y="902"/>
                    <a:pt x="3246" y="1090"/>
                    <a:pt x="3666" y="1247"/>
                  </a:cubicBezTo>
                  <a:cubicBezTo>
                    <a:pt x="3837" y="1309"/>
                    <a:pt x="3990" y="1361"/>
                    <a:pt x="4125" y="1408"/>
                  </a:cubicBezTo>
                  <a:cubicBezTo>
                    <a:pt x="4169" y="1422"/>
                    <a:pt x="4212" y="1435"/>
                    <a:pt x="4252" y="1448"/>
                  </a:cubicBezTo>
                  <a:cubicBezTo>
                    <a:pt x="4282" y="1457"/>
                    <a:pt x="4295" y="1461"/>
                    <a:pt x="4295" y="1461"/>
                  </a:cubicBezTo>
                  <a:cubicBezTo>
                    <a:pt x="4295" y="1457"/>
                    <a:pt x="4282" y="1452"/>
                    <a:pt x="4256" y="1440"/>
                  </a:cubicBezTo>
                  <a:cubicBezTo>
                    <a:pt x="4216" y="1422"/>
                    <a:pt x="4173" y="1408"/>
                    <a:pt x="4133" y="1392"/>
                  </a:cubicBezTo>
                  <a:cubicBezTo>
                    <a:pt x="3998" y="1339"/>
                    <a:pt x="3849" y="1283"/>
                    <a:pt x="3679" y="1216"/>
                  </a:cubicBezTo>
                  <a:cubicBezTo>
                    <a:pt x="3294" y="1073"/>
                    <a:pt x="2766" y="863"/>
                    <a:pt x="2176" y="644"/>
                  </a:cubicBezTo>
                  <a:cubicBezTo>
                    <a:pt x="1586" y="426"/>
                    <a:pt x="1044" y="260"/>
                    <a:pt x="646" y="150"/>
                  </a:cubicBezTo>
                  <a:cubicBezTo>
                    <a:pt x="446" y="97"/>
                    <a:pt x="288" y="59"/>
                    <a:pt x="174" y="32"/>
                  </a:cubicBezTo>
                  <a:cubicBezTo>
                    <a:pt x="126" y="24"/>
                    <a:pt x="87" y="14"/>
                    <a:pt x="43" y="6"/>
                  </a:cubicBezTo>
                  <a:cubicBezTo>
                    <a:pt x="22" y="3"/>
                    <a:pt x="9" y="0"/>
                    <a:pt x="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" name="Google Shape;3385;p48">
              <a:extLst>
                <a:ext uri="{FF2B5EF4-FFF2-40B4-BE49-F238E27FC236}">
                  <a16:creationId xmlns:a16="http://schemas.microsoft.com/office/drawing/2014/main" id="{B18C0817-4773-FEA6-7879-B07B31BD9BEF}"/>
                </a:ext>
              </a:extLst>
            </p:cNvPr>
            <p:cNvSpPr/>
            <p:nvPr/>
          </p:nvSpPr>
          <p:spPr>
            <a:xfrm>
              <a:off x="7609689" y="1915746"/>
              <a:ext cx="284749" cy="421126"/>
            </a:xfrm>
            <a:custGeom>
              <a:avLst/>
              <a:gdLst/>
              <a:ahLst/>
              <a:cxnLst/>
              <a:rect l="l" t="t" r="r" b="b"/>
              <a:pathLst>
                <a:path w="5792" h="8566" extrusionOk="0">
                  <a:moveTo>
                    <a:pt x="3818" y="1"/>
                  </a:moveTo>
                  <a:cubicBezTo>
                    <a:pt x="3707" y="1"/>
                    <a:pt x="3598" y="12"/>
                    <a:pt x="3492" y="31"/>
                  </a:cubicBezTo>
                  <a:cubicBezTo>
                    <a:pt x="3186" y="80"/>
                    <a:pt x="2902" y="207"/>
                    <a:pt x="2653" y="377"/>
                  </a:cubicBezTo>
                  <a:cubicBezTo>
                    <a:pt x="2403" y="542"/>
                    <a:pt x="2199" y="766"/>
                    <a:pt x="2058" y="1019"/>
                  </a:cubicBezTo>
                  <a:cubicBezTo>
                    <a:pt x="1915" y="1268"/>
                    <a:pt x="1814" y="1530"/>
                    <a:pt x="1727" y="1788"/>
                  </a:cubicBezTo>
                  <a:cubicBezTo>
                    <a:pt x="1386" y="2819"/>
                    <a:pt x="1080" y="3751"/>
                    <a:pt x="822" y="4537"/>
                  </a:cubicBezTo>
                  <a:cubicBezTo>
                    <a:pt x="568" y="5310"/>
                    <a:pt x="363" y="5944"/>
                    <a:pt x="214" y="6390"/>
                  </a:cubicBezTo>
                  <a:cubicBezTo>
                    <a:pt x="148" y="6605"/>
                    <a:pt x="96" y="6770"/>
                    <a:pt x="53" y="6897"/>
                  </a:cubicBezTo>
                  <a:cubicBezTo>
                    <a:pt x="17" y="7010"/>
                    <a:pt x="0" y="7071"/>
                    <a:pt x="0" y="7071"/>
                  </a:cubicBezTo>
                  <a:cubicBezTo>
                    <a:pt x="0" y="7071"/>
                    <a:pt x="22" y="7015"/>
                    <a:pt x="61" y="6901"/>
                  </a:cubicBezTo>
                  <a:cubicBezTo>
                    <a:pt x="105" y="6774"/>
                    <a:pt x="162" y="6609"/>
                    <a:pt x="232" y="6399"/>
                  </a:cubicBezTo>
                  <a:cubicBezTo>
                    <a:pt x="384" y="5949"/>
                    <a:pt x="594" y="5320"/>
                    <a:pt x="852" y="4546"/>
                  </a:cubicBezTo>
                  <a:cubicBezTo>
                    <a:pt x="1114" y="3763"/>
                    <a:pt x="1425" y="2833"/>
                    <a:pt x="1766" y="1801"/>
                  </a:cubicBezTo>
                  <a:cubicBezTo>
                    <a:pt x="1941" y="1294"/>
                    <a:pt x="2173" y="735"/>
                    <a:pt x="2679" y="411"/>
                  </a:cubicBezTo>
                  <a:cubicBezTo>
                    <a:pt x="2919" y="250"/>
                    <a:pt x="3199" y="128"/>
                    <a:pt x="3500" y="76"/>
                  </a:cubicBezTo>
                  <a:cubicBezTo>
                    <a:pt x="3601" y="57"/>
                    <a:pt x="3705" y="48"/>
                    <a:pt x="3810" y="48"/>
                  </a:cubicBezTo>
                  <a:cubicBezTo>
                    <a:pt x="4011" y="48"/>
                    <a:pt x="4213" y="83"/>
                    <a:pt x="4396" y="167"/>
                  </a:cubicBezTo>
                  <a:cubicBezTo>
                    <a:pt x="4541" y="228"/>
                    <a:pt x="4664" y="320"/>
                    <a:pt x="4777" y="425"/>
                  </a:cubicBezTo>
                  <a:cubicBezTo>
                    <a:pt x="4894" y="525"/>
                    <a:pt x="5004" y="635"/>
                    <a:pt x="5104" y="748"/>
                  </a:cubicBezTo>
                  <a:cubicBezTo>
                    <a:pt x="5305" y="975"/>
                    <a:pt x="5459" y="1238"/>
                    <a:pt x="5555" y="1512"/>
                  </a:cubicBezTo>
                  <a:cubicBezTo>
                    <a:pt x="5743" y="2073"/>
                    <a:pt x="5707" y="2658"/>
                    <a:pt x="5624" y="3191"/>
                  </a:cubicBezTo>
                  <a:cubicBezTo>
                    <a:pt x="5471" y="4271"/>
                    <a:pt x="5319" y="5241"/>
                    <a:pt x="5104" y="6036"/>
                  </a:cubicBezTo>
                  <a:cubicBezTo>
                    <a:pt x="4890" y="6831"/>
                    <a:pt x="4664" y="7456"/>
                    <a:pt x="4510" y="7894"/>
                  </a:cubicBezTo>
                  <a:cubicBezTo>
                    <a:pt x="4436" y="8099"/>
                    <a:pt x="4375" y="8265"/>
                    <a:pt x="4327" y="8392"/>
                  </a:cubicBezTo>
                  <a:cubicBezTo>
                    <a:pt x="4287" y="8505"/>
                    <a:pt x="4265" y="8566"/>
                    <a:pt x="4265" y="8566"/>
                  </a:cubicBezTo>
                  <a:cubicBezTo>
                    <a:pt x="4265" y="8566"/>
                    <a:pt x="4366" y="8330"/>
                    <a:pt x="4527" y="7898"/>
                  </a:cubicBezTo>
                  <a:cubicBezTo>
                    <a:pt x="4685" y="7465"/>
                    <a:pt x="4916" y="6841"/>
                    <a:pt x="5136" y="6044"/>
                  </a:cubicBezTo>
                  <a:cubicBezTo>
                    <a:pt x="5354" y="5245"/>
                    <a:pt x="5511" y="4275"/>
                    <a:pt x="5668" y="3200"/>
                  </a:cubicBezTo>
                  <a:cubicBezTo>
                    <a:pt x="5751" y="2662"/>
                    <a:pt x="5791" y="2073"/>
                    <a:pt x="5598" y="1500"/>
                  </a:cubicBezTo>
                  <a:cubicBezTo>
                    <a:pt x="5497" y="1216"/>
                    <a:pt x="5345" y="949"/>
                    <a:pt x="5140" y="717"/>
                  </a:cubicBezTo>
                  <a:cubicBezTo>
                    <a:pt x="5039" y="600"/>
                    <a:pt x="4926" y="490"/>
                    <a:pt x="4807" y="390"/>
                  </a:cubicBezTo>
                  <a:cubicBezTo>
                    <a:pt x="4694" y="285"/>
                    <a:pt x="4563" y="189"/>
                    <a:pt x="4418" y="123"/>
                  </a:cubicBezTo>
                  <a:cubicBezTo>
                    <a:pt x="4228" y="38"/>
                    <a:pt x="4022" y="1"/>
                    <a:pt x="381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" name="Google Shape;3386;p48">
              <a:extLst>
                <a:ext uri="{FF2B5EF4-FFF2-40B4-BE49-F238E27FC236}">
                  <a16:creationId xmlns:a16="http://schemas.microsoft.com/office/drawing/2014/main" id="{CF556EAE-9011-9BBB-A821-1A679FDD53F8}"/>
                </a:ext>
              </a:extLst>
            </p:cNvPr>
            <p:cNvSpPr/>
            <p:nvPr/>
          </p:nvSpPr>
          <p:spPr>
            <a:xfrm>
              <a:off x="7724632" y="2967690"/>
              <a:ext cx="512421" cy="1414553"/>
            </a:xfrm>
            <a:custGeom>
              <a:avLst/>
              <a:gdLst/>
              <a:ahLst/>
              <a:cxnLst/>
              <a:rect l="l" t="t" r="r" b="b"/>
              <a:pathLst>
                <a:path w="10423" h="28773" extrusionOk="0">
                  <a:moveTo>
                    <a:pt x="3824" y="0"/>
                  </a:moveTo>
                  <a:lnTo>
                    <a:pt x="218" y="1267"/>
                  </a:lnTo>
                  <a:cubicBezTo>
                    <a:pt x="218" y="1267"/>
                    <a:pt x="0" y="16113"/>
                    <a:pt x="218" y="18595"/>
                  </a:cubicBezTo>
                  <a:cubicBezTo>
                    <a:pt x="647" y="23481"/>
                    <a:pt x="7290" y="28773"/>
                    <a:pt x="7290" y="28773"/>
                  </a:cubicBezTo>
                  <a:lnTo>
                    <a:pt x="10423" y="25110"/>
                  </a:lnTo>
                  <a:cubicBezTo>
                    <a:pt x="10423" y="25110"/>
                    <a:pt x="6699" y="20937"/>
                    <a:pt x="5642" y="19460"/>
                  </a:cubicBezTo>
                  <a:cubicBezTo>
                    <a:pt x="4948" y="18486"/>
                    <a:pt x="4523" y="16921"/>
                    <a:pt x="4283" y="15715"/>
                  </a:cubicBezTo>
                  <a:cubicBezTo>
                    <a:pt x="4103" y="14832"/>
                    <a:pt x="4012" y="13936"/>
                    <a:pt x="3998" y="13036"/>
                  </a:cubicBezTo>
                  <a:lnTo>
                    <a:pt x="3824" y="0"/>
                  </a:ln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" name="Google Shape;3387;p48">
              <a:extLst>
                <a:ext uri="{FF2B5EF4-FFF2-40B4-BE49-F238E27FC236}">
                  <a16:creationId xmlns:a16="http://schemas.microsoft.com/office/drawing/2014/main" id="{0186A31A-CC68-9B3A-0272-C087B37ACD82}"/>
                </a:ext>
              </a:extLst>
            </p:cNvPr>
            <p:cNvSpPr/>
            <p:nvPr/>
          </p:nvSpPr>
          <p:spPr>
            <a:xfrm>
              <a:off x="7548432" y="2793849"/>
              <a:ext cx="404804" cy="1676933"/>
            </a:xfrm>
            <a:custGeom>
              <a:avLst/>
              <a:gdLst/>
              <a:ahLst/>
              <a:cxnLst/>
              <a:rect l="l" t="t" r="r" b="b"/>
              <a:pathLst>
                <a:path w="8234" h="34110" extrusionOk="0">
                  <a:moveTo>
                    <a:pt x="8076" y="1"/>
                  </a:moveTo>
                  <a:lnTo>
                    <a:pt x="83" y="380"/>
                  </a:lnTo>
                  <a:lnTo>
                    <a:pt x="0" y="34110"/>
                  </a:lnTo>
                  <a:lnTo>
                    <a:pt x="5192" y="34110"/>
                  </a:lnTo>
                  <a:lnTo>
                    <a:pt x="6110" y="4764"/>
                  </a:lnTo>
                  <a:cubicBezTo>
                    <a:pt x="6110" y="4764"/>
                    <a:pt x="7614" y="3772"/>
                    <a:pt x="7876" y="2509"/>
                  </a:cubicBezTo>
                  <a:cubicBezTo>
                    <a:pt x="8234" y="796"/>
                    <a:pt x="8076" y="1"/>
                    <a:pt x="8076" y="1"/>
                  </a:cubicBezTo>
                  <a:close/>
                </a:path>
              </a:pathLst>
            </a:custGeom>
            <a:solidFill>
              <a:srgbClr val="43434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" name="Google Shape;3388;p48">
              <a:extLst>
                <a:ext uri="{FF2B5EF4-FFF2-40B4-BE49-F238E27FC236}">
                  <a16:creationId xmlns:a16="http://schemas.microsoft.com/office/drawing/2014/main" id="{1526915C-DC19-A431-92E7-49ED28FBADEF}"/>
                </a:ext>
              </a:extLst>
            </p:cNvPr>
            <p:cNvSpPr/>
            <p:nvPr/>
          </p:nvSpPr>
          <p:spPr>
            <a:xfrm>
              <a:off x="7536830" y="4430834"/>
              <a:ext cx="277424" cy="39969"/>
            </a:xfrm>
            <a:custGeom>
              <a:avLst/>
              <a:gdLst/>
              <a:ahLst/>
              <a:cxnLst/>
              <a:rect l="l" t="t" r="r" b="b"/>
              <a:pathLst>
                <a:path w="5643" h="813" extrusionOk="0">
                  <a:moveTo>
                    <a:pt x="0" y="0"/>
                  </a:moveTo>
                  <a:lnTo>
                    <a:pt x="0" y="813"/>
                  </a:lnTo>
                  <a:lnTo>
                    <a:pt x="5642" y="813"/>
                  </a:lnTo>
                  <a:lnTo>
                    <a:pt x="5642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" name="Google Shape;3389;p48">
              <a:extLst>
                <a:ext uri="{FF2B5EF4-FFF2-40B4-BE49-F238E27FC236}">
                  <a16:creationId xmlns:a16="http://schemas.microsoft.com/office/drawing/2014/main" id="{4632017F-DD34-B796-296B-DC311251A04D}"/>
                </a:ext>
              </a:extLst>
            </p:cNvPr>
            <p:cNvSpPr/>
            <p:nvPr/>
          </p:nvSpPr>
          <p:spPr>
            <a:xfrm>
              <a:off x="8041044" y="4165255"/>
              <a:ext cx="220101" cy="228851"/>
            </a:xfrm>
            <a:custGeom>
              <a:avLst/>
              <a:gdLst/>
              <a:ahLst/>
              <a:cxnLst/>
              <a:rect l="l" t="t" r="r" b="b"/>
              <a:pathLst>
                <a:path w="4477" h="4655" extrusionOk="0">
                  <a:moveTo>
                    <a:pt x="3887" y="1"/>
                  </a:moveTo>
                  <a:lnTo>
                    <a:pt x="1" y="4095"/>
                  </a:lnTo>
                  <a:lnTo>
                    <a:pt x="591" y="4654"/>
                  </a:lnTo>
                  <a:lnTo>
                    <a:pt x="4476" y="560"/>
                  </a:lnTo>
                  <a:lnTo>
                    <a:pt x="3887" y="1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" name="Google Shape;3390;p48">
              <a:extLst>
                <a:ext uri="{FF2B5EF4-FFF2-40B4-BE49-F238E27FC236}">
                  <a16:creationId xmlns:a16="http://schemas.microsoft.com/office/drawing/2014/main" id="{D740EDBB-EDF4-EB9B-CD63-53358C21B9CF}"/>
                </a:ext>
              </a:extLst>
            </p:cNvPr>
            <p:cNvSpPr/>
            <p:nvPr/>
          </p:nvSpPr>
          <p:spPr>
            <a:xfrm>
              <a:off x="8052647" y="4179807"/>
              <a:ext cx="168529" cy="174330"/>
            </a:xfrm>
            <a:custGeom>
              <a:avLst/>
              <a:gdLst/>
              <a:ahLst/>
              <a:cxnLst/>
              <a:rect l="l" t="t" r="r" b="b"/>
              <a:pathLst>
                <a:path w="3428" h="3546" extrusionOk="0">
                  <a:moveTo>
                    <a:pt x="3427" y="1"/>
                  </a:moveTo>
                  <a:cubicBezTo>
                    <a:pt x="3424" y="1"/>
                    <a:pt x="3412" y="13"/>
                    <a:pt x="3389" y="32"/>
                  </a:cubicBezTo>
                  <a:cubicBezTo>
                    <a:pt x="3357" y="62"/>
                    <a:pt x="3323" y="98"/>
                    <a:pt x="3288" y="132"/>
                  </a:cubicBezTo>
                  <a:cubicBezTo>
                    <a:pt x="3196" y="219"/>
                    <a:pt x="3069" y="346"/>
                    <a:pt x="2917" y="508"/>
                  </a:cubicBezTo>
                  <a:cubicBezTo>
                    <a:pt x="2584" y="858"/>
                    <a:pt x="2173" y="1295"/>
                    <a:pt x="1719" y="1776"/>
                  </a:cubicBezTo>
                  <a:cubicBezTo>
                    <a:pt x="1255" y="2248"/>
                    <a:pt x="836" y="2676"/>
                    <a:pt x="499" y="3021"/>
                  </a:cubicBezTo>
                  <a:cubicBezTo>
                    <a:pt x="360" y="3166"/>
                    <a:pt x="242" y="3293"/>
                    <a:pt x="132" y="3402"/>
                  </a:cubicBezTo>
                  <a:cubicBezTo>
                    <a:pt x="97" y="3440"/>
                    <a:pt x="67" y="3471"/>
                    <a:pt x="37" y="3507"/>
                  </a:cubicBezTo>
                  <a:cubicBezTo>
                    <a:pt x="15" y="3533"/>
                    <a:pt x="1" y="3545"/>
                    <a:pt x="6" y="3545"/>
                  </a:cubicBezTo>
                  <a:cubicBezTo>
                    <a:pt x="6" y="3545"/>
                    <a:pt x="19" y="3537"/>
                    <a:pt x="45" y="3515"/>
                  </a:cubicBezTo>
                  <a:cubicBezTo>
                    <a:pt x="75" y="3480"/>
                    <a:pt x="111" y="3450"/>
                    <a:pt x="146" y="3414"/>
                  </a:cubicBezTo>
                  <a:cubicBezTo>
                    <a:pt x="255" y="3305"/>
                    <a:pt x="382" y="3182"/>
                    <a:pt x="525" y="3043"/>
                  </a:cubicBezTo>
                  <a:cubicBezTo>
                    <a:pt x="862" y="2702"/>
                    <a:pt x="1286" y="2278"/>
                    <a:pt x="1754" y="1806"/>
                  </a:cubicBezTo>
                  <a:cubicBezTo>
                    <a:pt x="2226" y="1317"/>
                    <a:pt x="2637" y="858"/>
                    <a:pt x="2938" y="530"/>
                  </a:cubicBezTo>
                  <a:cubicBezTo>
                    <a:pt x="3078" y="386"/>
                    <a:pt x="3196" y="255"/>
                    <a:pt x="3301" y="146"/>
                  </a:cubicBezTo>
                  <a:cubicBezTo>
                    <a:pt x="3336" y="106"/>
                    <a:pt x="3367" y="72"/>
                    <a:pt x="3397" y="41"/>
                  </a:cubicBezTo>
                  <a:cubicBezTo>
                    <a:pt x="3419" y="15"/>
                    <a:pt x="3428" y="1"/>
                    <a:pt x="3428" y="1"/>
                  </a:cubicBezTo>
                  <a:cubicBezTo>
                    <a:pt x="3428" y="1"/>
                    <a:pt x="3427" y="1"/>
                    <a:pt x="3427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4" name="Google Shape;3391;p48">
              <a:extLst>
                <a:ext uri="{FF2B5EF4-FFF2-40B4-BE49-F238E27FC236}">
                  <a16:creationId xmlns:a16="http://schemas.microsoft.com/office/drawing/2014/main" id="{4D77AC16-9D60-F23E-CF6C-3C5DFACB4A56}"/>
                </a:ext>
              </a:extLst>
            </p:cNvPr>
            <p:cNvSpPr/>
            <p:nvPr/>
          </p:nvSpPr>
          <p:spPr>
            <a:xfrm>
              <a:off x="7646414" y="2803977"/>
              <a:ext cx="100586" cy="1629835"/>
            </a:xfrm>
            <a:custGeom>
              <a:avLst/>
              <a:gdLst/>
              <a:ahLst/>
              <a:cxnLst/>
              <a:rect l="l" t="t" r="r" b="b"/>
              <a:pathLst>
                <a:path w="2046" h="33152" extrusionOk="0">
                  <a:moveTo>
                    <a:pt x="2045" y="0"/>
                  </a:moveTo>
                  <a:cubicBezTo>
                    <a:pt x="2045" y="0"/>
                    <a:pt x="2037" y="27"/>
                    <a:pt x="2023" y="83"/>
                  </a:cubicBezTo>
                  <a:cubicBezTo>
                    <a:pt x="2011" y="136"/>
                    <a:pt x="1985" y="218"/>
                    <a:pt x="1941" y="323"/>
                  </a:cubicBezTo>
                  <a:cubicBezTo>
                    <a:pt x="1898" y="424"/>
                    <a:pt x="1823" y="541"/>
                    <a:pt x="1718" y="668"/>
                  </a:cubicBezTo>
                  <a:cubicBezTo>
                    <a:pt x="1613" y="791"/>
                    <a:pt x="1473" y="922"/>
                    <a:pt x="1321" y="1066"/>
                  </a:cubicBezTo>
                  <a:cubicBezTo>
                    <a:pt x="1168" y="1215"/>
                    <a:pt x="992" y="1376"/>
                    <a:pt x="839" y="1590"/>
                  </a:cubicBezTo>
                  <a:cubicBezTo>
                    <a:pt x="682" y="1809"/>
                    <a:pt x="696" y="2115"/>
                    <a:pt x="678" y="2408"/>
                  </a:cubicBezTo>
                  <a:cubicBezTo>
                    <a:pt x="656" y="3016"/>
                    <a:pt x="630" y="3702"/>
                    <a:pt x="603" y="4462"/>
                  </a:cubicBezTo>
                  <a:cubicBezTo>
                    <a:pt x="573" y="5222"/>
                    <a:pt x="547" y="6053"/>
                    <a:pt x="512" y="6949"/>
                  </a:cubicBezTo>
                  <a:cubicBezTo>
                    <a:pt x="486" y="7840"/>
                    <a:pt x="460" y="8797"/>
                    <a:pt x="429" y="9803"/>
                  </a:cubicBezTo>
                  <a:cubicBezTo>
                    <a:pt x="377" y="11812"/>
                    <a:pt x="298" y="14024"/>
                    <a:pt x="250" y="16344"/>
                  </a:cubicBezTo>
                  <a:cubicBezTo>
                    <a:pt x="175" y="20981"/>
                    <a:pt x="109" y="25181"/>
                    <a:pt x="66" y="28231"/>
                  </a:cubicBezTo>
                  <a:cubicBezTo>
                    <a:pt x="44" y="29747"/>
                    <a:pt x="26" y="30976"/>
                    <a:pt x="14" y="31832"/>
                  </a:cubicBezTo>
                  <a:cubicBezTo>
                    <a:pt x="10" y="32252"/>
                    <a:pt x="4" y="32579"/>
                    <a:pt x="0" y="32811"/>
                  </a:cubicBezTo>
                  <a:lnTo>
                    <a:pt x="0" y="33152"/>
                  </a:lnTo>
                  <a:cubicBezTo>
                    <a:pt x="10" y="32837"/>
                    <a:pt x="40" y="31199"/>
                    <a:pt x="97" y="28231"/>
                  </a:cubicBezTo>
                  <a:cubicBezTo>
                    <a:pt x="149" y="25185"/>
                    <a:pt x="219" y="20985"/>
                    <a:pt x="298" y="16344"/>
                  </a:cubicBezTo>
                  <a:cubicBezTo>
                    <a:pt x="341" y="14024"/>
                    <a:pt x="420" y="11812"/>
                    <a:pt x="472" y="9803"/>
                  </a:cubicBezTo>
                  <a:cubicBezTo>
                    <a:pt x="498" y="8797"/>
                    <a:pt x="525" y="7844"/>
                    <a:pt x="551" y="6949"/>
                  </a:cubicBezTo>
                  <a:cubicBezTo>
                    <a:pt x="581" y="6057"/>
                    <a:pt x="607" y="5222"/>
                    <a:pt x="634" y="4462"/>
                  </a:cubicBezTo>
                  <a:cubicBezTo>
                    <a:pt x="660" y="3702"/>
                    <a:pt x="682" y="3016"/>
                    <a:pt x="704" y="2413"/>
                  </a:cubicBezTo>
                  <a:cubicBezTo>
                    <a:pt x="722" y="2115"/>
                    <a:pt x="708" y="1818"/>
                    <a:pt x="857" y="1600"/>
                  </a:cubicBezTo>
                  <a:cubicBezTo>
                    <a:pt x="1006" y="1394"/>
                    <a:pt x="1180" y="1228"/>
                    <a:pt x="1333" y="1079"/>
                  </a:cubicBezTo>
                  <a:cubicBezTo>
                    <a:pt x="1486" y="931"/>
                    <a:pt x="1626" y="804"/>
                    <a:pt x="1731" y="678"/>
                  </a:cubicBezTo>
                  <a:cubicBezTo>
                    <a:pt x="1836" y="551"/>
                    <a:pt x="1906" y="428"/>
                    <a:pt x="1950" y="323"/>
                  </a:cubicBezTo>
                  <a:cubicBezTo>
                    <a:pt x="1993" y="223"/>
                    <a:pt x="2015" y="140"/>
                    <a:pt x="2029" y="83"/>
                  </a:cubicBezTo>
                  <a:cubicBezTo>
                    <a:pt x="2041" y="27"/>
                    <a:pt x="2045" y="0"/>
                    <a:pt x="2045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5" name="Google Shape;3392;p48">
              <a:extLst>
                <a:ext uri="{FF2B5EF4-FFF2-40B4-BE49-F238E27FC236}">
                  <a16:creationId xmlns:a16="http://schemas.microsoft.com/office/drawing/2014/main" id="{019175FD-FBC8-228F-7EB9-AE7F787A0645}"/>
                </a:ext>
              </a:extLst>
            </p:cNvPr>
            <p:cNvSpPr/>
            <p:nvPr/>
          </p:nvSpPr>
          <p:spPr>
            <a:xfrm>
              <a:off x="7588598" y="2814055"/>
              <a:ext cx="6293" cy="9783"/>
            </a:xfrm>
            <a:custGeom>
              <a:avLst/>
              <a:gdLst/>
              <a:ahLst/>
              <a:cxnLst/>
              <a:rect l="l" t="t" r="r" b="b"/>
              <a:pathLst>
                <a:path w="128" h="199" extrusionOk="0">
                  <a:moveTo>
                    <a:pt x="16" y="0"/>
                  </a:moveTo>
                  <a:cubicBezTo>
                    <a:pt x="15" y="0"/>
                    <a:pt x="15" y="1"/>
                    <a:pt x="14" y="1"/>
                  </a:cubicBezTo>
                  <a:cubicBezTo>
                    <a:pt x="0" y="5"/>
                    <a:pt x="14" y="57"/>
                    <a:pt x="45" y="110"/>
                  </a:cubicBezTo>
                  <a:cubicBezTo>
                    <a:pt x="72" y="161"/>
                    <a:pt x="100" y="198"/>
                    <a:pt x="115" y="198"/>
                  </a:cubicBezTo>
                  <a:cubicBezTo>
                    <a:pt x="116" y="198"/>
                    <a:pt x="118" y="198"/>
                    <a:pt x="119" y="197"/>
                  </a:cubicBezTo>
                  <a:cubicBezTo>
                    <a:pt x="127" y="193"/>
                    <a:pt x="115" y="140"/>
                    <a:pt x="84" y="88"/>
                  </a:cubicBezTo>
                  <a:cubicBezTo>
                    <a:pt x="60" y="39"/>
                    <a:pt x="27" y="0"/>
                    <a:pt x="16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" name="Google Shape;3393;p48">
              <a:extLst>
                <a:ext uri="{FF2B5EF4-FFF2-40B4-BE49-F238E27FC236}">
                  <a16:creationId xmlns:a16="http://schemas.microsoft.com/office/drawing/2014/main" id="{4E7BB731-5FEB-CF8B-00FB-FD67A7B61892}"/>
                </a:ext>
              </a:extLst>
            </p:cNvPr>
            <p:cNvSpPr/>
            <p:nvPr/>
          </p:nvSpPr>
          <p:spPr>
            <a:xfrm>
              <a:off x="7600643" y="2832442"/>
              <a:ext cx="8898" cy="7964"/>
            </a:xfrm>
            <a:custGeom>
              <a:avLst/>
              <a:gdLst/>
              <a:ahLst/>
              <a:cxnLst/>
              <a:rect l="l" t="t" r="r" b="b"/>
              <a:pathLst>
                <a:path w="181" h="162" extrusionOk="0">
                  <a:moveTo>
                    <a:pt x="14" y="1"/>
                  </a:moveTo>
                  <a:cubicBezTo>
                    <a:pt x="12" y="1"/>
                    <a:pt x="10" y="1"/>
                    <a:pt x="9" y="2"/>
                  </a:cubicBezTo>
                  <a:cubicBezTo>
                    <a:pt x="1" y="11"/>
                    <a:pt x="27" y="55"/>
                    <a:pt x="75" y="99"/>
                  </a:cubicBezTo>
                  <a:cubicBezTo>
                    <a:pt x="113" y="136"/>
                    <a:pt x="151" y="161"/>
                    <a:pt x="166" y="161"/>
                  </a:cubicBezTo>
                  <a:cubicBezTo>
                    <a:pt x="168" y="161"/>
                    <a:pt x="170" y="161"/>
                    <a:pt x="171" y="160"/>
                  </a:cubicBezTo>
                  <a:cubicBezTo>
                    <a:pt x="180" y="146"/>
                    <a:pt x="149" y="107"/>
                    <a:pt x="106" y="63"/>
                  </a:cubicBezTo>
                  <a:cubicBezTo>
                    <a:pt x="67" y="26"/>
                    <a:pt x="29" y="1"/>
                    <a:pt x="14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394;p48">
              <a:extLst>
                <a:ext uri="{FF2B5EF4-FFF2-40B4-BE49-F238E27FC236}">
                  <a16:creationId xmlns:a16="http://schemas.microsoft.com/office/drawing/2014/main" id="{2C439482-527F-D5BE-2F20-A37ABF8A1401}"/>
                </a:ext>
              </a:extLst>
            </p:cNvPr>
            <p:cNvSpPr/>
            <p:nvPr/>
          </p:nvSpPr>
          <p:spPr>
            <a:xfrm>
              <a:off x="7617604" y="2846503"/>
              <a:ext cx="10373" cy="5654"/>
            </a:xfrm>
            <a:custGeom>
              <a:avLst/>
              <a:gdLst/>
              <a:ahLst/>
              <a:cxnLst/>
              <a:rect l="l" t="t" r="r" b="b"/>
              <a:pathLst>
                <a:path w="211" h="115" extrusionOk="0">
                  <a:moveTo>
                    <a:pt x="17" y="0"/>
                  </a:moveTo>
                  <a:cubicBezTo>
                    <a:pt x="11" y="0"/>
                    <a:pt x="7" y="1"/>
                    <a:pt x="5" y="5"/>
                  </a:cubicBezTo>
                  <a:cubicBezTo>
                    <a:pt x="1" y="13"/>
                    <a:pt x="40" y="49"/>
                    <a:pt x="97" y="79"/>
                  </a:cubicBezTo>
                  <a:cubicBezTo>
                    <a:pt x="136" y="102"/>
                    <a:pt x="175" y="114"/>
                    <a:pt x="194" y="114"/>
                  </a:cubicBezTo>
                  <a:cubicBezTo>
                    <a:pt x="201" y="114"/>
                    <a:pt x="205" y="113"/>
                    <a:pt x="207" y="110"/>
                  </a:cubicBezTo>
                  <a:cubicBezTo>
                    <a:pt x="211" y="96"/>
                    <a:pt x="171" y="66"/>
                    <a:pt x="118" y="35"/>
                  </a:cubicBezTo>
                  <a:cubicBezTo>
                    <a:pt x="75" y="15"/>
                    <a:pt x="37" y="0"/>
                    <a:pt x="1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" name="Google Shape;3395;p48">
              <a:extLst>
                <a:ext uri="{FF2B5EF4-FFF2-40B4-BE49-F238E27FC236}">
                  <a16:creationId xmlns:a16="http://schemas.microsoft.com/office/drawing/2014/main" id="{35E2CB4C-9AA7-731C-A7BB-D0198BF9F051}"/>
                </a:ext>
              </a:extLst>
            </p:cNvPr>
            <p:cNvSpPr/>
            <p:nvPr/>
          </p:nvSpPr>
          <p:spPr>
            <a:xfrm>
              <a:off x="7637859" y="2855205"/>
              <a:ext cx="11160" cy="3196"/>
            </a:xfrm>
            <a:custGeom>
              <a:avLst/>
              <a:gdLst/>
              <a:ahLst/>
              <a:cxnLst/>
              <a:rect l="l" t="t" r="r" b="b"/>
              <a:pathLst>
                <a:path w="227" h="65" extrusionOk="0">
                  <a:moveTo>
                    <a:pt x="41" y="0"/>
                  </a:moveTo>
                  <a:cubicBezTo>
                    <a:pt x="21" y="0"/>
                    <a:pt x="6" y="2"/>
                    <a:pt x="4" y="7"/>
                  </a:cubicBezTo>
                  <a:cubicBezTo>
                    <a:pt x="0" y="20"/>
                    <a:pt x="47" y="42"/>
                    <a:pt x="109" y="55"/>
                  </a:cubicBezTo>
                  <a:cubicBezTo>
                    <a:pt x="140" y="62"/>
                    <a:pt x="168" y="65"/>
                    <a:pt x="189" y="65"/>
                  </a:cubicBezTo>
                  <a:cubicBezTo>
                    <a:pt x="209" y="65"/>
                    <a:pt x="222" y="62"/>
                    <a:pt x="222" y="55"/>
                  </a:cubicBezTo>
                  <a:cubicBezTo>
                    <a:pt x="227" y="42"/>
                    <a:pt x="178" y="20"/>
                    <a:pt x="118" y="7"/>
                  </a:cubicBezTo>
                  <a:cubicBezTo>
                    <a:pt x="89" y="2"/>
                    <a:pt x="62" y="0"/>
                    <a:pt x="4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" name="Google Shape;3396;p48">
              <a:extLst>
                <a:ext uri="{FF2B5EF4-FFF2-40B4-BE49-F238E27FC236}">
                  <a16:creationId xmlns:a16="http://schemas.microsoft.com/office/drawing/2014/main" id="{ED6E62D2-8D82-58D1-56C1-C94F8EC3DC2D}"/>
                </a:ext>
              </a:extLst>
            </p:cNvPr>
            <p:cNvSpPr/>
            <p:nvPr/>
          </p:nvSpPr>
          <p:spPr>
            <a:xfrm>
              <a:off x="7659983" y="2856385"/>
              <a:ext cx="10963" cy="2802"/>
            </a:xfrm>
            <a:custGeom>
              <a:avLst/>
              <a:gdLst/>
              <a:ahLst/>
              <a:cxnLst/>
              <a:rect l="l" t="t" r="r" b="b"/>
              <a:pathLst>
                <a:path w="223" h="57" extrusionOk="0">
                  <a:moveTo>
                    <a:pt x="167" y="0"/>
                  </a:moveTo>
                  <a:cubicBezTo>
                    <a:pt x="148" y="0"/>
                    <a:pt x="127" y="2"/>
                    <a:pt x="105" y="5"/>
                  </a:cubicBezTo>
                  <a:cubicBezTo>
                    <a:pt x="48" y="13"/>
                    <a:pt x="0" y="26"/>
                    <a:pt x="0" y="40"/>
                  </a:cubicBezTo>
                  <a:cubicBezTo>
                    <a:pt x="0" y="49"/>
                    <a:pt x="25" y="56"/>
                    <a:pt x="63" y="56"/>
                  </a:cubicBezTo>
                  <a:cubicBezTo>
                    <a:pt x="78" y="56"/>
                    <a:pt x="95" y="55"/>
                    <a:pt x="113" y="52"/>
                  </a:cubicBezTo>
                  <a:cubicBezTo>
                    <a:pt x="174" y="44"/>
                    <a:pt x="222" y="26"/>
                    <a:pt x="222" y="13"/>
                  </a:cubicBezTo>
                  <a:cubicBezTo>
                    <a:pt x="220" y="5"/>
                    <a:pt x="198" y="0"/>
                    <a:pt x="16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397;p48">
              <a:extLst>
                <a:ext uri="{FF2B5EF4-FFF2-40B4-BE49-F238E27FC236}">
                  <a16:creationId xmlns:a16="http://schemas.microsoft.com/office/drawing/2014/main" id="{8DD70102-2C40-B5AF-A8EA-AEAC52543BB8}"/>
                </a:ext>
              </a:extLst>
            </p:cNvPr>
            <p:cNvSpPr/>
            <p:nvPr/>
          </p:nvSpPr>
          <p:spPr>
            <a:xfrm>
              <a:off x="7681221" y="2849256"/>
              <a:ext cx="10570" cy="5064"/>
            </a:xfrm>
            <a:custGeom>
              <a:avLst/>
              <a:gdLst/>
              <a:ahLst/>
              <a:cxnLst/>
              <a:rect l="l" t="t" r="r" b="b"/>
              <a:pathLst>
                <a:path w="215" h="103" extrusionOk="0">
                  <a:moveTo>
                    <a:pt x="195" y="0"/>
                  </a:moveTo>
                  <a:cubicBezTo>
                    <a:pt x="175" y="0"/>
                    <a:pt x="138" y="12"/>
                    <a:pt x="97" y="32"/>
                  </a:cubicBezTo>
                  <a:cubicBezTo>
                    <a:pt x="40" y="54"/>
                    <a:pt x="0" y="84"/>
                    <a:pt x="4" y="98"/>
                  </a:cubicBezTo>
                  <a:cubicBezTo>
                    <a:pt x="6" y="101"/>
                    <a:pt x="10" y="103"/>
                    <a:pt x="17" y="103"/>
                  </a:cubicBezTo>
                  <a:cubicBezTo>
                    <a:pt x="36" y="103"/>
                    <a:pt x="72" y="91"/>
                    <a:pt x="115" y="71"/>
                  </a:cubicBezTo>
                  <a:cubicBezTo>
                    <a:pt x="175" y="45"/>
                    <a:pt x="214" y="14"/>
                    <a:pt x="210" y="5"/>
                  </a:cubicBezTo>
                  <a:cubicBezTo>
                    <a:pt x="208" y="2"/>
                    <a:pt x="203" y="0"/>
                    <a:pt x="195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398;p48">
              <a:extLst>
                <a:ext uri="{FF2B5EF4-FFF2-40B4-BE49-F238E27FC236}">
                  <a16:creationId xmlns:a16="http://schemas.microsoft.com/office/drawing/2014/main" id="{222ADF91-11D5-ED61-D9E3-53D726133FD4}"/>
                </a:ext>
              </a:extLst>
            </p:cNvPr>
            <p:cNvSpPr/>
            <p:nvPr/>
          </p:nvSpPr>
          <p:spPr>
            <a:xfrm>
              <a:off x="7700345" y="2836326"/>
              <a:ext cx="9292" cy="7374"/>
            </a:xfrm>
            <a:custGeom>
              <a:avLst/>
              <a:gdLst/>
              <a:ahLst/>
              <a:cxnLst/>
              <a:rect l="l" t="t" r="r" b="b"/>
              <a:pathLst>
                <a:path w="189" h="150" extrusionOk="0">
                  <a:moveTo>
                    <a:pt x="174" y="0"/>
                  </a:moveTo>
                  <a:cubicBezTo>
                    <a:pt x="158" y="0"/>
                    <a:pt x="120" y="20"/>
                    <a:pt x="79" y="54"/>
                  </a:cubicBezTo>
                  <a:cubicBezTo>
                    <a:pt x="31" y="98"/>
                    <a:pt x="0" y="137"/>
                    <a:pt x="9" y="146"/>
                  </a:cubicBezTo>
                  <a:cubicBezTo>
                    <a:pt x="10" y="148"/>
                    <a:pt x="13" y="149"/>
                    <a:pt x="17" y="149"/>
                  </a:cubicBezTo>
                  <a:cubicBezTo>
                    <a:pt x="34" y="149"/>
                    <a:pt x="70" y="126"/>
                    <a:pt x="109" y="93"/>
                  </a:cubicBezTo>
                  <a:cubicBezTo>
                    <a:pt x="158" y="50"/>
                    <a:pt x="188" y="10"/>
                    <a:pt x="180" y="2"/>
                  </a:cubicBezTo>
                  <a:cubicBezTo>
                    <a:pt x="178" y="1"/>
                    <a:pt x="176" y="0"/>
                    <a:pt x="174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399;p48">
              <a:extLst>
                <a:ext uri="{FF2B5EF4-FFF2-40B4-BE49-F238E27FC236}">
                  <a16:creationId xmlns:a16="http://schemas.microsoft.com/office/drawing/2014/main" id="{9FE5A61D-C4F0-DE48-FF68-BBC7EADB4582}"/>
                </a:ext>
              </a:extLst>
            </p:cNvPr>
            <p:cNvSpPr/>
            <p:nvPr/>
          </p:nvSpPr>
          <p:spPr>
            <a:xfrm>
              <a:off x="7715782" y="2818726"/>
              <a:ext cx="7178" cy="9390"/>
            </a:xfrm>
            <a:custGeom>
              <a:avLst/>
              <a:gdLst/>
              <a:ahLst/>
              <a:cxnLst/>
              <a:rect l="l" t="t" r="r" b="b"/>
              <a:pathLst>
                <a:path w="146" h="191" extrusionOk="0">
                  <a:moveTo>
                    <a:pt x="134" y="1"/>
                  </a:moveTo>
                  <a:cubicBezTo>
                    <a:pt x="120" y="1"/>
                    <a:pt x="86" y="35"/>
                    <a:pt x="53" y="84"/>
                  </a:cubicBezTo>
                  <a:cubicBezTo>
                    <a:pt x="23" y="137"/>
                    <a:pt x="1" y="181"/>
                    <a:pt x="15" y="189"/>
                  </a:cubicBezTo>
                  <a:cubicBezTo>
                    <a:pt x="15" y="190"/>
                    <a:pt x="17" y="191"/>
                    <a:pt x="18" y="191"/>
                  </a:cubicBezTo>
                  <a:cubicBezTo>
                    <a:pt x="30" y="191"/>
                    <a:pt x="61" y="157"/>
                    <a:pt x="93" y="110"/>
                  </a:cubicBezTo>
                  <a:cubicBezTo>
                    <a:pt x="128" y="58"/>
                    <a:pt x="146" y="11"/>
                    <a:pt x="136" y="1"/>
                  </a:cubicBezTo>
                  <a:cubicBezTo>
                    <a:pt x="136" y="1"/>
                    <a:pt x="135" y="1"/>
                    <a:pt x="134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" name="Google Shape;3400;p48">
              <a:extLst>
                <a:ext uri="{FF2B5EF4-FFF2-40B4-BE49-F238E27FC236}">
                  <a16:creationId xmlns:a16="http://schemas.microsoft.com/office/drawing/2014/main" id="{7D8CDE4E-FE79-12CA-7901-967B2C67E8FB}"/>
                </a:ext>
              </a:extLst>
            </p:cNvPr>
            <p:cNvSpPr/>
            <p:nvPr/>
          </p:nvSpPr>
          <p:spPr>
            <a:xfrm>
              <a:off x="7726107" y="2805009"/>
              <a:ext cx="2851" cy="3736"/>
            </a:xfrm>
            <a:custGeom>
              <a:avLst/>
              <a:gdLst/>
              <a:ahLst/>
              <a:cxnLst/>
              <a:rect l="l" t="t" r="r" b="b"/>
              <a:pathLst>
                <a:path w="58" h="76" extrusionOk="0">
                  <a:moveTo>
                    <a:pt x="36" y="0"/>
                  </a:moveTo>
                  <a:cubicBezTo>
                    <a:pt x="26" y="0"/>
                    <a:pt x="13" y="13"/>
                    <a:pt x="5" y="32"/>
                  </a:cubicBezTo>
                  <a:cubicBezTo>
                    <a:pt x="1" y="54"/>
                    <a:pt x="5" y="70"/>
                    <a:pt x="19" y="75"/>
                  </a:cubicBezTo>
                  <a:cubicBezTo>
                    <a:pt x="20" y="75"/>
                    <a:pt x="22" y="76"/>
                    <a:pt x="24" y="76"/>
                  </a:cubicBezTo>
                  <a:cubicBezTo>
                    <a:pt x="35" y="76"/>
                    <a:pt x="46" y="63"/>
                    <a:pt x="53" y="44"/>
                  </a:cubicBezTo>
                  <a:cubicBezTo>
                    <a:pt x="57" y="27"/>
                    <a:pt x="53" y="5"/>
                    <a:pt x="41" y="1"/>
                  </a:cubicBezTo>
                  <a:cubicBezTo>
                    <a:pt x="39" y="1"/>
                    <a:pt x="38" y="0"/>
                    <a:pt x="36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" name="Google Shape;3401;p48">
              <a:extLst>
                <a:ext uri="{FF2B5EF4-FFF2-40B4-BE49-F238E27FC236}">
                  <a16:creationId xmlns:a16="http://schemas.microsoft.com/office/drawing/2014/main" id="{83476669-D4F7-3FD1-BD7F-ACA9226DF2C4}"/>
                </a:ext>
              </a:extLst>
            </p:cNvPr>
            <p:cNvSpPr/>
            <p:nvPr/>
          </p:nvSpPr>
          <p:spPr>
            <a:xfrm>
              <a:off x="7659294" y="2889275"/>
              <a:ext cx="2606" cy="10963"/>
            </a:xfrm>
            <a:custGeom>
              <a:avLst/>
              <a:gdLst/>
              <a:ahLst/>
              <a:cxnLst/>
              <a:rect l="l" t="t" r="r" b="b"/>
              <a:pathLst>
                <a:path w="53" h="223" extrusionOk="0">
                  <a:moveTo>
                    <a:pt x="31" y="0"/>
                  </a:moveTo>
                  <a:cubicBezTo>
                    <a:pt x="18" y="0"/>
                    <a:pt x="5" y="48"/>
                    <a:pt x="0" y="109"/>
                  </a:cubicBezTo>
                  <a:cubicBezTo>
                    <a:pt x="0" y="170"/>
                    <a:pt x="10" y="222"/>
                    <a:pt x="22" y="222"/>
                  </a:cubicBezTo>
                  <a:cubicBezTo>
                    <a:pt x="36" y="222"/>
                    <a:pt x="49" y="175"/>
                    <a:pt x="49" y="109"/>
                  </a:cubicBezTo>
                  <a:cubicBezTo>
                    <a:pt x="53" y="48"/>
                    <a:pt x="44" y="0"/>
                    <a:pt x="3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402;p48">
              <a:extLst>
                <a:ext uri="{FF2B5EF4-FFF2-40B4-BE49-F238E27FC236}">
                  <a16:creationId xmlns:a16="http://schemas.microsoft.com/office/drawing/2014/main" id="{5433A033-ADAA-F978-755E-4D8B66043B08}"/>
                </a:ext>
              </a:extLst>
            </p:cNvPr>
            <p:cNvSpPr/>
            <p:nvPr/>
          </p:nvSpPr>
          <p:spPr>
            <a:xfrm>
              <a:off x="7658655" y="2911152"/>
              <a:ext cx="2458" cy="11012"/>
            </a:xfrm>
            <a:custGeom>
              <a:avLst/>
              <a:gdLst/>
              <a:ahLst/>
              <a:cxnLst/>
              <a:rect l="l" t="t" r="r" b="b"/>
              <a:pathLst>
                <a:path w="50" h="224" extrusionOk="0">
                  <a:moveTo>
                    <a:pt x="27" y="1"/>
                  </a:moveTo>
                  <a:cubicBezTo>
                    <a:pt x="13" y="1"/>
                    <a:pt x="1" y="53"/>
                    <a:pt x="1" y="114"/>
                  </a:cubicBezTo>
                  <a:cubicBezTo>
                    <a:pt x="1" y="176"/>
                    <a:pt x="9" y="223"/>
                    <a:pt x="18" y="223"/>
                  </a:cubicBezTo>
                  <a:cubicBezTo>
                    <a:pt x="18" y="223"/>
                    <a:pt x="19" y="223"/>
                    <a:pt x="20" y="223"/>
                  </a:cubicBezTo>
                  <a:cubicBezTo>
                    <a:pt x="32" y="223"/>
                    <a:pt x="44" y="173"/>
                    <a:pt x="49" y="114"/>
                  </a:cubicBezTo>
                  <a:cubicBezTo>
                    <a:pt x="49" y="53"/>
                    <a:pt x="40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403;p48">
              <a:extLst>
                <a:ext uri="{FF2B5EF4-FFF2-40B4-BE49-F238E27FC236}">
                  <a16:creationId xmlns:a16="http://schemas.microsoft.com/office/drawing/2014/main" id="{727274B5-4DD1-F65E-5870-E90CED4A63B2}"/>
                </a:ext>
              </a:extLst>
            </p:cNvPr>
            <p:cNvSpPr/>
            <p:nvPr/>
          </p:nvSpPr>
          <p:spPr>
            <a:xfrm>
              <a:off x="7657819" y="2933276"/>
              <a:ext cx="2606" cy="11062"/>
            </a:xfrm>
            <a:custGeom>
              <a:avLst/>
              <a:gdLst/>
              <a:ahLst/>
              <a:cxnLst/>
              <a:rect l="l" t="t" r="r" b="b"/>
              <a:pathLst>
                <a:path w="53" h="225" extrusionOk="0">
                  <a:moveTo>
                    <a:pt x="30" y="1"/>
                  </a:moveTo>
                  <a:cubicBezTo>
                    <a:pt x="18" y="1"/>
                    <a:pt x="4" y="49"/>
                    <a:pt x="4" y="110"/>
                  </a:cubicBezTo>
                  <a:cubicBezTo>
                    <a:pt x="0" y="172"/>
                    <a:pt x="8" y="224"/>
                    <a:pt x="22" y="224"/>
                  </a:cubicBezTo>
                  <a:cubicBezTo>
                    <a:pt x="35" y="224"/>
                    <a:pt x="48" y="176"/>
                    <a:pt x="48" y="114"/>
                  </a:cubicBezTo>
                  <a:cubicBezTo>
                    <a:pt x="52" y="49"/>
                    <a:pt x="44" y="1"/>
                    <a:pt x="30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" name="Google Shape;3404;p48">
              <a:extLst>
                <a:ext uri="{FF2B5EF4-FFF2-40B4-BE49-F238E27FC236}">
                  <a16:creationId xmlns:a16="http://schemas.microsoft.com/office/drawing/2014/main" id="{11C74507-B489-F599-0981-46382CEFE49B}"/>
                </a:ext>
              </a:extLst>
            </p:cNvPr>
            <p:cNvSpPr/>
            <p:nvPr/>
          </p:nvSpPr>
          <p:spPr>
            <a:xfrm>
              <a:off x="7657180" y="2955202"/>
              <a:ext cx="2360" cy="11258"/>
            </a:xfrm>
            <a:custGeom>
              <a:avLst/>
              <a:gdLst/>
              <a:ahLst/>
              <a:cxnLst/>
              <a:rect l="l" t="t" r="r" b="b"/>
              <a:pathLst>
                <a:path w="48" h="229" extrusionOk="0">
                  <a:moveTo>
                    <a:pt x="27" y="0"/>
                  </a:moveTo>
                  <a:cubicBezTo>
                    <a:pt x="17" y="0"/>
                    <a:pt x="5" y="53"/>
                    <a:pt x="0" y="114"/>
                  </a:cubicBezTo>
                  <a:cubicBezTo>
                    <a:pt x="0" y="176"/>
                    <a:pt x="9" y="228"/>
                    <a:pt x="21" y="228"/>
                  </a:cubicBezTo>
                  <a:cubicBezTo>
                    <a:pt x="35" y="228"/>
                    <a:pt x="48" y="176"/>
                    <a:pt x="48" y="114"/>
                  </a:cubicBezTo>
                  <a:cubicBezTo>
                    <a:pt x="48" y="53"/>
                    <a:pt x="39" y="0"/>
                    <a:pt x="2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" name="Google Shape;3405;p48">
              <a:extLst>
                <a:ext uri="{FF2B5EF4-FFF2-40B4-BE49-F238E27FC236}">
                  <a16:creationId xmlns:a16="http://schemas.microsoft.com/office/drawing/2014/main" id="{E7388B6A-4595-69CF-FE5D-40C334B0A467}"/>
                </a:ext>
              </a:extLst>
            </p:cNvPr>
            <p:cNvSpPr/>
            <p:nvPr/>
          </p:nvSpPr>
          <p:spPr>
            <a:xfrm>
              <a:off x="7656492" y="2977326"/>
              <a:ext cx="2458" cy="11012"/>
            </a:xfrm>
            <a:custGeom>
              <a:avLst/>
              <a:gdLst/>
              <a:ahLst/>
              <a:cxnLst/>
              <a:rect l="l" t="t" r="r" b="b"/>
              <a:pathLst>
                <a:path w="50" h="224" extrusionOk="0">
                  <a:moveTo>
                    <a:pt x="27" y="0"/>
                  </a:moveTo>
                  <a:cubicBezTo>
                    <a:pt x="14" y="0"/>
                    <a:pt x="5" y="49"/>
                    <a:pt x="1" y="110"/>
                  </a:cubicBezTo>
                  <a:cubicBezTo>
                    <a:pt x="1" y="176"/>
                    <a:pt x="9" y="224"/>
                    <a:pt x="23" y="224"/>
                  </a:cubicBezTo>
                  <a:cubicBezTo>
                    <a:pt x="35" y="224"/>
                    <a:pt x="45" y="176"/>
                    <a:pt x="49" y="115"/>
                  </a:cubicBezTo>
                  <a:cubicBezTo>
                    <a:pt x="49" y="53"/>
                    <a:pt x="41" y="0"/>
                    <a:pt x="2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" name="Google Shape;3406;p48">
              <a:extLst>
                <a:ext uri="{FF2B5EF4-FFF2-40B4-BE49-F238E27FC236}">
                  <a16:creationId xmlns:a16="http://schemas.microsoft.com/office/drawing/2014/main" id="{E53E4DB6-5D42-E402-BB9D-CEBB380812A4}"/>
                </a:ext>
              </a:extLst>
            </p:cNvPr>
            <p:cNvSpPr/>
            <p:nvPr/>
          </p:nvSpPr>
          <p:spPr>
            <a:xfrm>
              <a:off x="7655902" y="2999449"/>
              <a:ext cx="2360" cy="11012"/>
            </a:xfrm>
            <a:custGeom>
              <a:avLst/>
              <a:gdLst/>
              <a:ahLst/>
              <a:cxnLst/>
              <a:rect l="l" t="t" r="r" b="b"/>
              <a:pathLst>
                <a:path w="48" h="224" extrusionOk="0">
                  <a:moveTo>
                    <a:pt x="25" y="0"/>
                  </a:moveTo>
                  <a:cubicBezTo>
                    <a:pt x="12" y="0"/>
                    <a:pt x="0" y="51"/>
                    <a:pt x="0" y="111"/>
                  </a:cubicBezTo>
                  <a:cubicBezTo>
                    <a:pt x="0" y="171"/>
                    <a:pt x="9" y="224"/>
                    <a:pt x="21" y="224"/>
                  </a:cubicBezTo>
                  <a:cubicBezTo>
                    <a:pt x="31" y="224"/>
                    <a:pt x="43" y="176"/>
                    <a:pt x="47" y="111"/>
                  </a:cubicBezTo>
                  <a:cubicBezTo>
                    <a:pt x="47" y="49"/>
                    <a:pt x="39" y="0"/>
                    <a:pt x="26" y="0"/>
                  </a:cubicBezTo>
                  <a:cubicBezTo>
                    <a:pt x="26" y="0"/>
                    <a:pt x="25" y="0"/>
                    <a:pt x="25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" name="Google Shape;3407;p48">
              <a:extLst>
                <a:ext uri="{FF2B5EF4-FFF2-40B4-BE49-F238E27FC236}">
                  <a16:creationId xmlns:a16="http://schemas.microsoft.com/office/drawing/2014/main" id="{2FDA05B1-5F68-DDD1-50F0-36F57C0B4BF1}"/>
                </a:ext>
              </a:extLst>
            </p:cNvPr>
            <p:cNvSpPr/>
            <p:nvPr/>
          </p:nvSpPr>
          <p:spPr>
            <a:xfrm>
              <a:off x="7655017" y="3021376"/>
              <a:ext cx="2606" cy="11012"/>
            </a:xfrm>
            <a:custGeom>
              <a:avLst/>
              <a:gdLst/>
              <a:ahLst/>
              <a:cxnLst/>
              <a:rect l="l" t="t" r="r" b="b"/>
              <a:pathLst>
                <a:path w="53" h="224" extrusionOk="0">
                  <a:moveTo>
                    <a:pt x="31" y="0"/>
                  </a:moveTo>
                  <a:cubicBezTo>
                    <a:pt x="18" y="0"/>
                    <a:pt x="5" y="48"/>
                    <a:pt x="5" y="114"/>
                  </a:cubicBezTo>
                  <a:cubicBezTo>
                    <a:pt x="0" y="175"/>
                    <a:pt x="13" y="224"/>
                    <a:pt x="22" y="224"/>
                  </a:cubicBezTo>
                  <a:cubicBezTo>
                    <a:pt x="23" y="224"/>
                    <a:pt x="23" y="224"/>
                    <a:pt x="24" y="224"/>
                  </a:cubicBezTo>
                  <a:cubicBezTo>
                    <a:pt x="36" y="224"/>
                    <a:pt x="49" y="173"/>
                    <a:pt x="53" y="114"/>
                  </a:cubicBezTo>
                  <a:cubicBezTo>
                    <a:pt x="53" y="53"/>
                    <a:pt x="44" y="0"/>
                    <a:pt x="3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3408;p48">
              <a:extLst>
                <a:ext uri="{FF2B5EF4-FFF2-40B4-BE49-F238E27FC236}">
                  <a16:creationId xmlns:a16="http://schemas.microsoft.com/office/drawing/2014/main" id="{B001D0BD-0FE9-4974-5AAC-6CF09882695E}"/>
                </a:ext>
              </a:extLst>
            </p:cNvPr>
            <p:cNvSpPr/>
            <p:nvPr/>
          </p:nvSpPr>
          <p:spPr>
            <a:xfrm>
              <a:off x="7654329" y="3043549"/>
              <a:ext cx="2655" cy="10963"/>
            </a:xfrm>
            <a:custGeom>
              <a:avLst/>
              <a:gdLst/>
              <a:ahLst/>
              <a:cxnLst/>
              <a:rect l="l" t="t" r="r" b="b"/>
              <a:pathLst>
                <a:path w="54" h="223" extrusionOk="0">
                  <a:moveTo>
                    <a:pt x="32" y="0"/>
                  </a:moveTo>
                  <a:cubicBezTo>
                    <a:pt x="19" y="0"/>
                    <a:pt x="6" y="47"/>
                    <a:pt x="6" y="109"/>
                  </a:cubicBezTo>
                  <a:cubicBezTo>
                    <a:pt x="1" y="170"/>
                    <a:pt x="14" y="222"/>
                    <a:pt x="23" y="222"/>
                  </a:cubicBezTo>
                  <a:cubicBezTo>
                    <a:pt x="36" y="222"/>
                    <a:pt x="49" y="174"/>
                    <a:pt x="53" y="113"/>
                  </a:cubicBezTo>
                  <a:cubicBezTo>
                    <a:pt x="53" y="47"/>
                    <a:pt x="45" y="0"/>
                    <a:pt x="32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" name="Google Shape;3409;p48">
              <a:extLst>
                <a:ext uri="{FF2B5EF4-FFF2-40B4-BE49-F238E27FC236}">
                  <a16:creationId xmlns:a16="http://schemas.microsoft.com/office/drawing/2014/main" id="{FD70CC30-3CA4-8D2A-C0D4-29B788DB5E2C}"/>
                </a:ext>
              </a:extLst>
            </p:cNvPr>
            <p:cNvSpPr/>
            <p:nvPr/>
          </p:nvSpPr>
          <p:spPr>
            <a:xfrm>
              <a:off x="7653936" y="3065426"/>
              <a:ext cx="2409" cy="11209"/>
            </a:xfrm>
            <a:custGeom>
              <a:avLst/>
              <a:gdLst/>
              <a:ahLst/>
              <a:cxnLst/>
              <a:rect l="l" t="t" r="r" b="b"/>
              <a:pathLst>
                <a:path w="49" h="228" extrusionOk="0">
                  <a:moveTo>
                    <a:pt x="27" y="1"/>
                  </a:moveTo>
                  <a:cubicBezTo>
                    <a:pt x="14" y="1"/>
                    <a:pt x="0" y="53"/>
                    <a:pt x="0" y="114"/>
                  </a:cubicBezTo>
                  <a:cubicBezTo>
                    <a:pt x="0" y="175"/>
                    <a:pt x="9" y="227"/>
                    <a:pt x="22" y="227"/>
                  </a:cubicBezTo>
                  <a:cubicBezTo>
                    <a:pt x="35" y="227"/>
                    <a:pt x="44" y="175"/>
                    <a:pt x="49" y="114"/>
                  </a:cubicBezTo>
                  <a:cubicBezTo>
                    <a:pt x="49" y="53"/>
                    <a:pt x="40" y="5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" name="Google Shape;3410;p48">
              <a:extLst>
                <a:ext uri="{FF2B5EF4-FFF2-40B4-BE49-F238E27FC236}">
                  <a16:creationId xmlns:a16="http://schemas.microsoft.com/office/drawing/2014/main" id="{730391B4-52E6-D797-C282-28DBB13B1602}"/>
                </a:ext>
              </a:extLst>
            </p:cNvPr>
            <p:cNvSpPr/>
            <p:nvPr/>
          </p:nvSpPr>
          <p:spPr>
            <a:xfrm>
              <a:off x="7653296" y="3087550"/>
              <a:ext cx="2360" cy="11209"/>
            </a:xfrm>
            <a:custGeom>
              <a:avLst/>
              <a:gdLst/>
              <a:ahLst/>
              <a:cxnLst/>
              <a:rect l="l" t="t" r="r" b="b"/>
              <a:pathLst>
                <a:path w="48" h="228" extrusionOk="0">
                  <a:moveTo>
                    <a:pt x="27" y="1"/>
                  </a:moveTo>
                  <a:cubicBezTo>
                    <a:pt x="13" y="1"/>
                    <a:pt x="1" y="53"/>
                    <a:pt x="1" y="114"/>
                  </a:cubicBezTo>
                  <a:cubicBezTo>
                    <a:pt x="1" y="175"/>
                    <a:pt x="9" y="223"/>
                    <a:pt x="22" y="227"/>
                  </a:cubicBezTo>
                  <a:cubicBezTo>
                    <a:pt x="35" y="227"/>
                    <a:pt x="44" y="175"/>
                    <a:pt x="48" y="114"/>
                  </a:cubicBezTo>
                  <a:cubicBezTo>
                    <a:pt x="48" y="53"/>
                    <a:pt x="40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4" name="Google Shape;3411;p48">
              <a:extLst>
                <a:ext uri="{FF2B5EF4-FFF2-40B4-BE49-F238E27FC236}">
                  <a16:creationId xmlns:a16="http://schemas.microsoft.com/office/drawing/2014/main" id="{E23FD02D-3019-8352-1751-3F31AE36F21D}"/>
                </a:ext>
              </a:extLst>
            </p:cNvPr>
            <p:cNvSpPr/>
            <p:nvPr/>
          </p:nvSpPr>
          <p:spPr>
            <a:xfrm>
              <a:off x="7652657" y="3109673"/>
              <a:ext cx="2409" cy="11012"/>
            </a:xfrm>
            <a:custGeom>
              <a:avLst/>
              <a:gdLst/>
              <a:ahLst/>
              <a:cxnLst/>
              <a:rect l="l" t="t" r="r" b="b"/>
              <a:pathLst>
                <a:path w="49" h="224" extrusionOk="0">
                  <a:moveTo>
                    <a:pt x="26" y="1"/>
                  </a:moveTo>
                  <a:cubicBezTo>
                    <a:pt x="14" y="1"/>
                    <a:pt x="4" y="49"/>
                    <a:pt x="0" y="110"/>
                  </a:cubicBezTo>
                  <a:cubicBezTo>
                    <a:pt x="0" y="176"/>
                    <a:pt x="9" y="223"/>
                    <a:pt x="22" y="223"/>
                  </a:cubicBezTo>
                  <a:cubicBezTo>
                    <a:pt x="35" y="223"/>
                    <a:pt x="48" y="176"/>
                    <a:pt x="48" y="114"/>
                  </a:cubicBezTo>
                  <a:cubicBezTo>
                    <a:pt x="48" y="53"/>
                    <a:pt x="40" y="1"/>
                    <a:pt x="2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5" name="Google Shape;3412;p48">
              <a:extLst>
                <a:ext uri="{FF2B5EF4-FFF2-40B4-BE49-F238E27FC236}">
                  <a16:creationId xmlns:a16="http://schemas.microsoft.com/office/drawing/2014/main" id="{5248CAB7-B56B-D872-7BE9-33DA19094C03}"/>
                </a:ext>
              </a:extLst>
            </p:cNvPr>
            <p:cNvSpPr/>
            <p:nvPr/>
          </p:nvSpPr>
          <p:spPr>
            <a:xfrm>
              <a:off x="7652018" y="3131796"/>
              <a:ext cx="2606" cy="11062"/>
            </a:xfrm>
            <a:custGeom>
              <a:avLst/>
              <a:gdLst/>
              <a:ahLst/>
              <a:cxnLst/>
              <a:rect l="l" t="t" r="r" b="b"/>
              <a:pathLst>
                <a:path w="53" h="225" extrusionOk="0">
                  <a:moveTo>
                    <a:pt x="31" y="1"/>
                  </a:moveTo>
                  <a:cubicBezTo>
                    <a:pt x="17" y="1"/>
                    <a:pt x="5" y="49"/>
                    <a:pt x="5" y="110"/>
                  </a:cubicBezTo>
                  <a:cubicBezTo>
                    <a:pt x="1" y="172"/>
                    <a:pt x="9" y="224"/>
                    <a:pt x="22" y="224"/>
                  </a:cubicBezTo>
                  <a:cubicBezTo>
                    <a:pt x="35" y="224"/>
                    <a:pt x="48" y="176"/>
                    <a:pt x="48" y="110"/>
                  </a:cubicBezTo>
                  <a:cubicBezTo>
                    <a:pt x="53" y="49"/>
                    <a:pt x="39" y="1"/>
                    <a:pt x="31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6" name="Google Shape;3413;p48">
              <a:extLst>
                <a:ext uri="{FF2B5EF4-FFF2-40B4-BE49-F238E27FC236}">
                  <a16:creationId xmlns:a16="http://schemas.microsoft.com/office/drawing/2014/main" id="{9932FB3D-CAE4-864E-6012-76D83985D91F}"/>
                </a:ext>
              </a:extLst>
            </p:cNvPr>
            <p:cNvSpPr/>
            <p:nvPr/>
          </p:nvSpPr>
          <p:spPr>
            <a:xfrm>
              <a:off x="7651330" y="3153723"/>
              <a:ext cx="2655" cy="11258"/>
            </a:xfrm>
            <a:custGeom>
              <a:avLst/>
              <a:gdLst/>
              <a:ahLst/>
              <a:cxnLst/>
              <a:rect l="l" t="t" r="r" b="b"/>
              <a:pathLst>
                <a:path w="54" h="229" extrusionOk="0">
                  <a:moveTo>
                    <a:pt x="31" y="0"/>
                  </a:moveTo>
                  <a:cubicBezTo>
                    <a:pt x="19" y="0"/>
                    <a:pt x="5" y="53"/>
                    <a:pt x="5" y="114"/>
                  </a:cubicBezTo>
                  <a:cubicBezTo>
                    <a:pt x="1" y="176"/>
                    <a:pt x="15" y="228"/>
                    <a:pt x="27" y="228"/>
                  </a:cubicBezTo>
                  <a:cubicBezTo>
                    <a:pt x="36" y="228"/>
                    <a:pt x="49" y="176"/>
                    <a:pt x="53" y="114"/>
                  </a:cubicBezTo>
                  <a:cubicBezTo>
                    <a:pt x="53" y="53"/>
                    <a:pt x="45" y="0"/>
                    <a:pt x="3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7" name="Google Shape;3414;p48">
              <a:extLst>
                <a:ext uri="{FF2B5EF4-FFF2-40B4-BE49-F238E27FC236}">
                  <a16:creationId xmlns:a16="http://schemas.microsoft.com/office/drawing/2014/main" id="{DCD5670B-F800-8FD3-07D9-0F3248B0731B}"/>
                </a:ext>
              </a:extLst>
            </p:cNvPr>
            <p:cNvSpPr/>
            <p:nvPr/>
          </p:nvSpPr>
          <p:spPr>
            <a:xfrm>
              <a:off x="7650937" y="3175847"/>
              <a:ext cx="2409" cy="11062"/>
            </a:xfrm>
            <a:custGeom>
              <a:avLst/>
              <a:gdLst/>
              <a:ahLst/>
              <a:cxnLst/>
              <a:rect l="l" t="t" r="r" b="b"/>
              <a:pathLst>
                <a:path w="49" h="225" extrusionOk="0">
                  <a:moveTo>
                    <a:pt x="27" y="0"/>
                  </a:moveTo>
                  <a:cubicBezTo>
                    <a:pt x="13" y="0"/>
                    <a:pt x="5" y="49"/>
                    <a:pt x="1" y="115"/>
                  </a:cubicBezTo>
                  <a:cubicBezTo>
                    <a:pt x="1" y="176"/>
                    <a:pt x="9" y="224"/>
                    <a:pt x="23" y="224"/>
                  </a:cubicBezTo>
                  <a:cubicBezTo>
                    <a:pt x="23" y="224"/>
                    <a:pt x="23" y="224"/>
                    <a:pt x="24" y="224"/>
                  </a:cubicBezTo>
                  <a:cubicBezTo>
                    <a:pt x="36" y="224"/>
                    <a:pt x="49" y="173"/>
                    <a:pt x="49" y="115"/>
                  </a:cubicBezTo>
                  <a:cubicBezTo>
                    <a:pt x="49" y="53"/>
                    <a:pt x="39" y="0"/>
                    <a:pt x="2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8" name="Google Shape;3415;p48">
              <a:extLst>
                <a:ext uri="{FF2B5EF4-FFF2-40B4-BE49-F238E27FC236}">
                  <a16:creationId xmlns:a16="http://schemas.microsoft.com/office/drawing/2014/main" id="{1C6E9585-935B-6A68-A00A-2ACF60597726}"/>
                </a:ext>
              </a:extLst>
            </p:cNvPr>
            <p:cNvSpPr/>
            <p:nvPr/>
          </p:nvSpPr>
          <p:spPr>
            <a:xfrm>
              <a:off x="7650248" y="3197970"/>
              <a:ext cx="2655" cy="11012"/>
            </a:xfrm>
            <a:custGeom>
              <a:avLst/>
              <a:gdLst/>
              <a:ahLst/>
              <a:cxnLst/>
              <a:rect l="l" t="t" r="r" b="b"/>
              <a:pathLst>
                <a:path w="54" h="224" extrusionOk="0">
                  <a:moveTo>
                    <a:pt x="31" y="0"/>
                  </a:moveTo>
                  <a:cubicBezTo>
                    <a:pt x="19" y="0"/>
                    <a:pt x="5" y="49"/>
                    <a:pt x="5" y="111"/>
                  </a:cubicBezTo>
                  <a:cubicBezTo>
                    <a:pt x="1" y="176"/>
                    <a:pt x="10" y="224"/>
                    <a:pt x="23" y="224"/>
                  </a:cubicBezTo>
                  <a:cubicBezTo>
                    <a:pt x="37" y="224"/>
                    <a:pt x="49" y="176"/>
                    <a:pt x="49" y="115"/>
                  </a:cubicBezTo>
                  <a:cubicBezTo>
                    <a:pt x="53" y="53"/>
                    <a:pt x="45" y="0"/>
                    <a:pt x="3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9" name="Google Shape;3416;p48">
              <a:extLst>
                <a:ext uri="{FF2B5EF4-FFF2-40B4-BE49-F238E27FC236}">
                  <a16:creationId xmlns:a16="http://schemas.microsoft.com/office/drawing/2014/main" id="{37CA08D8-75B0-4E45-2F1D-AC517198A40E}"/>
                </a:ext>
              </a:extLst>
            </p:cNvPr>
            <p:cNvSpPr/>
            <p:nvPr/>
          </p:nvSpPr>
          <p:spPr>
            <a:xfrm>
              <a:off x="7649855" y="3220143"/>
              <a:ext cx="2409" cy="10963"/>
            </a:xfrm>
            <a:custGeom>
              <a:avLst/>
              <a:gdLst/>
              <a:ahLst/>
              <a:cxnLst/>
              <a:rect l="l" t="t" r="r" b="b"/>
              <a:pathLst>
                <a:path w="49" h="223" extrusionOk="0">
                  <a:moveTo>
                    <a:pt x="27" y="0"/>
                  </a:moveTo>
                  <a:cubicBezTo>
                    <a:pt x="13" y="0"/>
                    <a:pt x="0" y="48"/>
                    <a:pt x="0" y="109"/>
                  </a:cubicBezTo>
                  <a:cubicBezTo>
                    <a:pt x="0" y="170"/>
                    <a:pt x="9" y="223"/>
                    <a:pt x="23" y="223"/>
                  </a:cubicBezTo>
                  <a:cubicBezTo>
                    <a:pt x="35" y="223"/>
                    <a:pt x="45" y="175"/>
                    <a:pt x="49" y="109"/>
                  </a:cubicBezTo>
                  <a:cubicBezTo>
                    <a:pt x="49" y="48"/>
                    <a:pt x="39" y="0"/>
                    <a:pt x="2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0" name="Google Shape;3417;p48">
              <a:extLst>
                <a:ext uri="{FF2B5EF4-FFF2-40B4-BE49-F238E27FC236}">
                  <a16:creationId xmlns:a16="http://schemas.microsoft.com/office/drawing/2014/main" id="{EED9F1D3-E3F5-B716-C9DA-57329DC9948E}"/>
                </a:ext>
              </a:extLst>
            </p:cNvPr>
            <p:cNvSpPr/>
            <p:nvPr/>
          </p:nvSpPr>
          <p:spPr>
            <a:xfrm>
              <a:off x="7649167" y="3242069"/>
              <a:ext cx="2655" cy="11160"/>
            </a:xfrm>
            <a:custGeom>
              <a:avLst/>
              <a:gdLst/>
              <a:ahLst/>
              <a:cxnLst/>
              <a:rect l="l" t="t" r="r" b="b"/>
              <a:pathLst>
                <a:path w="54" h="227" extrusionOk="0">
                  <a:moveTo>
                    <a:pt x="32" y="0"/>
                  </a:moveTo>
                  <a:cubicBezTo>
                    <a:pt x="19" y="0"/>
                    <a:pt x="6" y="53"/>
                    <a:pt x="6" y="113"/>
                  </a:cubicBezTo>
                  <a:cubicBezTo>
                    <a:pt x="1" y="174"/>
                    <a:pt x="10" y="227"/>
                    <a:pt x="23" y="227"/>
                  </a:cubicBezTo>
                  <a:cubicBezTo>
                    <a:pt x="37" y="227"/>
                    <a:pt x="49" y="174"/>
                    <a:pt x="49" y="113"/>
                  </a:cubicBezTo>
                  <a:cubicBezTo>
                    <a:pt x="53" y="53"/>
                    <a:pt x="45" y="4"/>
                    <a:pt x="32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1" name="Google Shape;3418;p48">
              <a:extLst>
                <a:ext uri="{FF2B5EF4-FFF2-40B4-BE49-F238E27FC236}">
                  <a16:creationId xmlns:a16="http://schemas.microsoft.com/office/drawing/2014/main" id="{1E6757B4-29FC-0235-B7F6-8498C6D8A88C}"/>
                </a:ext>
              </a:extLst>
            </p:cNvPr>
            <p:cNvSpPr/>
            <p:nvPr/>
          </p:nvSpPr>
          <p:spPr>
            <a:xfrm>
              <a:off x="7648773" y="3264193"/>
              <a:ext cx="2409" cy="11160"/>
            </a:xfrm>
            <a:custGeom>
              <a:avLst/>
              <a:gdLst/>
              <a:ahLst/>
              <a:cxnLst/>
              <a:rect l="l" t="t" r="r" b="b"/>
              <a:pathLst>
                <a:path w="49" h="227" extrusionOk="0">
                  <a:moveTo>
                    <a:pt x="27" y="0"/>
                  </a:moveTo>
                  <a:cubicBezTo>
                    <a:pt x="14" y="0"/>
                    <a:pt x="5" y="53"/>
                    <a:pt x="0" y="113"/>
                  </a:cubicBezTo>
                  <a:cubicBezTo>
                    <a:pt x="0" y="174"/>
                    <a:pt x="9" y="227"/>
                    <a:pt x="22" y="227"/>
                  </a:cubicBezTo>
                  <a:cubicBezTo>
                    <a:pt x="35" y="227"/>
                    <a:pt x="49" y="174"/>
                    <a:pt x="49" y="113"/>
                  </a:cubicBezTo>
                  <a:cubicBezTo>
                    <a:pt x="49" y="53"/>
                    <a:pt x="40" y="0"/>
                    <a:pt x="2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2" name="Google Shape;3419;p48">
              <a:extLst>
                <a:ext uri="{FF2B5EF4-FFF2-40B4-BE49-F238E27FC236}">
                  <a16:creationId xmlns:a16="http://schemas.microsoft.com/office/drawing/2014/main" id="{D7A69364-210D-E4BB-2B2D-AC517DE9FDD9}"/>
                </a:ext>
              </a:extLst>
            </p:cNvPr>
            <p:cNvSpPr/>
            <p:nvPr/>
          </p:nvSpPr>
          <p:spPr>
            <a:xfrm>
              <a:off x="7648134" y="3286316"/>
              <a:ext cx="2655" cy="11209"/>
            </a:xfrm>
            <a:custGeom>
              <a:avLst/>
              <a:gdLst/>
              <a:ahLst/>
              <a:cxnLst/>
              <a:rect l="l" t="t" r="r" b="b"/>
              <a:pathLst>
                <a:path w="54" h="228" extrusionOk="0">
                  <a:moveTo>
                    <a:pt x="31" y="0"/>
                  </a:moveTo>
                  <a:cubicBezTo>
                    <a:pt x="18" y="0"/>
                    <a:pt x="5" y="48"/>
                    <a:pt x="5" y="113"/>
                  </a:cubicBezTo>
                  <a:cubicBezTo>
                    <a:pt x="1" y="175"/>
                    <a:pt x="13" y="222"/>
                    <a:pt x="27" y="228"/>
                  </a:cubicBezTo>
                  <a:cubicBezTo>
                    <a:pt x="40" y="228"/>
                    <a:pt x="48" y="175"/>
                    <a:pt x="53" y="113"/>
                  </a:cubicBezTo>
                  <a:cubicBezTo>
                    <a:pt x="53" y="52"/>
                    <a:pt x="44" y="0"/>
                    <a:pt x="3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3" name="Google Shape;3420;p48">
              <a:extLst>
                <a:ext uri="{FF2B5EF4-FFF2-40B4-BE49-F238E27FC236}">
                  <a16:creationId xmlns:a16="http://schemas.microsoft.com/office/drawing/2014/main" id="{3C398A23-8B99-542B-6D42-DDB2F15D1EC3}"/>
                </a:ext>
              </a:extLst>
            </p:cNvPr>
            <p:cNvSpPr/>
            <p:nvPr/>
          </p:nvSpPr>
          <p:spPr>
            <a:xfrm>
              <a:off x="7647692" y="3308440"/>
              <a:ext cx="2409" cy="11012"/>
            </a:xfrm>
            <a:custGeom>
              <a:avLst/>
              <a:gdLst/>
              <a:ahLst/>
              <a:cxnLst/>
              <a:rect l="l" t="t" r="r" b="b"/>
              <a:pathLst>
                <a:path w="49" h="224" extrusionOk="0">
                  <a:moveTo>
                    <a:pt x="27" y="0"/>
                  </a:moveTo>
                  <a:cubicBezTo>
                    <a:pt x="14" y="0"/>
                    <a:pt x="5" y="48"/>
                    <a:pt x="0" y="113"/>
                  </a:cubicBezTo>
                  <a:cubicBezTo>
                    <a:pt x="0" y="175"/>
                    <a:pt x="10" y="223"/>
                    <a:pt x="22" y="223"/>
                  </a:cubicBezTo>
                  <a:cubicBezTo>
                    <a:pt x="36" y="223"/>
                    <a:pt x="49" y="175"/>
                    <a:pt x="49" y="113"/>
                  </a:cubicBezTo>
                  <a:cubicBezTo>
                    <a:pt x="49" y="52"/>
                    <a:pt x="40" y="0"/>
                    <a:pt x="2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4" name="Google Shape;3421;p48">
              <a:extLst>
                <a:ext uri="{FF2B5EF4-FFF2-40B4-BE49-F238E27FC236}">
                  <a16:creationId xmlns:a16="http://schemas.microsoft.com/office/drawing/2014/main" id="{EA29FFC3-D554-2D00-B139-732846200541}"/>
                </a:ext>
              </a:extLst>
            </p:cNvPr>
            <p:cNvSpPr/>
            <p:nvPr/>
          </p:nvSpPr>
          <p:spPr>
            <a:xfrm>
              <a:off x="7647299" y="3330514"/>
              <a:ext cx="2409" cy="11062"/>
            </a:xfrm>
            <a:custGeom>
              <a:avLst/>
              <a:gdLst/>
              <a:ahLst/>
              <a:cxnLst/>
              <a:rect l="l" t="t" r="r" b="b"/>
              <a:pathLst>
                <a:path w="49" h="225" extrusionOk="0">
                  <a:moveTo>
                    <a:pt x="26" y="1"/>
                  </a:moveTo>
                  <a:cubicBezTo>
                    <a:pt x="13" y="1"/>
                    <a:pt x="0" y="49"/>
                    <a:pt x="0" y="110"/>
                  </a:cubicBezTo>
                  <a:cubicBezTo>
                    <a:pt x="0" y="176"/>
                    <a:pt x="8" y="224"/>
                    <a:pt x="22" y="224"/>
                  </a:cubicBezTo>
                  <a:cubicBezTo>
                    <a:pt x="35" y="224"/>
                    <a:pt x="48" y="176"/>
                    <a:pt x="48" y="115"/>
                  </a:cubicBezTo>
                  <a:cubicBezTo>
                    <a:pt x="48" y="49"/>
                    <a:pt x="39" y="1"/>
                    <a:pt x="2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5" name="Google Shape;3422;p48">
              <a:extLst>
                <a:ext uri="{FF2B5EF4-FFF2-40B4-BE49-F238E27FC236}">
                  <a16:creationId xmlns:a16="http://schemas.microsoft.com/office/drawing/2014/main" id="{870B5124-669E-8081-3859-48E720A2FC6A}"/>
                </a:ext>
              </a:extLst>
            </p:cNvPr>
            <p:cNvSpPr/>
            <p:nvPr/>
          </p:nvSpPr>
          <p:spPr>
            <a:xfrm>
              <a:off x="7646856" y="3352637"/>
              <a:ext cx="2360" cy="11062"/>
            </a:xfrm>
            <a:custGeom>
              <a:avLst/>
              <a:gdLst/>
              <a:ahLst/>
              <a:cxnLst/>
              <a:rect l="l" t="t" r="r" b="b"/>
              <a:pathLst>
                <a:path w="48" h="225" extrusionOk="0">
                  <a:moveTo>
                    <a:pt x="27" y="1"/>
                  </a:moveTo>
                  <a:cubicBezTo>
                    <a:pt x="13" y="1"/>
                    <a:pt x="1" y="49"/>
                    <a:pt x="1" y="111"/>
                  </a:cubicBezTo>
                  <a:cubicBezTo>
                    <a:pt x="1" y="172"/>
                    <a:pt x="9" y="224"/>
                    <a:pt x="22" y="224"/>
                  </a:cubicBezTo>
                  <a:cubicBezTo>
                    <a:pt x="35" y="224"/>
                    <a:pt x="44" y="176"/>
                    <a:pt x="48" y="111"/>
                  </a:cubicBezTo>
                  <a:cubicBezTo>
                    <a:pt x="48" y="49"/>
                    <a:pt x="39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6" name="Google Shape;3423;p48">
              <a:extLst>
                <a:ext uri="{FF2B5EF4-FFF2-40B4-BE49-F238E27FC236}">
                  <a16:creationId xmlns:a16="http://schemas.microsoft.com/office/drawing/2014/main" id="{D7EB1AB3-0094-1AA2-E2B8-876DE195BBAE}"/>
                </a:ext>
              </a:extLst>
            </p:cNvPr>
            <p:cNvSpPr/>
            <p:nvPr/>
          </p:nvSpPr>
          <p:spPr>
            <a:xfrm>
              <a:off x="7646217" y="3374810"/>
              <a:ext cx="2606" cy="11012"/>
            </a:xfrm>
            <a:custGeom>
              <a:avLst/>
              <a:gdLst/>
              <a:ahLst/>
              <a:cxnLst/>
              <a:rect l="l" t="t" r="r" b="b"/>
              <a:pathLst>
                <a:path w="53" h="224" extrusionOk="0">
                  <a:moveTo>
                    <a:pt x="29" y="1"/>
                  </a:moveTo>
                  <a:cubicBezTo>
                    <a:pt x="17" y="1"/>
                    <a:pt x="4" y="51"/>
                    <a:pt x="4" y="110"/>
                  </a:cubicBezTo>
                  <a:cubicBezTo>
                    <a:pt x="0" y="171"/>
                    <a:pt x="14" y="223"/>
                    <a:pt x="26" y="223"/>
                  </a:cubicBezTo>
                  <a:cubicBezTo>
                    <a:pt x="35" y="223"/>
                    <a:pt x="48" y="175"/>
                    <a:pt x="48" y="110"/>
                  </a:cubicBezTo>
                  <a:cubicBezTo>
                    <a:pt x="52" y="48"/>
                    <a:pt x="44" y="1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7" name="Google Shape;3424;p48">
              <a:extLst>
                <a:ext uri="{FF2B5EF4-FFF2-40B4-BE49-F238E27FC236}">
                  <a16:creationId xmlns:a16="http://schemas.microsoft.com/office/drawing/2014/main" id="{F336EAD7-83E8-F187-D2BB-FE1BDBF215F5}"/>
                </a:ext>
              </a:extLst>
            </p:cNvPr>
            <p:cNvSpPr/>
            <p:nvPr/>
          </p:nvSpPr>
          <p:spPr>
            <a:xfrm>
              <a:off x="7645775" y="3396737"/>
              <a:ext cx="2655" cy="11209"/>
            </a:xfrm>
            <a:custGeom>
              <a:avLst/>
              <a:gdLst/>
              <a:ahLst/>
              <a:cxnLst/>
              <a:rect l="l" t="t" r="r" b="b"/>
              <a:pathLst>
                <a:path w="54" h="228" extrusionOk="0">
                  <a:moveTo>
                    <a:pt x="27" y="1"/>
                  </a:moveTo>
                  <a:cubicBezTo>
                    <a:pt x="13" y="1"/>
                    <a:pt x="5" y="53"/>
                    <a:pt x="5" y="114"/>
                  </a:cubicBezTo>
                  <a:cubicBezTo>
                    <a:pt x="1" y="175"/>
                    <a:pt x="9" y="227"/>
                    <a:pt x="23" y="227"/>
                  </a:cubicBezTo>
                  <a:cubicBezTo>
                    <a:pt x="35" y="227"/>
                    <a:pt x="49" y="175"/>
                    <a:pt x="49" y="114"/>
                  </a:cubicBezTo>
                  <a:cubicBezTo>
                    <a:pt x="53" y="53"/>
                    <a:pt x="39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" name="Google Shape;3425;p48">
              <a:extLst>
                <a:ext uri="{FF2B5EF4-FFF2-40B4-BE49-F238E27FC236}">
                  <a16:creationId xmlns:a16="http://schemas.microsoft.com/office/drawing/2014/main" id="{AC6D32DF-DE4C-73E7-A203-036D577B7EDA}"/>
                </a:ext>
              </a:extLst>
            </p:cNvPr>
            <p:cNvSpPr/>
            <p:nvPr/>
          </p:nvSpPr>
          <p:spPr>
            <a:xfrm>
              <a:off x="7645332" y="3418860"/>
              <a:ext cx="2409" cy="11209"/>
            </a:xfrm>
            <a:custGeom>
              <a:avLst/>
              <a:gdLst/>
              <a:ahLst/>
              <a:cxnLst/>
              <a:rect l="l" t="t" r="r" b="b"/>
              <a:pathLst>
                <a:path w="49" h="228" extrusionOk="0">
                  <a:moveTo>
                    <a:pt x="26" y="1"/>
                  </a:moveTo>
                  <a:cubicBezTo>
                    <a:pt x="14" y="1"/>
                    <a:pt x="5" y="53"/>
                    <a:pt x="0" y="114"/>
                  </a:cubicBezTo>
                  <a:cubicBezTo>
                    <a:pt x="0" y="175"/>
                    <a:pt x="10" y="227"/>
                    <a:pt x="22" y="227"/>
                  </a:cubicBezTo>
                  <a:cubicBezTo>
                    <a:pt x="36" y="227"/>
                    <a:pt x="48" y="175"/>
                    <a:pt x="48" y="114"/>
                  </a:cubicBezTo>
                  <a:cubicBezTo>
                    <a:pt x="48" y="53"/>
                    <a:pt x="40" y="1"/>
                    <a:pt x="2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" name="Google Shape;3426;p48">
              <a:extLst>
                <a:ext uri="{FF2B5EF4-FFF2-40B4-BE49-F238E27FC236}">
                  <a16:creationId xmlns:a16="http://schemas.microsoft.com/office/drawing/2014/main" id="{A2901AA1-10A2-E267-3254-6072D62E7CA9}"/>
                </a:ext>
              </a:extLst>
            </p:cNvPr>
            <p:cNvSpPr/>
            <p:nvPr/>
          </p:nvSpPr>
          <p:spPr>
            <a:xfrm>
              <a:off x="7644890" y="3440983"/>
              <a:ext cx="2458" cy="11258"/>
            </a:xfrm>
            <a:custGeom>
              <a:avLst/>
              <a:gdLst/>
              <a:ahLst/>
              <a:cxnLst/>
              <a:rect l="l" t="t" r="r" b="b"/>
              <a:pathLst>
                <a:path w="50" h="229" extrusionOk="0">
                  <a:moveTo>
                    <a:pt x="27" y="1"/>
                  </a:moveTo>
                  <a:cubicBezTo>
                    <a:pt x="14" y="1"/>
                    <a:pt x="5" y="53"/>
                    <a:pt x="1" y="114"/>
                  </a:cubicBezTo>
                  <a:cubicBezTo>
                    <a:pt x="1" y="176"/>
                    <a:pt x="9" y="228"/>
                    <a:pt x="23" y="228"/>
                  </a:cubicBezTo>
                  <a:cubicBezTo>
                    <a:pt x="35" y="228"/>
                    <a:pt x="49" y="176"/>
                    <a:pt x="49" y="114"/>
                  </a:cubicBezTo>
                  <a:cubicBezTo>
                    <a:pt x="49" y="53"/>
                    <a:pt x="41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" name="Google Shape;3427;p48">
              <a:extLst>
                <a:ext uri="{FF2B5EF4-FFF2-40B4-BE49-F238E27FC236}">
                  <a16:creationId xmlns:a16="http://schemas.microsoft.com/office/drawing/2014/main" id="{B3CEF66C-81AA-089D-8178-A6EC1FC5251B}"/>
                </a:ext>
              </a:extLst>
            </p:cNvPr>
            <p:cNvSpPr/>
            <p:nvPr/>
          </p:nvSpPr>
          <p:spPr>
            <a:xfrm>
              <a:off x="7644496" y="3463107"/>
              <a:ext cx="2409" cy="11258"/>
            </a:xfrm>
            <a:custGeom>
              <a:avLst/>
              <a:gdLst/>
              <a:ahLst/>
              <a:cxnLst/>
              <a:rect l="l" t="t" r="r" b="b"/>
              <a:pathLst>
                <a:path w="49" h="229" extrusionOk="0">
                  <a:moveTo>
                    <a:pt x="27" y="1"/>
                  </a:moveTo>
                  <a:cubicBezTo>
                    <a:pt x="13" y="1"/>
                    <a:pt x="0" y="49"/>
                    <a:pt x="0" y="114"/>
                  </a:cubicBezTo>
                  <a:cubicBezTo>
                    <a:pt x="0" y="176"/>
                    <a:pt x="9" y="224"/>
                    <a:pt x="22" y="228"/>
                  </a:cubicBezTo>
                  <a:cubicBezTo>
                    <a:pt x="35" y="228"/>
                    <a:pt x="49" y="176"/>
                    <a:pt x="49" y="114"/>
                  </a:cubicBezTo>
                  <a:cubicBezTo>
                    <a:pt x="49" y="53"/>
                    <a:pt x="39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" name="Google Shape;3428;p48">
              <a:extLst>
                <a:ext uri="{FF2B5EF4-FFF2-40B4-BE49-F238E27FC236}">
                  <a16:creationId xmlns:a16="http://schemas.microsoft.com/office/drawing/2014/main" id="{92FABFBB-BBEB-4538-443E-E028AADE642E}"/>
                </a:ext>
              </a:extLst>
            </p:cNvPr>
            <p:cNvSpPr/>
            <p:nvPr/>
          </p:nvSpPr>
          <p:spPr>
            <a:xfrm>
              <a:off x="7644005" y="3485230"/>
              <a:ext cx="2458" cy="11012"/>
            </a:xfrm>
            <a:custGeom>
              <a:avLst/>
              <a:gdLst/>
              <a:ahLst/>
              <a:cxnLst/>
              <a:rect l="l" t="t" r="r" b="b"/>
              <a:pathLst>
                <a:path w="50" h="224" extrusionOk="0">
                  <a:moveTo>
                    <a:pt x="27" y="0"/>
                  </a:moveTo>
                  <a:cubicBezTo>
                    <a:pt x="15" y="0"/>
                    <a:pt x="1" y="49"/>
                    <a:pt x="1" y="115"/>
                  </a:cubicBezTo>
                  <a:cubicBezTo>
                    <a:pt x="1" y="176"/>
                    <a:pt x="10" y="224"/>
                    <a:pt x="23" y="224"/>
                  </a:cubicBezTo>
                  <a:cubicBezTo>
                    <a:pt x="37" y="224"/>
                    <a:pt x="49" y="176"/>
                    <a:pt x="49" y="115"/>
                  </a:cubicBezTo>
                  <a:cubicBezTo>
                    <a:pt x="49" y="53"/>
                    <a:pt x="41" y="0"/>
                    <a:pt x="2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" name="Google Shape;3429;p48">
              <a:extLst>
                <a:ext uri="{FF2B5EF4-FFF2-40B4-BE49-F238E27FC236}">
                  <a16:creationId xmlns:a16="http://schemas.microsoft.com/office/drawing/2014/main" id="{FC4F9B92-B50E-98B9-CCB0-BB37B3BCC134}"/>
                </a:ext>
              </a:extLst>
            </p:cNvPr>
            <p:cNvSpPr/>
            <p:nvPr/>
          </p:nvSpPr>
          <p:spPr>
            <a:xfrm>
              <a:off x="7643611" y="3507354"/>
              <a:ext cx="2409" cy="11012"/>
            </a:xfrm>
            <a:custGeom>
              <a:avLst/>
              <a:gdLst/>
              <a:ahLst/>
              <a:cxnLst/>
              <a:rect l="l" t="t" r="r" b="b"/>
              <a:pathLst>
                <a:path w="49" h="224" extrusionOk="0">
                  <a:moveTo>
                    <a:pt x="27" y="0"/>
                  </a:moveTo>
                  <a:cubicBezTo>
                    <a:pt x="14" y="0"/>
                    <a:pt x="1" y="49"/>
                    <a:pt x="1" y="115"/>
                  </a:cubicBezTo>
                  <a:cubicBezTo>
                    <a:pt x="1" y="176"/>
                    <a:pt x="9" y="224"/>
                    <a:pt x="23" y="224"/>
                  </a:cubicBezTo>
                  <a:cubicBezTo>
                    <a:pt x="35" y="224"/>
                    <a:pt x="49" y="176"/>
                    <a:pt x="49" y="115"/>
                  </a:cubicBezTo>
                  <a:cubicBezTo>
                    <a:pt x="49" y="53"/>
                    <a:pt x="40" y="0"/>
                    <a:pt x="2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" name="Google Shape;3430;p48">
              <a:extLst>
                <a:ext uri="{FF2B5EF4-FFF2-40B4-BE49-F238E27FC236}">
                  <a16:creationId xmlns:a16="http://schemas.microsoft.com/office/drawing/2014/main" id="{E48239B7-A615-95E4-8F8A-8CB98DAF4BFC}"/>
                </a:ext>
              </a:extLst>
            </p:cNvPr>
            <p:cNvSpPr/>
            <p:nvPr/>
          </p:nvSpPr>
          <p:spPr>
            <a:xfrm>
              <a:off x="7643218" y="3529526"/>
              <a:ext cx="2409" cy="10963"/>
            </a:xfrm>
            <a:custGeom>
              <a:avLst/>
              <a:gdLst/>
              <a:ahLst/>
              <a:cxnLst/>
              <a:rect l="l" t="t" r="r" b="b"/>
              <a:pathLst>
                <a:path w="49" h="223" extrusionOk="0">
                  <a:moveTo>
                    <a:pt x="26" y="0"/>
                  </a:moveTo>
                  <a:cubicBezTo>
                    <a:pt x="13" y="0"/>
                    <a:pt x="0" y="48"/>
                    <a:pt x="0" y="109"/>
                  </a:cubicBezTo>
                  <a:cubicBezTo>
                    <a:pt x="0" y="175"/>
                    <a:pt x="9" y="223"/>
                    <a:pt x="22" y="223"/>
                  </a:cubicBezTo>
                  <a:cubicBezTo>
                    <a:pt x="35" y="223"/>
                    <a:pt x="48" y="175"/>
                    <a:pt x="48" y="114"/>
                  </a:cubicBezTo>
                  <a:cubicBezTo>
                    <a:pt x="48" y="48"/>
                    <a:pt x="39" y="0"/>
                    <a:pt x="26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" name="Google Shape;3431;p48">
              <a:extLst>
                <a:ext uri="{FF2B5EF4-FFF2-40B4-BE49-F238E27FC236}">
                  <a16:creationId xmlns:a16="http://schemas.microsoft.com/office/drawing/2014/main" id="{5F8FB641-9A6D-AC6C-38D2-FA9AF57DAECB}"/>
                </a:ext>
              </a:extLst>
            </p:cNvPr>
            <p:cNvSpPr/>
            <p:nvPr/>
          </p:nvSpPr>
          <p:spPr>
            <a:xfrm>
              <a:off x="7642726" y="3551650"/>
              <a:ext cx="2409" cy="10963"/>
            </a:xfrm>
            <a:custGeom>
              <a:avLst/>
              <a:gdLst/>
              <a:ahLst/>
              <a:cxnLst/>
              <a:rect l="l" t="t" r="r" b="b"/>
              <a:pathLst>
                <a:path w="49" h="223" extrusionOk="0">
                  <a:moveTo>
                    <a:pt x="27" y="0"/>
                  </a:moveTo>
                  <a:cubicBezTo>
                    <a:pt x="14" y="0"/>
                    <a:pt x="1" y="49"/>
                    <a:pt x="1" y="109"/>
                  </a:cubicBezTo>
                  <a:cubicBezTo>
                    <a:pt x="1" y="174"/>
                    <a:pt x="10" y="223"/>
                    <a:pt x="23" y="223"/>
                  </a:cubicBezTo>
                  <a:cubicBezTo>
                    <a:pt x="36" y="223"/>
                    <a:pt x="49" y="174"/>
                    <a:pt x="49" y="114"/>
                  </a:cubicBezTo>
                  <a:cubicBezTo>
                    <a:pt x="49" y="49"/>
                    <a:pt x="41" y="0"/>
                    <a:pt x="2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" name="Google Shape;3432;p48">
              <a:extLst>
                <a:ext uri="{FF2B5EF4-FFF2-40B4-BE49-F238E27FC236}">
                  <a16:creationId xmlns:a16="http://schemas.microsoft.com/office/drawing/2014/main" id="{1299AAD4-EE6D-47ED-5362-A75D371E56B0}"/>
                </a:ext>
              </a:extLst>
            </p:cNvPr>
            <p:cNvSpPr/>
            <p:nvPr/>
          </p:nvSpPr>
          <p:spPr>
            <a:xfrm>
              <a:off x="7642333" y="3573773"/>
              <a:ext cx="2409" cy="10963"/>
            </a:xfrm>
            <a:custGeom>
              <a:avLst/>
              <a:gdLst/>
              <a:ahLst/>
              <a:cxnLst/>
              <a:rect l="l" t="t" r="r" b="b"/>
              <a:pathLst>
                <a:path w="49" h="223" extrusionOk="0">
                  <a:moveTo>
                    <a:pt x="27" y="0"/>
                  </a:moveTo>
                  <a:cubicBezTo>
                    <a:pt x="14" y="0"/>
                    <a:pt x="0" y="49"/>
                    <a:pt x="0" y="109"/>
                  </a:cubicBezTo>
                  <a:cubicBezTo>
                    <a:pt x="0" y="175"/>
                    <a:pt x="9" y="223"/>
                    <a:pt x="22" y="223"/>
                  </a:cubicBezTo>
                  <a:cubicBezTo>
                    <a:pt x="35" y="223"/>
                    <a:pt x="49" y="175"/>
                    <a:pt x="49" y="114"/>
                  </a:cubicBezTo>
                  <a:cubicBezTo>
                    <a:pt x="49" y="49"/>
                    <a:pt x="40" y="0"/>
                    <a:pt x="2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" name="Google Shape;3433;p48">
              <a:extLst>
                <a:ext uri="{FF2B5EF4-FFF2-40B4-BE49-F238E27FC236}">
                  <a16:creationId xmlns:a16="http://schemas.microsoft.com/office/drawing/2014/main" id="{408E4117-16AD-28B7-835D-ECD7B1CB7AC2}"/>
                </a:ext>
              </a:extLst>
            </p:cNvPr>
            <p:cNvSpPr/>
            <p:nvPr/>
          </p:nvSpPr>
          <p:spPr>
            <a:xfrm>
              <a:off x="7641891" y="3595896"/>
              <a:ext cx="2458" cy="11012"/>
            </a:xfrm>
            <a:custGeom>
              <a:avLst/>
              <a:gdLst/>
              <a:ahLst/>
              <a:cxnLst/>
              <a:rect l="l" t="t" r="r" b="b"/>
              <a:pathLst>
                <a:path w="50" h="224" extrusionOk="0">
                  <a:moveTo>
                    <a:pt x="27" y="0"/>
                  </a:moveTo>
                  <a:cubicBezTo>
                    <a:pt x="14" y="0"/>
                    <a:pt x="1" y="49"/>
                    <a:pt x="1" y="109"/>
                  </a:cubicBezTo>
                  <a:cubicBezTo>
                    <a:pt x="1" y="171"/>
                    <a:pt x="9" y="224"/>
                    <a:pt x="23" y="224"/>
                  </a:cubicBezTo>
                  <a:cubicBezTo>
                    <a:pt x="36" y="224"/>
                    <a:pt x="49" y="175"/>
                    <a:pt x="49" y="109"/>
                  </a:cubicBezTo>
                  <a:cubicBezTo>
                    <a:pt x="49" y="49"/>
                    <a:pt x="40" y="0"/>
                    <a:pt x="2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" name="Google Shape;3434;p48">
              <a:extLst>
                <a:ext uri="{FF2B5EF4-FFF2-40B4-BE49-F238E27FC236}">
                  <a16:creationId xmlns:a16="http://schemas.microsoft.com/office/drawing/2014/main" id="{B1DEF4D2-52DC-BF6F-284A-A952D4E14CA5}"/>
                </a:ext>
              </a:extLst>
            </p:cNvPr>
            <p:cNvSpPr/>
            <p:nvPr/>
          </p:nvSpPr>
          <p:spPr>
            <a:xfrm>
              <a:off x="7641448" y="3617971"/>
              <a:ext cx="2409" cy="11062"/>
            </a:xfrm>
            <a:custGeom>
              <a:avLst/>
              <a:gdLst/>
              <a:ahLst/>
              <a:cxnLst/>
              <a:rect l="l" t="t" r="r" b="b"/>
              <a:pathLst>
                <a:path w="49" h="225" extrusionOk="0">
                  <a:moveTo>
                    <a:pt x="25" y="1"/>
                  </a:moveTo>
                  <a:cubicBezTo>
                    <a:pt x="14" y="1"/>
                    <a:pt x="6" y="52"/>
                    <a:pt x="1" y="110"/>
                  </a:cubicBezTo>
                  <a:cubicBezTo>
                    <a:pt x="1" y="172"/>
                    <a:pt x="10" y="225"/>
                    <a:pt x="23" y="225"/>
                  </a:cubicBezTo>
                  <a:cubicBezTo>
                    <a:pt x="36" y="225"/>
                    <a:pt x="49" y="176"/>
                    <a:pt x="49" y="110"/>
                  </a:cubicBezTo>
                  <a:cubicBezTo>
                    <a:pt x="49" y="49"/>
                    <a:pt x="40" y="1"/>
                    <a:pt x="27" y="1"/>
                  </a:cubicBezTo>
                  <a:cubicBezTo>
                    <a:pt x="26" y="1"/>
                    <a:pt x="26" y="1"/>
                    <a:pt x="25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" name="Google Shape;3435;p48">
              <a:extLst>
                <a:ext uri="{FF2B5EF4-FFF2-40B4-BE49-F238E27FC236}">
                  <a16:creationId xmlns:a16="http://schemas.microsoft.com/office/drawing/2014/main" id="{8F06380C-18E0-80AC-1F68-40F28AB883D0}"/>
                </a:ext>
              </a:extLst>
            </p:cNvPr>
            <p:cNvSpPr/>
            <p:nvPr/>
          </p:nvSpPr>
          <p:spPr>
            <a:xfrm>
              <a:off x="7641055" y="3639898"/>
              <a:ext cx="2409" cy="11258"/>
            </a:xfrm>
            <a:custGeom>
              <a:avLst/>
              <a:gdLst/>
              <a:ahLst/>
              <a:cxnLst/>
              <a:rect l="l" t="t" r="r" b="b"/>
              <a:pathLst>
                <a:path w="49" h="229" extrusionOk="0">
                  <a:moveTo>
                    <a:pt x="26" y="1"/>
                  </a:moveTo>
                  <a:cubicBezTo>
                    <a:pt x="14" y="1"/>
                    <a:pt x="4" y="53"/>
                    <a:pt x="0" y="115"/>
                  </a:cubicBezTo>
                  <a:cubicBezTo>
                    <a:pt x="0" y="176"/>
                    <a:pt x="9" y="229"/>
                    <a:pt x="22" y="229"/>
                  </a:cubicBezTo>
                  <a:cubicBezTo>
                    <a:pt x="35" y="229"/>
                    <a:pt x="48" y="180"/>
                    <a:pt x="48" y="115"/>
                  </a:cubicBezTo>
                  <a:cubicBezTo>
                    <a:pt x="48" y="53"/>
                    <a:pt x="40" y="5"/>
                    <a:pt x="2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" name="Google Shape;3436;p48">
              <a:extLst>
                <a:ext uri="{FF2B5EF4-FFF2-40B4-BE49-F238E27FC236}">
                  <a16:creationId xmlns:a16="http://schemas.microsoft.com/office/drawing/2014/main" id="{A9FD238D-EB44-8A53-8E47-8D5C4BC6F635}"/>
                </a:ext>
              </a:extLst>
            </p:cNvPr>
            <p:cNvSpPr/>
            <p:nvPr/>
          </p:nvSpPr>
          <p:spPr>
            <a:xfrm>
              <a:off x="7640612" y="3662021"/>
              <a:ext cx="2409" cy="11258"/>
            </a:xfrm>
            <a:custGeom>
              <a:avLst/>
              <a:gdLst/>
              <a:ahLst/>
              <a:cxnLst/>
              <a:rect l="l" t="t" r="r" b="b"/>
              <a:pathLst>
                <a:path w="49" h="229" extrusionOk="0">
                  <a:moveTo>
                    <a:pt x="27" y="1"/>
                  </a:moveTo>
                  <a:cubicBezTo>
                    <a:pt x="13" y="1"/>
                    <a:pt x="5" y="53"/>
                    <a:pt x="1" y="115"/>
                  </a:cubicBezTo>
                  <a:cubicBezTo>
                    <a:pt x="1" y="176"/>
                    <a:pt x="9" y="229"/>
                    <a:pt x="23" y="229"/>
                  </a:cubicBezTo>
                  <a:cubicBezTo>
                    <a:pt x="35" y="229"/>
                    <a:pt x="49" y="176"/>
                    <a:pt x="49" y="115"/>
                  </a:cubicBezTo>
                  <a:cubicBezTo>
                    <a:pt x="49" y="53"/>
                    <a:pt x="40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0" name="Google Shape;3437;p48">
              <a:extLst>
                <a:ext uri="{FF2B5EF4-FFF2-40B4-BE49-F238E27FC236}">
                  <a16:creationId xmlns:a16="http://schemas.microsoft.com/office/drawing/2014/main" id="{EB477749-7885-2AB0-AD60-4B045B03D051}"/>
                </a:ext>
              </a:extLst>
            </p:cNvPr>
            <p:cNvSpPr/>
            <p:nvPr/>
          </p:nvSpPr>
          <p:spPr>
            <a:xfrm>
              <a:off x="7640170" y="3684193"/>
              <a:ext cx="2409" cy="11209"/>
            </a:xfrm>
            <a:custGeom>
              <a:avLst/>
              <a:gdLst/>
              <a:ahLst/>
              <a:cxnLst/>
              <a:rect l="l" t="t" r="r" b="b"/>
              <a:pathLst>
                <a:path w="49" h="228" extrusionOk="0">
                  <a:moveTo>
                    <a:pt x="27" y="1"/>
                  </a:moveTo>
                  <a:cubicBezTo>
                    <a:pt x="14" y="1"/>
                    <a:pt x="6" y="53"/>
                    <a:pt x="6" y="114"/>
                  </a:cubicBezTo>
                  <a:cubicBezTo>
                    <a:pt x="0" y="175"/>
                    <a:pt x="10" y="227"/>
                    <a:pt x="22" y="227"/>
                  </a:cubicBezTo>
                  <a:cubicBezTo>
                    <a:pt x="36" y="227"/>
                    <a:pt x="49" y="175"/>
                    <a:pt x="49" y="114"/>
                  </a:cubicBezTo>
                  <a:cubicBezTo>
                    <a:pt x="49" y="53"/>
                    <a:pt x="40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" name="Google Shape;3438;p48">
              <a:extLst>
                <a:ext uri="{FF2B5EF4-FFF2-40B4-BE49-F238E27FC236}">
                  <a16:creationId xmlns:a16="http://schemas.microsoft.com/office/drawing/2014/main" id="{2D00D109-7784-D764-12BF-10887A2408F0}"/>
                </a:ext>
              </a:extLst>
            </p:cNvPr>
            <p:cNvSpPr/>
            <p:nvPr/>
          </p:nvSpPr>
          <p:spPr>
            <a:xfrm>
              <a:off x="7639727" y="3706317"/>
              <a:ext cx="2655" cy="11209"/>
            </a:xfrm>
            <a:custGeom>
              <a:avLst/>
              <a:gdLst/>
              <a:ahLst/>
              <a:cxnLst/>
              <a:rect l="l" t="t" r="r" b="b"/>
              <a:pathLst>
                <a:path w="54" h="228" extrusionOk="0">
                  <a:moveTo>
                    <a:pt x="27" y="1"/>
                  </a:moveTo>
                  <a:cubicBezTo>
                    <a:pt x="19" y="1"/>
                    <a:pt x="5" y="53"/>
                    <a:pt x="5" y="114"/>
                  </a:cubicBezTo>
                  <a:cubicBezTo>
                    <a:pt x="1" y="175"/>
                    <a:pt x="15" y="227"/>
                    <a:pt x="27" y="227"/>
                  </a:cubicBezTo>
                  <a:cubicBezTo>
                    <a:pt x="36" y="227"/>
                    <a:pt x="49" y="175"/>
                    <a:pt x="49" y="114"/>
                  </a:cubicBezTo>
                  <a:cubicBezTo>
                    <a:pt x="53" y="53"/>
                    <a:pt x="41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" name="Google Shape;3439;p48">
              <a:extLst>
                <a:ext uri="{FF2B5EF4-FFF2-40B4-BE49-F238E27FC236}">
                  <a16:creationId xmlns:a16="http://schemas.microsoft.com/office/drawing/2014/main" id="{99D7B746-EF6A-51B5-FF86-FC97AEE627FC}"/>
                </a:ext>
              </a:extLst>
            </p:cNvPr>
            <p:cNvSpPr/>
            <p:nvPr/>
          </p:nvSpPr>
          <p:spPr>
            <a:xfrm>
              <a:off x="7639531" y="3728440"/>
              <a:ext cx="2409" cy="11258"/>
            </a:xfrm>
            <a:custGeom>
              <a:avLst/>
              <a:gdLst/>
              <a:ahLst/>
              <a:cxnLst/>
              <a:rect l="l" t="t" r="r" b="b"/>
              <a:pathLst>
                <a:path w="49" h="229" extrusionOk="0">
                  <a:moveTo>
                    <a:pt x="27" y="1"/>
                  </a:moveTo>
                  <a:cubicBezTo>
                    <a:pt x="13" y="1"/>
                    <a:pt x="1" y="53"/>
                    <a:pt x="1" y="114"/>
                  </a:cubicBezTo>
                  <a:cubicBezTo>
                    <a:pt x="1" y="176"/>
                    <a:pt x="9" y="228"/>
                    <a:pt x="23" y="228"/>
                  </a:cubicBezTo>
                  <a:cubicBezTo>
                    <a:pt x="35" y="228"/>
                    <a:pt x="45" y="176"/>
                    <a:pt x="45" y="114"/>
                  </a:cubicBezTo>
                  <a:cubicBezTo>
                    <a:pt x="49" y="53"/>
                    <a:pt x="40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" name="Google Shape;3440;p48">
              <a:extLst>
                <a:ext uri="{FF2B5EF4-FFF2-40B4-BE49-F238E27FC236}">
                  <a16:creationId xmlns:a16="http://schemas.microsoft.com/office/drawing/2014/main" id="{E5AFEBE8-9C29-8A94-2850-3FB4349E66EF}"/>
                </a:ext>
              </a:extLst>
            </p:cNvPr>
            <p:cNvSpPr/>
            <p:nvPr/>
          </p:nvSpPr>
          <p:spPr>
            <a:xfrm>
              <a:off x="7639138" y="3750564"/>
              <a:ext cx="2360" cy="11258"/>
            </a:xfrm>
            <a:custGeom>
              <a:avLst/>
              <a:gdLst/>
              <a:ahLst/>
              <a:cxnLst/>
              <a:rect l="l" t="t" r="r" b="b"/>
              <a:pathLst>
                <a:path w="48" h="229" extrusionOk="0">
                  <a:moveTo>
                    <a:pt x="27" y="1"/>
                  </a:moveTo>
                  <a:cubicBezTo>
                    <a:pt x="13" y="1"/>
                    <a:pt x="0" y="53"/>
                    <a:pt x="0" y="114"/>
                  </a:cubicBezTo>
                  <a:cubicBezTo>
                    <a:pt x="0" y="176"/>
                    <a:pt x="9" y="228"/>
                    <a:pt x="21" y="228"/>
                  </a:cubicBezTo>
                  <a:cubicBezTo>
                    <a:pt x="35" y="228"/>
                    <a:pt x="43" y="176"/>
                    <a:pt x="48" y="114"/>
                  </a:cubicBezTo>
                  <a:cubicBezTo>
                    <a:pt x="48" y="53"/>
                    <a:pt x="39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" name="Google Shape;3441;p48">
              <a:extLst>
                <a:ext uri="{FF2B5EF4-FFF2-40B4-BE49-F238E27FC236}">
                  <a16:creationId xmlns:a16="http://schemas.microsoft.com/office/drawing/2014/main" id="{E1ADDAB3-BC4D-F64D-3FD3-0E40BD45D91A}"/>
                </a:ext>
              </a:extLst>
            </p:cNvPr>
            <p:cNvSpPr/>
            <p:nvPr/>
          </p:nvSpPr>
          <p:spPr>
            <a:xfrm>
              <a:off x="7638646" y="3772687"/>
              <a:ext cx="2458" cy="11258"/>
            </a:xfrm>
            <a:custGeom>
              <a:avLst/>
              <a:gdLst/>
              <a:ahLst/>
              <a:cxnLst/>
              <a:rect l="l" t="t" r="r" b="b"/>
              <a:pathLst>
                <a:path w="50" h="229" extrusionOk="0">
                  <a:moveTo>
                    <a:pt x="27" y="1"/>
                  </a:moveTo>
                  <a:cubicBezTo>
                    <a:pt x="15" y="1"/>
                    <a:pt x="1" y="53"/>
                    <a:pt x="1" y="115"/>
                  </a:cubicBezTo>
                  <a:cubicBezTo>
                    <a:pt x="1" y="176"/>
                    <a:pt x="10" y="228"/>
                    <a:pt x="23" y="228"/>
                  </a:cubicBezTo>
                  <a:cubicBezTo>
                    <a:pt x="37" y="228"/>
                    <a:pt x="45" y="176"/>
                    <a:pt x="49" y="115"/>
                  </a:cubicBezTo>
                  <a:cubicBezTo>
                    <a:pt x="49" y="53"/>
                    <a:pt x="41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" name="Google Shape;3442;p48">
              <a:extLst>
                <a:ext uri="{FF2B5EF4-FFF2-40B4-BE49-F238E27FC236}">
                  <a16:creationId xmlns:a16="http://schemas.microsoft.com/office/drawing/2014/main" id="{2B752B91-EAEB-4905-3E05-B876546F7D5B}"/>
                </a:ext>
              </a:extLst>
            </p:cNvPr>
            <p:cNvSpPr/>
            <p:nvPr/>
          </p:nvSpPr>
          <p:spPr>
            <a:xfrm>
              <a:off x="7638253" y="3794811"/>
              <a:ext cx="2409" cy="11258"/>
            </a:xfrm>
            <a:custGeom>
              <a:avLst/>
              <a:gdLst/>
              <a:ahLst/>
              <a:cxnLst/>
              <a:rect l="l" t="t" r="r" b="b"/>
              <a:pathLst>
                <a:path w="49" h="229" extrusionOk="0">
                  <a:moveTo>
                    <a:pt x="27" y="1"/>
                  </a:moveTo>
                  <a:cubicBezTo>
                    <a:pt x="13" y="1"/>
                    <a:pt x="1" y="49"/>
                    <a:pt x="1" y="115"/>
                  </a:cubicBezTo>
                  <a:cubicBezTo>
                    <a:pt x="1" y="176"/>
                    <a:pt x="9" y="224"/>
                    <a:pt x="23" y="228"/>
                  </a:cubicBezTo>
                  <a:cubicBezTo>
                    <a:pt x="35" y="228"/>
                    <a:pt x="49" y="176"/>
                    <a:pt x="49" y="115"/>
                  </a:cubicBezTo>
                  <a:cubicBezTo>
                    <a:pt x="49" y="53"/>
                    <a:pt x="39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" name="Google Shape;3443;p48">
              <a:extLst>
                <a:ext uri="{FF2B5EF4-FFF2-40B4-BE49-F238E27FC236}">
                  <a16:creationId xmlns:a16="http://schemas.microsoft.com/office/drawing/2014/main" id="{23EFE5A7-C919-B25B-F1F2-318DE9B97E00}"/>
                </a:ext>
              </a:extLst>
            </p:cNvPr>
            <p:cNvSpPr/>
            <p:nvPr/>
          </p:nvSpPr>
          <p:spPr>
            <a:xfrm>
              <a:off x="7637859" y="3816983"/>
              <a:ext cx="2360" cy="11012"/>
            </a:xfrm>
            <a:custGeom>
              <a:avLst/>
              <a:gdLst/>
              <a:ahLst/>
              <a:cxnLst/>
              <a:rect l="l" t="t" r="r" b="b"/>
              <a:pathLst>
                <a:path w="48" h="224" extrusionOk="0">
                  <a:moveTo>
                    <a:pt x="26" y="1"/>
                  </a:moveTo>
                  <a:cubicBezTo>
                    <a:pt x="13" y="1"/>
                    <a:pt x="0" y="48"/>
                    <a:pt x="0" y="114"/>
                  </a:cubicBezTo>
                  <a:cubicBezTo>
                    <a:pt x="0" y="175"/>
                    <a:pt x="9" y="223"/>
                    <a:pt x="21" y="223"/>
                  </a:cubicBezTo>
                  <a:cubicBezTo>
                    <a:pt x="22" y="223"/>
                    <a:pt x="22" y="223"/>
                    <a:pt x="23" y="223"/>
                  </a:cubicBezTo>
                  <a:cubicBezTo>
                    <a:pt x="36" y="223"/>
                    <a:pt x="47" y="172"/>
                    <a:pt x="47" y="114"/>
                  </a:cubicBezTo>
                  <a:cubicBezTo>
                    <a:pt x="47" y="53"/>
                    <a:pt x="39" y="1"/>
                    <a:pt x="2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" name="Google Shape;3444;p48">
              <a:extLst>
                <a:ext uri="{FF2B5EF4-FFF2-40B4-BE49-F238E27FC236}">
                  <a16:creationId xmlns:a16="http://schemas.microsoft.com/office/drawing/2014/main" id="{992D29B1-2AD2-F400-CCBD-369D25CD99C4}"/>
                </a:ext>
              </a:extLst>
            </p:cNvPr>
            <p:cNvSpPr/>
            <p:nvPr/>
          </p:nvSpPr>
          <p:spPr>
            <a:xfrm>
              <a:off x="7637368" y="3839107"/>
              <a:ext cx="2409" cy="10963"/>
            </a:xfrm>
            <a:custGeom>
              <a:avLst/>
              <a:gdLst/>
              <a:ahLst/>
              <a:cxnLst/>
              <a:rect l="l" t="t" r="r" b="b"/>
              <a:pathLst>
                <a:path w="49" h="223" extrusionOk="0">
                  <a:moveTo>
                    <a:pt x="27" y="1"/>
                  </a:moveTo>
                  <a:cubicBezTo>
                    <a:pt x="14" y="1"/>
                    <a:pt x="5" y="49"/>
                    <a:pt x="1" y="114"/>
                  </a:cubicBezTo>
                  <a:cubicBezTo>
                    <a:pt x="1" y="175"/>
                    <a:pt x="10" y="223"/>
                    <a:pt x="23" y="223"/>
                  </a:cubicBezTo>
                  <a:cubicBezTo>
                    <a:pt x="36" y="223"/>
                    <a:pt x="49" y="175"/>
                    <a:pt x="49" y="114"/>
                  </a:cubicBezTo>
                  <a:cubicBezTo>
                    <a:pt x="49" y="53"/>
                    <a:pt x="41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" name="Google Shape;3445;p48">
              <a:extLst>
                <a:ext uri="{FF2B5EF4-FFF2-40B4-BE49-F238E27FC236}">
                  <a16:creationId xmlns:a16="http://schemas.microsoft.com/office/drawing/2014/main" id="{A8228D45-F951-0A8C-DF26-DEF8A04F1E94}"/>
                </a:ext>
              </a:extLst>
            </p:cNvPr>
            <p:cNvSpPr/>
            <p:nvPr/>
          </p:nvSpPr>
          <p:spPr>
            <a:xfrm>
              <a:off x="7636974" y="3861230"/>
              <a:ext cx="2409" cy="10963"/>
            </a:xfrm>
            <a:custGeom>
              <a:avLst/>
              <a:gdLst/>
              <a:ahLst/>
              <a:cxnLst/>
              <a:rect l="l" t="t" r="r" b="b"/>
              <a:pathLst>
                <a:path w="49" h="223" extrusionOk="0">
                  <a:moveTo>
                    <a:pt x="27" y="1"/>
                  </a:moveTo>
                  <a:cubicBezTo>
                    <a:pt x="13" y="1"/>
                    <a:pt x="4" y="49"/>
                    <a:pt x="0" y="110"/>
                  </a:cubicBezTo>
                  <a:cubicBezTo>
                    <a:pt x="0" y="176"/>
                    <a:pt x="9" y="223"/>
                    <a:pt x="22" y="223"/>
                  </a:cubicBezTo>
                  <a:cubicBezTo>
                    <a:pt x="35" y="223"/>
                    <a:pt x="49" y="176"/>
                    <a:pt x="49" y="114"/>
                  </a:cubicBezTo>
                  <a:cubicBezTo>
                    <a:pt x="49" y="49"/>
                    <a:pt x="39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" name="Google Shape;3446;p48">
              <a:extLst>
                <a:ext uri="{FF2B5EF4-FFF2-40B4-BE49-F238E27FC236}">
                  <a16:creationId xmlns:a16="http://schemas.microsoft.com/office/drawing/2014/main" id="{7C558A37-59C9-0F56-60BF-A22467188AAF}"/>
                </a:ext>
              </a:extLst>
            </p:cNvPr>
            <p:cNvSpPr/>
            <p:nvPr/>
          </p:nvSpPr>
          <p:spPr>
            <a:xfrm>
              <a:off x="7636532" y="3883353"/>
              <a:ext cx="2409" cy="11012"/>
            </a:xfrm>
            <a:custGeom>
              <a:avLst/>
              <a:gdLst/>
              <a:ahLst/>
              <a:cxnLst/>
              <a:rect l="l" t="t" r="r" b="b"/>
              <a:pathLst>
                <a:path w="49" h="224" extrusionOk="0">
                  <a:moveTo>
                    <a:pt x="27" y="1"/>
                  </a:moveTo>
                  <a:cubicBezTo>
                    <a:pt x="13" y="1"/>
                    <a:pt x="5" y="49"/>
                    <a:pt x="5" y="110"/>
                  </a:cubicBezTo>
                  <a:cubicBezTo>
                    <a:pt x="1" y="176"/>
                    <a:pt x="9" y="224"/>
                    <a:pt x="22" y="224"/>
                  </a:cubicBezTo>
                  <a:cubicBezTo>
                    <a:pt x="36" y="224"/>
                    <a:pt x="48" y="176"/>
                    <a:pt x="48" y="114"/>
                  </a:cubicBezTo>
                  <a:cubicBezTo>
                    <a:pt x="48" y="49"/>
                    <a:pt x="40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" name="Google Shape;3447;p48">
              <a:extLst>
                <a:ext uri="{FF2B5EF4-FFF2-40B4-BE49-F238E27FC236}">
                  <a16:creationId xmlns:a16="http://schemas.microsoft.com/office/drawing/2014/main" id="{A76C13EA-9044-6E92-04E6-B6FA917B34CE}"/>
                </a:ext>
              </a:extLst>
            </p:cNvPr>
            <p:cNvSpPr/>
            <p:nvPr/>
          </p:nvSpPr>
          <p:spPr>
            <a:xfrm>
              <a:off x="7636089" y="3905477"/>
              <a:ext cx="2606" cy="11012"/>
            </a:xfrm>
            <a:custGeom>
              <a:avLst/>
              <a:gdLst/>
              <a:ahLst/>
              <a:cxnLst/>
              <a:rect l="l" t="t" r="r" b="b"/>
              <a:pathLst>
                <a:path w="53" h="224" extrusionOk="0">
                  <a:moveTo>
                    <a:pt x="27" y="0"/>
                  </a:moveTo>
                  <a:cubicBezTo>
                    <a:pt x="14" y="0"/>
                    <a:pt x="5" y="49"/>
                    <a:pt x="5" y="110"/>
                  </a:cubicBezTo>
                  <a:cubicBezTo>
                    <a:pt x="0" y="176"/>
                    <a:pt x="14" y="224"/>
                    <a:pt x="22" y="224"/>
                  </a:cubicBezTo>
                  <a:cubicBezTo>
                    <a:pt x="36" y="224"/>
                    <a:pt x="49" y="176"/>
                    <a:pt x="49" y="110"/>
                  </a:cubicBezTo>
                  <a:cubicBezTo>
                    <a:pt x="53" y="49"/>
                    <a:pt x="40" y="0"/>
                    <a:pt x="2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" name="Google Shape;3448;p48">
              <a:extLst>
                <a:ext uri="{FF2B5EF4-FFF2-40B4-BE49-F238E27FC236}">
                  <a16:creationId xmlns:a16="http://schemas.microsoft.com/office/drawing/2014/main" id="{0C3DD46E-130A-A847-A495-BC22574B9688}"/>
                </a:ext>
              </a:extLst>
            </p:cNvPr>
            <p:cNvSpPr/>
            <p:nvPr/>
          </p:nvSpPr>
          <p:spPr>
            <a:xfrm>
              <a:off x="7635696" y="3927600"/>
              <a:ext cx="2606" cy="11012"/>
            </a:xfrm>
            <a:custGeom>
              <a:avLst/>
              <a:gdLst/>
              <a:ahLst/>
              <a:cxnLst/>
              <a:rect l="l" t="t" r="r" b="b"/>
              <a:pathLst>
                <a:path w="53" h="224" extrusionOk="0">
                  <a:moveTo>
                    <a:pt x="30" y="0"/>
                  </a:moveTo>
                  <a:cubicBezTo>
                    <a:pt x="18" y="0"/>
                    <a:pt x="4" y="49"/>
                    <a:pt x="4" y="111"/>
                  </a:cubicBezTo>
                  <a:cubicBezTo>
                    <a:pt x="0" y="171"/>
                    <a:pt x="13" y="224"/>
                    <a:pt x="26" y="224"/>
                  </a:cubicBezTo>
                  <a:cubicBezTo>
                    <a:pt x="35" y="224"/>
                    <a:pt x="48" y="176"/>
                    <a:pt x="48" y="111"/>
                  </a:cubicBezTo>
                  <a:cubicBezTo>
                    <a:pt x="53" y="49"/>
                    <a:pt x="39" y="0"/>
                    <a:pt x="3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" name="Google Shape;3449;p48">
              <a:extLst>
                <a:ext uri="{FF2B5EF4-FFF2-40B4-BE49-F238E27FC236}">
                  <a16:creationId xmlns:a16="http://schemas.microsoft.com/office/drawing/2014/main" id="{A2675146-8667-DEEB-1917-880FEBECD596}"/>
                </a:ext>
              </a:extLst>
            </p:cNvPr>
            <p:cNvSpPr/>
            <p:nvPr/>
          </p:nvSpPr>
          <p:spPr>
            <a:xfrm>
              <a:off x="7635254" y="3949527"/>
              <a:ext cx="2655" cy="11209"/>
            </a:xfrm>
            <a:custGeom>
              <a:avLst/>
              <a:gdLst/>
              <a:ahLst/>
              <a:cxnLst/>
              <a:rect l="l" t="t" r="r" b="b"/>
              <a:pathLst>
                <a:path w="54" h="228" extrusionOk="0">
                  <a:moveTo>
                    <a:pt x="31" y="0"/>
                  </a:moveTo>
                  <a:cubicBezTo>
                    <a:pt x="17" y="0"/>
                    <a:pt x="5" y="53"/>
                    <a:pt x="5" y="114"/>
                  </a:cubicBezTo>
                  <a:cubicBezTo>
                    <a:pt x="1" y="175"/>
                    <a:pt x="13" y="228"/>
                    <a:pt x="27" y="228"/>
                  </a:cubicBezTo>
                  <a:cubicBezTo>
                    <a:pt x="39" y="228"/>
                    <a:pt x="48" y="175"/>
                    <a:pt x="48" y="114"/>
                  </a:cubicBezTo>
                  <a:cubicBezTo>
                    <a:pt x="53" y="53"/>
                    <a:pt x="44" y="5"/>
                    <a:pt x="3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" name="Google Shape;3450;p48">
              <a:extLst>
                <a:ext uri="{FF2B5EF4-FFF2-40B4-BE49-F238E27FC236}">
                  <a16:creationId xmlns:a16="http://schemas.microsoft.com/office/drawing/2014/main" id="{811A7572-475D-16B5-1861-0E524035C698}"/>
                </a:ext>
              </a:extLst>
            </p:cNvPr>
            <p:cNvSpPr/>
            <p:nvPr/>
          </p:nvSpPr>
          <p:spPr>
            <a:xfrm>
              <a:off x="7634811" y="3971700"/>
              <a:ext cx="2606" cy="11160"/>
            </a:xfrm>
            <a:custGeom>
              <a:avLst/>
              <a:gdLst/>
              <a:ahLst/>
              <a:cxnLst/>
              <a:rect l="l" t="t" r="r" b="b"/>
              <a:pathLst>
                <a:path w="53" h="227" extrusionOk="0">
                  <a:moveTo>
                    <a:pt x="31" y="0"/>
                  </a:moveTo>
                  <a:cubicBezTo>
                    <a:pt x="18" y="0"/>
                    <a:pt x="4" y="53"/>
                    <a:pt x="4" y="113"/>
                  </a:cubicBezTo>
                  <a:cubicBezTo>
                    <a:pt x="0" y="174"/>
                    <a:pt x="14" y="227"/>
                    <a:pt x="26" y="227"/>
                  </a:cubicBezTo>
                  <a:cubicBezTo>
                    <a:pt x="40" y="227"/>
                    <a:pt x="48" y="174"/>
                    <a:pt x="48" y="113"/>
                  </a:cubicBezTo>
                  <a:cubicBezTo>
                    <a:pt x="53" y="53"/>
                    <a:pt x="44" y="0"/>
                    <a:pt x="3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3451;p48">
              <a:extLst>
                <a:ext uri="{FF2B5EF4-FFF2-40B4-BE49-F238E27FC236}">
                  <a16:creationId xmlns:a16="http://schemas.microsoft.com/office/drawing/2014/main" id="{52116F3C-0089-CC67-815F-6DC1756691C7}"/>
                </a:ext>
              </a:extLst>
            </p:cNvPr>
            <p:cNvSpPr/>
            <p:nvPr/>
          </p:nvSpPr>
          <p:spPr>
            <a:xfrm>
              <a:off x="7634369" y="3993823"/>
              <a:ext cx="2655" cy="11160"/>
            </a:xfrm>
            <a:custGeom>
              <a:avLst/>
              <a:gdLst/>
              <a:ahLst/>
              <a:cxnLst/>
              <a:rect l="l" t="t" r="r" b="b"/>
              <a:pathLst>
                <a:path w="54" h="227" extrusionOk="0">
                  <a:moveTo>
                    <a:pt x="31" y="0"/>
                  </a:moveTo>
                  <a:cubicBezTo>
                    <a:pt x="19" y="0"/>
                    <a:pt x="5" y="53"/>
                    <a:pt x="5" y="113"/>
                  </a:cubicBezTo>
                  <a:cubicBezTo>
                    <a:pt x="1" y="174"/>
                    <a:pt x="13" y="227"/>
                    <a:pt x="27" y="227"/>
                  </a:cubicBezTo>
                  <a:cubicBezTo>
                    <a:pt x="40" y="227"/>
                    <a:pt x="49" y="174"/>
                    <a:pt x="49" y="113"/>
                  </a:cubicBezTo>
                  <a:cubicBezTo>
                    <a:pt x="53" y="53"/>
                    <a:pt x="45" y="0"/>
                    <a:pt x="3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3452;p48">
              <a:extLst>
                <a:ext uri="{FF2B5EF4-FFF2-40B4-BE49-F238E27FC236}">
                  <a16:creationId xmlns:a16="http://schemas.microsoft.com/office/drawing/2014/main" id="{F52AAF1A-395E-2BB0-A0EB-873BA3E32B76}"/>
                </a:ext>
              </a:extLst>
            </p:cNvPr>
            <p:cNvSpPr/>
            <p:nvPr/>
          </p:nvSpPr>
          <p:spPr>
            <a:xfrm>
              <a:off x="7633975" y="4015946"/>
              <a:ext cx="2606" cy="11209"/>
            </a:xfrm>
            <a:custGeom>
              <a:avLst/>
              <a:gdLst/>
              <a:ahLst/>
              <a:cxnLst/>
              <a:rect l="l" t="t" r="r" b="b"/>
              <a:pathLst>
                <a:path w="53" h="228" extrusionOk="0">
                  <a:moveTo>
                    <a:pt x="31" y="0"/>
                  </a:moveTo>
                  <a:cubicBezTo>
                    <a:pt x="17" y="0"/>
                    <a:pt x="5" y="53"/>
                    <a:pt x="5" y="113"/>
                  </a:cubicBezTo>
                  <a:cubicBezTo>
                    <a:pt x="0" y="175"/>
                    <a:pt x="13" y="222"/>
                    <a:pt x="27" y="228"/>
                  </a:cubicBezTo>
                  <a:cubicBezTo>
                    <a:pt x="39" y="228"/>
                    <a:pt x="48" y="175"/>
                    <a:pt x="48" y="113"/>
                  </a:cubicBezTo>
                  <a:cubicBezTo>
                    <a:pt x="53" y="53"/>
                    <a:pt x="43" y="0"/>
                    <a:pt x="3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3453;p48">
              <a:extLst>
                <a:ext uri="{FF2B5EF4-FFF2-40B4-BE49-F238E27FC236}">
                  <a16:creationId xmlns:a16="http://schemas.microsoft.com/office/drawing/2014/main" id="{9835AD64-172A-E558-C498-FEBE349AEB37}"/>
                </a:ext>
              </a:extLst>
            </p:cNvPr>
            <p:cNvSpPr/>
            <p:nvPr/>
          </p:nvSpPr>
          <p:spPr>
            <a:xfrm>
              <a:off x="7633533" y="4038070"/>
              <a:ext cx="2606" cy="11012"/>
            </a:xfrm>
            <a:custGeom>
              <a:avLst/>
              <a:gdLst/>
              <a:ahLst/>
              <a:cxnLst/>
              <a:rect l="l" t="t" r="r" b="b"/>
              <a:pathLst>
                <a:path w="53" h="224" extrusionOk="0">
                  <a:moveTo>
                    <a:pt x="30" y="0"/>
                  </a:moveTo>
                  <a:cubicBezTo>
                    <a:pt x="18" y="0"/>
                    <a:pt x="4" y="48"/>
                    <a:pt x="4" y="113"/>
                  </a:cubicBezTo>
                  <a:cubicBezTo>
                    <a:pt x="0" y="175"/>
                    <a:pt x="14" y="223"/>
                    <a:pt x="26" y="223"/>
                  </a:cubicBezTo>
                  <a:cubicBezTo>
                    <a:pt x="40" y="223"/>
                    <a:pt x="48" y="175"/>
                    <a:pt x="48" y="113"/>
                  </a:cubicBezTo>
                  <a:cubicBezTo>
                    <a:pt x="52" y="52"/>
                    <a:pt x="44" y="0"/>
                    <a:pt x="3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3454;p48">
              <a:extLst>
                <a:ext uri="{FF2B5EF4-FFF2-40B4-BE49-F238E27FC236}">
                  <a16:creationId xmlns:a16="http://schemas.microsoft.com/office/drawing/2014/main" id="{CAC9BA2B-2528-887C-22C3-E7B90E17FAE8}"/>
                </a:ext>
              </a:extLst>
            </p:cNvPr>
            <p:cNvSpPr/>
            <p:nvPr/>
          </p:nvSpPr>
          <p:spPr>
            <a:xfrm>
              <a:off x="7633090" y="4060144"/>
              <a:ext cx="2655" cy="11062"/>
            </a:xfrm>
            <a:custGeom>
              <a:avLst/>
              <a:gdLst/>
              <a:ahLst/>
              <a:cxnLst/>
              <a:rect l="l" t="t" r="r" b="b"/>
              <a:pathLst>
                <a:path w="54" h="225" extrusionOk="0">
                  <a:moveTo>
                    <a:pt x="31" y="1"/>
                  </a:moveTo>
                  <a:cubicBezTo>
                    <a:pt x="18" y="1"/>
                    <a:pt x="5" y="49"/>
                    <a:pt x="5" y="110"/>
                  </a:cubicBezTo>
                  <a:cubicBezTo>
                    <a:pt x="1" y="176"/>
                    <a:pt x="13" y="224"/>
                    <a:pt x="27" y="224"/>
                  </a:cubicBezTo>
                  <a:cubicBezTo>
                    <a:pt x="35" y="224"/>
                    <a:pt x="49" y="176"/>
                    <a:pt x="49" y="115"/>
                  </a:cubicBezTo>
                  <a:cubicBezTo>
                    <a:pt x="53" y="49"/>
                    <a:pt x="39" y="1"/>
                    <a:pt x="31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3455;p48">
              <a:extLst>
                <a:ext uri="{FF2B5EF4-FFF2-40B4-BE49-F238E27FC236}">
                  <a16:creationId xmlns:a16="http://schemas.microsoft.com/office/drawing/2014/main" id="{8FB816EE-F040-CA11-FF1F-2F3DD8E8A4BD}"/>
                </a:ext>
              </a:extLst>
            </p:cNvPr>
            <p:cNvSpPr/>
            <p:nvPr/>
          </p:nvSpPr>
          <p:spPr>
            <a:xfrm>
              <a:off x="7632697" y="4082267"/>
              <a:ext cx="2606" cy="11062"/>
            </a:xfrm>
            <a:custGeom>
              <a:avLst/>
              <a:gdLst/>
              <a:ahLst/>
              <a:cxnLst/>
              <a:rect l="l" t="t" r="r" b="b"/>
              <a:pathLst>
                <a:path w="53" h="225" extrusionOk="0">
                  <a:moveTo>
                    <a:pt x="26" y="1"/>
                  </a:moveTo>
                  <a:cubicBezTo>
                    <a:pt x="17" y="1"/>
                    <a:pt x="4" y="49"/>
                    <a:pt x="4" y="111"/>
                  </a:cubicBezTo>
                  <a:cubicBezTo>
                    <a:pt x="0" y="172"/>
                    <a:pt x="9" y="224"/>
                    <a:pt x="21" y="224"/>
                  </a:cubicBezTo>
                  <a:cubicBezTo>
                    <a:pt x="35" y="224"/>
                    <a:pt x="47" y="176"/>
                    <a:pt x="47" y="111"/>
                  </a:cubicBezTo>
                  <a:cubicBezTo>
                    <a:pt x="53" y="49"/>
                    <a:pt x="39" y="1"/>
                    <a:pt x="2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" name="Google Shape;3456;p48">
              <a:extLst>
                <a:ext uri="{FF2B5EF4-FFF2-40B4-BE49-F238E27FC236}">
                  <a16:creationId xmlns:a16="http://schemas.microsoft.com/office/drawing/2014/main" id="{B72C92DE-B0F8-1445-981C-6AD38110DB67}"/>
                </a:ext>
              </a:extLst>
            </p:cNvPr>
            <p:cNvSpPr/>
            <p:nvPr/>
          </p:nvSpPr>
          <p:spPr>
            <a:xfrm>
              <a:off x="7632206" y="4104440"/>
              <a:ext cx="2458" cy="11012"/>
            </a:xfrm>
            <a:custGeom>
              <a:avLst/>
              <a:gdLst/>
              <a:ahLst/>
              <a:cxnLst/>
              <a:rect l="l" t="t" r="r" b="b"/>
              <a:pathLst>
                <a:path w="50" h="224" extrusionOk="0">
                  <a:moveTo>
                    <a:pt x="25" y="1"/>
                  </a:moveTo>
                  <a:cubicBezTo>
                    <a:pt x="14" y="1"/>
                    <a:pt x="5" y="51"/>
                    <a:pt x="1" y="110"/>
                  </a:cubicBezTo>
                  <a:cubicBezTo>
                    <a:pt x="1" y="171"/>
                    <a:pt x="10" y="223"/>
                    <a:pt x="23" y="223"/>
                  </a:cubicBezTo>
                  <a:cubicBezTo>
                    <a:pt x="36" y="223"/>
                    <a:pt x="49" y="175"/>
                    <a:pt x="49" y="110"/>
                  </a:cubicBezTo>
                  <a:cubicBezTo>
                    <a:pt x="49" y="48"/>
                    <a:pt x="41" y="1"/>
                    <a:pt x="27" y="1"/>
                  </a:cubicBezTo>
                  <a:cubicBezTo>
                    <a:pt x="26" y="1"/>
                    <a:pt x="26" y="1"/>
                    <a:pt x="25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3457;p48">
              <a:extLst>
                <a:ext uri="{FF2B5EF4-FFF2-40B4-BE49-F238E27FC236}">
                  <a16:creationId xmlns:a16="http://schemas.microsoft.com/office/drawing/2014/main" id="{7F54CD97-CCAA-0E91-94D1-E7A229B1E1FA}"/>
                </a:ext>
              </a:extLst>
            </p:cNvPr>
            <p:cNvSpPr/>
            <p:nvPr/>
          </p:nvSpPr>
          <p:spPr>
            <a:xfrm>
              <a:off x="7631812" y="4126367"/>
              <a:ext cx="2409" cy="11209"/>
            </a:xfrm>
            <a:custGeom>
              <a:avLst/>
              <a:gdLst/>
              <a:ahLst/>
              <a:cxnLst/>
              <a:rect l="l" t="t" r="r" b="b"/>
              <a:pathLst>
                <a:path w="49" h="228" extrusionOk="0">
                  <a:moveTo>
                    <a:pt x="27" y="1"/>
                  </a:moveTo>
                  <a:cubicBezTo>
                    <a:pt x="13" y="1"/>
                    <a:pt x="5" y="53"/>
                    <a:pt x="0" y="114"/>
                  </a:cubicBezTo>
                  <a:cubicBezTo>
                    <a:pt x="0" y="175"/>
                    <a:pt x="9" y="227"/>
                    <a:pt x="22" y="227"/>
                  </a:cubicBezTo>
                  <a:cubicBezTo>
                    <a:pt x="35" y="227"/>
                    <a:pt x="49" y="175"/>
                    <a:pt x="49" y="114"/>
                  </a:cubicBezTo>
                  <a:cubicBezTo>
                    <a:pt x="49" y="53"/>
                    <a:pt x="39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3458;p48">
              <a:extLst>
                <a:ext uri="{FF2B5EF4-FFF2-40B4-BE49-F238E27FC236}">
                  <a16:creationId xmlns:a16="http://schemas.microsoft.com/office/drawing/2014/main" id="{58615D63-CF3E-7E73-EA8B-894F725A600D}"/>
                </a:ext>
              </a:extLst>
            </p:cNvPr>
            <p:cNvSpPr/>
            <p:nvPr/>
          </p:nvSpPr>
          <p:spPr>
            <a:xfrm>
              <a:off x="7631419" y="4148490"/>
              <a:ext cx="2360" cy="11209"/>
            </a:xfrm>
            <a:custGeom>
              <a:avLst/>
              <a:gdLst/>
              <a:ahLst/>
              <a:cxnLst/>
              <a:rect l="l" t="t" r="r" b="b"/>
              <a:pathLst>
                <a:path w="48" h="228" extrusionOk="0">
                  <a:moveTo>
                    <a:pt x="26" y="1"/>
                  </a:moveTo>
                  <a:cubicBezTo>
                    <a:pt x="13" y="1"/>
                    <a:pt x="0" y="53"/>
                    <a:pt x="0" y="114"/>
                  </a:cubicBezTo>
                  <a:cubicBezTo>
                    <a:pt x="0" y="175"/>
                    <a:pt x="8" y="223"/>
                    <a:pt x="21" y="227"/>
                  </a:cubicBezTo>
                  <a:cubicBezTo>
                    <a:pt x="35" y="227"/>
                    <a:pt x="47" y="175"/>
                    <a:pt x="47" y="114"/>
                  </a:cubicBezTo>
                  <a:cubicBezTo>
                    <a:pt x="47" y="53"/>
                    <a:pt x="39" y="1"/>
                    <a:pt x="2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" name="Google Shape;3459;p48">
              <a:extLst>
                <a:ext uri="{FF2B5EF4-FFF2-40B4-BE49-F238E27FC236}">
                  <a16:creationId xmlns:a16="http://schemas.microsoft.com/office/drawing/2014/main" id="{A82145B0-19F5-B76C-C247-36F12A6BB700}"/>
                </a:ext>
              </a:extLst>
            </p:cNvPr>
            <p:cNvSpPr/>
            <p:nvPr/>
          </p:nvSpPr>
          <p:spPr>
            <a:xfrm>
              <a:off x="7630927" y="4170614"/>
              <a:ext cx="2409" cy="10963"/>
            </a:xfrm>
            <a:custGeom>
              <a:avLst/>
              <a:gdLst/>
              <a:ahLst/>
              <a:cxnLst/>
              <a:rect l="l" t="t" r="r" b="b"/>
              <a:pathLst>
                <a:path w="49" h="223" extrusionOk="0">
                  <a:moveTo>
                    <a:pt x="27" y="1"/>
                  </a:moveTo>
                  <a:cubicBezTo>
                    <a:pt x="14" y="1"/>
                    <a:pt x="1" y="49"/>
                    <a:pt x="1" y="114"/>
                  </a:cubicBezTo>
                  <a:cubicBezTo>
                    <a:pt x="1" y="176"/>
                    <a:pt x="10" y="223"/>
                    <a:pt x="23" y="223"/>
                  </a:cubicBezTo>
                  <a:cubicBezTo>
                    <a:pt x="36" y="223"/>
                    <a:pt x="45" y="176"/>
                    <a:pt x="49" y="114"/>
                  </a:cubicBezTo>
                  <a:cubicBezTo>
                    <a:pt x="49" y="53"/>
                    <a:pt x="40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" name="Google Shape;3460;p48">
              <a:extLst>
                <a:ext uri="{FF2B5EF4-FFF2-40B4-BE49-F238E27FC236}">
                  <a16:creationId xmlns:a16="http://schemas.microsoft.com/office/drawing/2014/main" id="{D9C3A9FB-A4E6-6251-C904-0DDC33BF5D22}"/>
                </a:ext>
              </a:extLst>
            </p:cNvPr>
            <p:cNvSpPr/>
            <p:nvPr/>
          </p:nvSpPr>
          <p:spPr>
            <a:xfrm>
              <a:off x="7630288" y="4192737"/>
              <a:ext cx="2655" cy="11012"/>
            </a:xfrm>
            <a:custGeom>
              <a:avLst/>
              <a:gdLst/>
              <a:ahLst/>
              <a:cxnLst/>
              <a:rect l="l" t="t" r="r" b="b"/>
              <a:pathLst>
                <a:path w="54" h="224" extrusionOk="0">
                  <a:moveTo>
                    <a:pt x="31" y="1"/>
                  </a:moveTo>
                  <a:cubicBezTo>
                    <a:pt x="18" y="1"/>
                    <a:pt x="5" y="49"/>
                    <a:pt x="5" y="110"/>
                  </a:cubicBezTo>
                  <a:cubicBezTo>
                    <a:pt x="1" y="171"/>
                    <a:pt x="9" y="224"/>
                    <a:pt x="23" y="224"/>
                  </a:cubicBezTo>
                  <a:cubicBezTo>
                    <a:pt x="36" y="224"/>
                    <a:pt x="49" y="176"/>
                    <a:pt x="49" y="114"/>
                  </a:cubicBezTo>
                  <a:cubicBezTo>
                    <a:pt x="53" y="49"/>
                    <a:pt x="44" y="1"/>
                    <a:pt x="31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3461;p48">
              <a:extLst>
                <a:ext uri="{FF2B5EF4-FFF2-40B4-BE49-F238E27FC236}">
                  <a16:creationId xmlns:a16="http://schemas.microsoft.com/office/drawing/2014/main" id="{AF610E6D-0376-2C1C-C77C-0C58963D872E}"/>
                </a:ext>
              </a:extLst>
            </p:cNvPr>
            <p:cNvSpPr/>
            <p:nvPr/>
          </p:nvSpPr>
          <p:spPr>
            <a:xfrm>
              <a:off x="7629846" y="4214664"/>
              <a:ext cx="2409" cy="11209"/>
            </a:xfrm>
            <a:custGeom>
              <a:avLst/>
              <a:gdLst/>
              <a:ahLst/>
              <a:cxnLst/>
              <a:rect l="l" t="t" r="r" b="b"/>
              <a:pathLst>
                <a:path w="49" h="228" extrusionOk="0">
                  <a:moveTo>
                    <a:pt x="27" y="0"/>
                  </a:moveTo>
                  <a:cubicBezTo>
                    <a:pt x="14" y="0"/>
                    <a:pt x="6" y="53"/>
                    <a:pt x="1" y="114"/>
                  </a:cubicBezTo>
                  <a:cubicBezTo>
                    <a:pt x="1" y="175"/>
                    <a:pt x="10" y="228"/>
                    <a:pt x="23" y="228"/>
                  </a:cubicBezTo>
                  <a:cubicBezTo>
                    <a:pt x="36" y="228"/>
                    <a:pt x="49" y="175"/>
                    <a:pt x="49" y="114"/>
                  </a:cubicBezTo>
                  <a:cubicBezTo>
                    <a:pt x="49" y="53"/>
                    <a:pt x="40" y="4"/>
                    <a:pt x="2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" name="Google Shape;3462;p48">
              <a:extLst>
                <a:ext uri="{FF2B5EF4-FFF2-40B4-BE49-F238E27FC236}">
                  <a16:creationId xmlns:a16="http://schemas.microsoft.com/office/drawing/2014/main" id="{E503E5DB-9FD4-7174-5746-DC55557A687A}"/>
                </a:ext>
              </a:extLst>
            </p:cNvPr>
            <p:cNvSpPr/>
            <p:nvPr/>
          </p:nvSpPr>
          <p:spPr>
            <a:xfrm>
              <a:off x="7629452" y="4236787"/>
              <a:ext cx="2409" cy="11209"/>
            </a:xfrm>
            <a:custGeom>
              <a:avLst/>
              <a:gdLst/>
              <a:ahLst/>
              <a:cxnLst/>
              <a:rect l="l" t="t" r="r" b="b"/>
              <a:pathLst>
                <a:path w="49" h="228" extrusionOk="0">
                  <a:moveTo>
                    <a:pt x="26" y="0"/>
                  </a:moveTo>
                  <a:cubicBezTo>
                    <a:pt x="14" y="0"/>
                    <a:pt x="0" y="53"/>
                    <a:pt x="0" y="115"/>
                  </a:cubicBezTo>
                  <a:cubicBezTo>
                    <a:pt x="0" y="175"/>
                    <a:pt x="9" y="228"/>
                    <a:pt x="22" y="228"/>
                  </a:cubicBezTo>
                  <a:cubicBezTo>
                    <a:pt x="35" y="228"/>
                    <a:pt x="44" y="175"/>
                    <a:pt x="48" y="115"/>
                  </a:cubicBezTo>
                  <a:cubicBezTo>
                    <a:pt x="48" y="53"/>
                    <a:pt x="40" y="0"/>
                    <a:pt x="26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3463;p48">
              <a:extLst>
                <a:ext uri="{FF2B5EF4-FFF2-40B4-BE49-F238E27FC236}">
                  <a16:creationId xmlns:a16="http://schemas.microsoft.com/office/drawing/2014/main" id="{5E5787D5-55AE-D740-0033-EB3C9CBC2204}"/>
                </a:ext>
              </a:extLst>
            </p:cNvPr>
            <p:cNvSpPr/>
            <p:nvPr/>
          </p:nvSpPr>
          <p:spPr>
            <a:xfrm>
              <a:off x="7628813" y="4258911"/>
              <a:ext cx="2606" cy="11012"/>
            </a:xfrm>
            <a:custGeom>
              <a:avLst/>
              <a:gdLst/>
              <a:ahLst/>
              <a:cxnLst/>
              <a:rect l="l" t="t" r="r" b="b"/>
              <a:pathLst>
                <a:path w="53" h="224" extrusionOk="0">
                  <a:moveTo>
                    <a:pt x="31" y="0"/>
                  </a:moveTo>
                  <a:cubicBezTo>
                    <a:pt x="17" y="0"/>
                    <a:pt x="5" y="48"/>
                    <a:pt x="5" y="110"/>
                  </a:cubicBezTo>
                  <a:cubicBezTo>
                    <a:pt x="1" y="175"/>
                    <a:pt x="9" y="224"/>
                    <a:pt x="22" y="224"/>
                  </a:cubicBezTo>
                  <a:cubicBezTo>
                    <a:pt x="35" y="224"/>
                    <a:pt x="48" y="175"/>
                    <a:pt x="48" y="115"/>
                  </a:cubicBezTo>
                  <a:cubicBezTo>
                    <a:pt x="53" y="53"/>
                    <a:pt x="44" y="0"/>
                    <a:pt x="3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" name="Google Shape;3464;p48">
              <a:extLst>
                <a:ext uri="{FF2B5EF4-FFF2-40B4-BE49-F238E27FC236}">
                  <a16:creationId xmlns:a16="http://schemas.microsoft.com/office/drawing/2014/main" id="{E4C2EC8E-6798-FAB1-A851-1CDD9790C916}"/>
                </a:ext>
              </a:extLst>
            </p:cNvPr>
            <p:cNvSpPr/>
            <p:nvPr/>
          </p:nvSpPr>
          <p:spPr>
            <a:xfrm>
              <a:off x="7628371" y="4281083"/>
              <a:ext cx="2409" cy="10963"/>
            </a:xfrm>
            <a:custGeom>
              <a:avLst/>
              <a:gdLst/>
              <a:ahLst/>
              <a:cxnLst/>
              <a:rect l="l" t="t" r="r" b="b"/>
              <a:pathLst>
                <a:path w="49" h="223" extrusionOk="0">
                  <a:moveTo>
                    <a:pt x="26" y="0"/>
                  </a:moveTo>
                  <a:cubicBezTo>
                    <a:pt x="14" y="0"/>
                    <a:pt x="4" y="47"/>
                    <a:pt x="0" y="109"/>
                  </a:cubicBezTo>
                  <a:cubicBezTo>
                    <a:pt x="0" y="170"/>
                    <a:pt x="10" y="223"/>
                    <a:pt x="22" y="223"/>
                  </a:cubicBezTo>
                  <a:cubicBezTo>
                    <a:pt x="36" y="223"/>
                    <a:pt x="48" y="174"/>
                    <a:pt x="48" y="109"/>
                  </a:cubicBezTo>
                  <a:cubicBezTo>
                    <a:pt x="48" y="47"/>
                    <a:pt x="40" y="0"/>
                    <a:pt x="26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" name="Google Shape;3465;p48">
              <a:extLst>
                <a:ext uri="{FF2B5EF4-FFF2-40B4-BE49-F238E27FC236}">
                  <a16:creationId xmlns:a16="http://schemas.microsoft.com/office/drawing/2014/main" id="{2D997686-F115-0694-94C6-BA5A5FDF6DEA}"/>
                </a:ext>
              </a:extLst>
            </p:cNvPr>
            <p:cNvSpPr/>
            <p:nvPr/>
          </p:nvSpPr>
          <p:spPr>
            <a:xfrm>
              <a:off x="7627732" y="4302961"/>
              <a:ext cx="2606" cy="11209"/>
            </a:xfrm>
            <a:custGeom>
              <a:avLst/>
              <a:gdLst/>
              <a:ahLst/>
              <a:cxnLst/>
              <a:rect l="l" t="t" r="r" b="b"/>
              <a:pathLst>
                <a:path w="53" h="228" extrusionOk="0">
                  <a:moveTo>
                    <a:pt x="31" y="1"/>
                  </a:moveTo>
                  <a:cubicBezTo>
                    <a:pt x="17" y="1"/>
                    <a:pt x="5" y="53"/>
                    <a:pt x="5" y="114"/>
                  </a:cubicBezTo>
                  <a:cubicBezTo>
                    <a:pt x="1" y="175"/>
                    <a:pt x="9" y="227"/>
                    <a:pt x="23" y="227"/>
                  </a:cubicBezTo>
                  <a:cubicBezTo>
                    <a:pt x="35" y="227"/>
                    <a:pt x="49" y="175"/>
                    <a:pt x="49" y="114"/>
                  </a:cubicBezTo>
                  <a:cubicBezTo>
                    <a:pt x="53" y="53"/>
                    <a:pt x="44" y="1"/>
                    <a:pt x="31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3466;p48">
              <a:extLst>
                <a:ext uri="{FF2B5EF4-FFF2-40B4-BE49-F238E27FC236}">
                  <a16:creationId xmlns:a16="http://schemas.microsoft.com/office/drawing/2014/main" id="{62E1E75F-A7AC-2E6E-0708-2F61E023CAD2}"/>
                </a:ext>
              </a:extLst>
            </p:cNvPr>
            <p:cNvSpPr/>
            <p:nvPr/>
          </p:nvSpPr>
          <p:spPr>
            <a:xfrm>
              <a:off x="7627289" y="4325084"/>
              <a:ext cx="2409" cy="11012"/>
            </a:xfrm>
            <a:custGeom>
              <a:avLst/>
              <a:gdLst/>
              <a:ahLst/>
              <a:cxnLst/>
              <a:rect l="l" t="t" r="r" b="b"/>
              <a:pathLst>
                <a:path w="49" h="224" extrusionOk="0">
                  <a:moveTo>
                    <a:pt x="26" y="1"/>
                  </a:moveTo>
                  <a:cubicBezTo>
                    <a:pt x="14" y="1"/>
                    <a:pt x="5" y="49"/>
                    <a:pt x="0" y="114"/>
                  </a:cubicBezTo>
                  <a:cubicBezTo>
                    <a:pt x="0" y="175"/>
                    <a:pt x="10" y="223"/>
                    <a:pt x="22" y="223"/>
                  </a:cubicBezTo>
                  <a:cubicBezTo>
                    <a:pt x="36" y="223"/>
                    <a:pt x="44" y="175"/>
                    <a:pt x="48" y="114"/>
                  </a:cubicBezTo>
                  <a:cubicBezTo>
                    <a:pt x="48" y="53"/>
                    <a:pt x="40" y="1"/>
                    <a:pt x="2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3467;p48">
              <a:extLst>
                <a:ext uri="{FF2B5EF4-FFF2-40B4-BE49-F238E27FC236}">
                  <a16:creationId xmlns:a16="http://schemas.microsoft.com/office/drawing/2014/main" id="{A8BDD7AA-7511-0ABF-602F-D9CC9EB416A7}"/>
                </a:ext>
              </a:extLst>
            </p:cNvPr>
            <p:cNvSpPr/>
            <p:nvPr/>
          </p:nvSpPr>
          <p:spPr>
            <a:xfrm>
              <a:off x="7626650" y="4347208"/>
              <a:ext cx="2606" cy="11012"/>
            </a:xfrm>
            <a:custGeom>
              <a:avLst/>
              <a:gdLst/>
              <a:ahLst/>
              <a:cxnLst/>
              <a:rect l="l" t="t" r="r" b="b"/>
              <a:pathLst>
                <a:path w="53" h="224" extrusionOk="0">
                  <a:moveTo>
                    <a:pt x="31" y="1"/>
                  </a:moveTo>
                  <a:cubicBezTo>
                    <a:pt x="18" y="1"/>
                    <a:pt x="5" y="49"/>
                    <a:pt x="5" y="110"/>
                  </a:cubicBezTo>
                  <a:cubicBezTo>
                    <a:pt x="1" y="171"/>
                    <a:pt x="9" y="223"/>
                    <a:pt x="23" y="223"/>
                  </a:cubicBezTo>
                  <a:cubicBezTo>
                    <a:pt x="35" y="223"/>
                    <a:pt x="49" y="176"/>
                    <a:pt x="49" y="110"/>
                  </a:cubicBezTo>
                  <a:cubicBezTo>
                    <a:pt x="53" y="49"/>
                    <a:pt x="45" y="1"/>
                    <a:pt x="31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1" name="Google Shape;3468;p48">
              <a:extLst>
                <a:ext uri="{FF2B5EF4-FFF2-40B4-BE49-F238E27FC236}">
                  <a16:creationId xmlns:a16="http://schemas.microsoft.com/office/drawing/2014/main" id="{67DC1E98-BC41-AEE7-D6C6-5498865F4656}"/>
                </a:ext>
              </a:extLst>
            </p:cNvPr>
            <p:cNvSpPr/>
            <p:nvPr/>
          </p:nvSpPr>
          <p:spPr>
            <a:xfrm>
              <a:off x="7626257" y="4369134"/>
              <a:ext cx="2360" cy="11258"/>
            </a:xfrm>
            <a:custGeom>
              <a:avLst/>
              <a:gdLst/>
              <a:ahLst/>
              <a:cxnLst/>
              <a:rect l="l" t="t" r="r" b="b"/>
              <a:pathLst>
                <a:path w="48" h="229" extrusionOk="0">
                  <a:moveTo>
                    <a:pt x="26" y="1"/>
                  </a:moveTo>
                  <a:cubicBezTo>
                    <a:pt x="13" y="1"/>
                    <a:pt x="0" y="53"/>
                    <a:pt x="0" y="114"/>
                  </a:cubicBezTo>
                  <a:cubicBezTo>
                    <a:pt x="0" y="176"/>
                    <a:pt x="9" y="228"/>
                    <a:pt x="21" y="228"/>
                  </a:cubicBezTo>
                  <a:cubicBezTo>
                    <a:pt x="35" y="228"/>
                    <a:pt x="43" y="176"/>
                    <a:pt x="47" y="114"/>
                  </a:cubicBezTo>
                  <a:cubicBezTo>
                    <a:pt x="47" y="53"/>
                    <a:pt x="39" y="1"/>
                    <a:pt x="2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2" name="Google Shape;3469;p48">
              <a:extLst>
                <a:ext uri="{FF2B5EF4-FFF2-40B4-BE49-F238E27FC236}">
                  <a16:creationId xmlns:a16="http://schemas.microsoft.com/office/drawing/2014/main" id="{3B30EB46-A488-3C64-45B9-8FD8F598F5AB}"/>
                </a:ext>
              </a:extLst>
            </p:cNvPr>
            <p:cNvSpPr/>
            <p:nvPr/>
          </p:nvSpPr>
          <p:spPr>
            <a:xfrm>
              <a:off x="7625569" y="4391258"/>
              <a:ext cx="2409" cy="11012"/>
            </a:xfrm>
            <a:custGeom>
              <a:avLst/>
              <a:gdLst/>
              <a:ahLst/>
              <a:cxnLst/>
              <a:rect l="l" t="t" r="r" b="b"/>
              <a:pathLst>
                <a:path w="49" h="224" extrusionOk="0">
                  <a:moveTo>
                    <a:pt x="27" y="1"/>
                  </a:moveTo>
                  <a:cubicBezTo>
                    <a:pt x="14" y="1"/>
                    <a:pt x="5" y="49"/>
                    <a:pt x="0" y="110"/>
                  </a:cubicBezTo>
                  <a:cubicBezTo>
                    <a:pt x="0" y="176"/>
                    <a:pt x="9" y="224"/>
                    <a:pt x="23" y="224"/>
                  </a:cubicBezTo>
                  <a:cubicBezTo>
                    <a:pt x="35" y="224"/>
                    <a:pt x="49" y="176"/>
                    <a:pt x="49" y="114"/>
                  </a:cubicBezTo>
                  <a:cubicBezTo>
                    <a:pt x="49" y="53"/>
                    <a:pt x="40" y="1"/>
                    <a:pt x="2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3470;p48">
              <a:extLst>
                <a:ext uri="{FF2B5EF4-FFF2-40B4-BE49-F238E27FC236}">
                  <a16:creationId xmlns:a16="http://schemas.microsoft.com/office/drawing/2014/main" id="{D7256130-20DD-DB1A-25B2-DE458070DB60}"/>
                </a:ext>
              </a:extLst>
            </p:cNvPr>
            <p:cNvSpPr/>
            <p:nvPr/>
          </p:nvSpPr>
          <p:spPr>
            <a:xfrm>
              <a:off x="7624929" y="4413381"/>
              <a:ext cx="2655" cy="9931"/>
            </a:xfrm>
            <a:custGeom>
              <a:avLst/>
              <a:gdLst/>
              <a:ahLst/>
              <a:cxnLst/>
              <a:rect l="l" t="t" r="r" b="b"/>
              <a:pathLst>
                <a:path w="54" h="202" extrusionOk="0">
                  <a:moveTo>
                    <a:pt x="30" y="0"/>
                  </a:moveTo>
                  <a:cubicBezTo>
                    <a:pt x="17" y="0"/>
                    <a:pt x="5" y="47"/>
                    <a:pt x="5" y="101"/>
                  </a:cubicBezTo>
                  <a:cubicBezTo>
                    <a:pt x="1" y="154"/>
                    <a:pt x="9" y="202"/>
                    <a:pt x="22" y="202"/>
                  </a:cubicBezTo>
                  <a:cubicBezTo>
                    <a:pt x="36" y="202"/>
                    <a:pt x="48" y="158"/>
                    <a:pt x="48" y="101"/>
                  </a:cubicBezTo>
                  <a:cubicBezTo>
                    <a:pt x="53" y="45"/>
                    <a:pt x="40" y="1"/>
                    <a:pt x="31" y="1"/>
                  </a:cubicBezTo>
                  <a:cubicBezTo>
                    <a:pt x="31" y="0"/>
                    <a:pt x="30" y="0"/>
                    <a:pt x="3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3471;p48">
              <a:extLst>
                <a:ext uri="{FF2B5EF4-FFF2-40B4-BE49-F238E27FC236}">
                  <a16:creationId xmlns:a16="http://schemas.microsoft.com/office/drawing/2014/main" id="{80EF91D2-F4A2-BFFC-DBE6-BEBC2349B4B4}"/>
                </a:ext>
              </a:extLst>
            </p:cNvPr>
            <p:cNvSpPr/>
            <p:nvPr/>
          </p:nvSpPr>
          <p:spPr>
            <a:xfrm>
              <a:off x="7514706" y="1446484"/>
              <a:ext cx="260020" cy="446740"/>
            </a:xfrm>
            <a:custGeom>
              <a:avLst/>
              <a:gdLst/>
              <a:ahLst/>
              <a:cxnLst/>
              <a:rect l="l" t="t" r="r" b="b"/>
              <a:pathLst>
                <a:path w="5289" h="9087" extrusionOk="0">
                  <a:moveTo>
                    <a:pt x="2334" y="1"/>
                  </a:moveTo>
                  <a:cubicBezTo>
                    <a:pt x="1532" y="1"/>
                    <a:pt x="729" y="198"/>
                    <a:pt x="1" y="595"/>
                  </a:cubicBezTo>
                  <a:cubicBezTo>
                    <a:pt x="1" y="595"/>
                    <a:pt x="57" y="3794"/>
                    <a:pt x="202" y="5176"/>
                  </a:cubicBezTo>
                  <a:cubicBezTo>
                    <a:pt x="350" y="6561"/>
                    <a:pt x="1753" y="6644"/>
                    <a:pt x="1753" y="6644"/>
                  </a:cubicBezTo>
                  <a:cubicBezTo>
                    <a:pt x="1753" y="6644"/>
                    <a:pt x="1876" y="8628"/>
                    <a:pt x="1902" y="9082"/>
                  </a:cubicBezTo>
                  <a:cubicBezTo>
                    <a:pt x="1902" y="9087"/>
                    <a:pt x="1906" y="9087"/>
                    <a:pt x="1910" y="9087"/>
                  </a:cubicBezTo>
                  <a:lnTo>
                    <a:pt x="5148" y="8012"/>
                  </a:lnTo>
                  <a:lnTo>
                    <a:pt x="5210" y="4035"/>
                  </a:lnTo>
                  <a:lnTo>
                    <a:pt x="5289" y="2575"/>
                  </a:lnTo>
                  <a:lnTo>
                    <a:pt x="5249" y="950"/>
                  </a:lnTo>
                  <a:lnTo>
                    <a:pt x="4904" y="732"/>
                  </a:lnTo>
                  <a:cubicBezTo>
                    <a:pt x="4119" y="245"/>
                    <a:pt x="3227" y="1"/>
                    <a:pt x="2334" y="1"/>
                  </a:cubicBezTo>
                  <a:close/>
                </a:path>
              </a:pathLst>
            </a:custGeom>
            <a:solidFill>
              <a:srgbClr val="E5BAA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3472;p48">
              <a:extLst>
                <a:ext uri="{FF2B5EF4-FFF2-40B4-BE49-F238E27FC236}">
                  <a16:creationId xmlns:a16="http://schemas.microsoft.com/office/drawing/2014/main" id="{D5AABA51-CEB8-C45F-10E9-F156AD6A244A}"/>
                </a:ext>
              </a:extLst>
            </p:cNvPr>
            <p:cNvSpPr/>
            <p:nvPr/>
          </p:nvSpPr>
          <p:spPr>
            <a:xfrm>
              <a:off x="7525030" y="1575636"/>
              <a:ext cx="17895" cy="17699"/>
            </a:xfrm>
            <a:custGeom>
              <a:avLst/>
              <a:gdLst/>
              <a:ahLst/>
              <a:cxnLst/>
              <a:rect l="l" t="t" r="r" b="b"/>
              <a:pathLst>
                <a:path w="364" h="360" extrusionOk="0">
                  <a:moveTo>
                    <a:pt x="183" y="1"/>
                  </a:moveTo>
                  <a:cubicBezTo>
                    <a:pt x="180" y="1"/>
                    <a:pt x="178" y="1"/>
                    <a:pt x="175" y="1"/>
                  </a:cubicBezTo>
                  <a:cubicBezTo>
                    <a:pt x="75" y="5"/>
                    <a:pt x="0" y="88"/>
                    <a:pt x="4" y="189"/>
                  </a:cubicBezTo>
                  <a:cubicBezTo>
                    <a:pt x="9" y="283"/>
                    <a:pt x="88" y="360"/>
                    <a:pt x="181" y="360"/>
                  </a:cubicBezTo>
                  <a:cubicBezTo>
                    <a:pt x="183" y="360"/>
                    <a:pt x="186" y="360"/>
                    <a:pt x="188" y="360"/>
                  </a:cubicBezTo>
                  <a:cubicBezTo>
                    <a:pt x="289" y="354"/>
                    <a:pt x="363" y="272"/>
                    <a:pt x="359" y="171"/>
                  </a:cubicBezTo>
                  <a:cubicBezTo>
                    <a:pt x="355" y="78"/>
                    <a:pt x="275" y="1"/>
                    <a:pt x="18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3473;p48">
              <a:extLst>
                <a:ext uri="{FF2B5EF4-FFF2-40B4-BE49-F238E27FC236}">
                  <a16:creationId xmlns:a16="http://schemas.microsoft.com/office/drawing/2014/main" id="{B1709E9F-BD6E-007D-DD9B-9225A87AA512}"/>
                </a:ext>
              </a:extLst>
            </p:cNvPr>
            <p:cNvSpPr/>
            <p:nvPr/>
          </p:nvSpPr>
          <p:spPr>
            <a:xfrm>
              <a:off x="7523949" y="1570375"/>
              <a:ext cx="35495" cy="11701"/>
            </a:xfrm>
            <a:custGeom>
              <a:avLst/>
              <a:gdLst/>
              <a:ahLst/>
              <a:cxnLst/>
              <a:rect l="l" t="t" r="r" b="b"/>
              <a:pathLst>
                <a:path w="722" h="238" extrusionOk="0">
                  <a:moveTo>
                    <a:pt x="393" y="0"/>
                  </a:moveTo>
                  <a:cubicBezTo>
                    <a:pt x="376" y="0"/>
                    <a:pt x="359" y="1"/>
                    <a:pt x="341" y="3"/>
                  </a:cubicBezTo>
                  <a:cubicBezTo>
                    <a:pt x="224" y="16"/>
                    <a:pt x="127" y="73"/>
                    <a:pt x="75" y="126"/>
                  </a:cubicBezTo>
                  <a:cubicBezTo>
                    <a:pt x="18" y="178"/>
                    <a:pt x="0" y="221"/>
                    <a:pt x="14" y="235"/>
                  </a:cubicBezTo>
                  <a:cubicBezTo>
                    <a:pt x="16" y="237"/>
                    <a:pt x="18" y="238"/>
                    <a:pt x="22" y="238"/>
                  </a:cubicBezTo>
                  <a:cubicBezTo>
                    <a:pt x="58" y="238"/>
                    <a:pt x="178" y="137"/>
                    <a:pt x="355" y="121"/>
                  </a:cubicBezTo>
                  <a:cubicBezTo>
                    <a:pt x="375" y="118"/>
                    <a:pt x="395" y="117"/>
                    <a:pt x="415" y="117"/>
                  </a:cubicBezTo>
                  <a:cubicBezTo>
                    <a:pt x="550" y="117"/>
                    <a:pt x="657" y="165"/>
                    <a:pt x="695" y="165"/>
                  </a:cubicBezTo>
                  <a:cubicBezTo>
                    <a:pt x="701" y="165"/>
                    <a:pt x="706" y="164"/>
                    <a:pt x="708" y="160"/>
                  </a:cubicBezTo>
                  <a:cubicBezTo>
                    <a:pt x="722" y="147"/>
                    <a:pt x="696" y="108"/>
                    <a:pt x="630" y="64"/>
                  </a:cubicBezTo>
                  <a:cubicBezTo>
                    <a:pt x="574" y="31"/>
                    <a:pt x="490" y="0"/>
                    <a:pt x="39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" name="Google Shape;3474;p48">
              <a:extLst>
                <a:ext uri="{FF2B5EF4-FFF2-40B4-BE49-F238E27FC236}">
                  <a16:creationId xmlns:a16="http://schemas.microsoft.com/office/drawing/2014/main" id="{5A10CDC5-FD1F-8BFC-80E8-D2CB73B29CA9}"/>
                </a:ext>
              </a:extLst>
            </p:cNvPr>
            <p:cNvSpPr/>
            <p:nvPr/>
          </p:nvSpPr>
          <p:spPr>
            <a:xfrm>
              <a:off x="7627535" y="1571703"/>
              <a:ext cx="19812" cy="17404"/>
            </a:xfrm>
            <a:custGeom>
              <a:avLst/>
              <a:gdLst/>
              <a:ahLst/>
              <a:cxnLst/>
              <a:rect l="l" t="t" r="r" b="b"/>
              <a:pathLst>
                <a:path w="403" h="354" extrusionOk="0">
                  <a:moveTo>
                    <a:pt x="201" y="0"/>
                  </a:moveTo>
                  <a:cubicBezTo>
                    <a:pt x="165" y="0"/>
                    <a:pt x="128" y="12"/>
                    <a:pt x="96" y="37"/>
                  </a:cubicBezTo>
                  <a:cubicBezTo>
                    <a:pt x="17" y="94"/>
                    <a:pt x="0" y="204"/>
                    <a:pt x="61" y="282"/>
                  </a:cubicBezTo>
                  <a:cubicBezTo>
                    <a:pt x="95" y="329"/>
                    <a:pt x="148" y="354"/>
                    <a:pt x="202" y="354"/>
                  </a:cubicBezTo>
                  <a:cubicBezTo>
                    <a:pt x="240" y="354"/>
                    <a:pt x="278" y="342"/>
                    <a:pt x="310" y="317"/>
                  </a:cubicBezTo>
                  <a:cubicBezTo>
                    <a:pt x="388" y="260"/>
                    <a:pt x="402" y="151"/>
                    <a:pt x="345" y="73"/>
                  </a:cubicBezTo>
                  <a:cubicBezTo>
                    <a:pt x="309" y="26"/>
                    <a:pt x="255" y="0"/>
                    <a:pt x="2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" name="Google Shape;3475;p48">
              <a:extLst>
                <a:ext uri="{FF2B5EF4-FFF2-40B4-BE49-F238E27FC236}">
                  <a16:creationId xmlns:a16="http://schemas.microsoft.com/office/drawing/2014/main" id="{7B34355B-1449-2E9F-A425-B83069B5C25B}"/>
                </a:ext>
              </a:extLst>
            </p:cNvPr>
            <p:cNvSpPr/>
            <p:nvPr/>
          </p:nvSpPr>
          <p:spPr>
            <a:xfrm>
              <a:off x="7628125" y="1565852"/>
              <a:ext cx="35299" cy="11504"/>
            </a:xfrm>
            <a:custGeom>
              <a:avLst/>
              <a:gdLst/>
              <a:ahLst/>
              <a:cxnLst/>
              <a:rect l="l" t="t" r="r" b="b"/>
              <a:pathLst>
                <a:path w="718" h="234" extrusionOk="0">
                  <a:moveTo>
                    <a:pt x="389" y="0"/>
                  </a:moveTo>
                  <a:cubicBezTo>
                    <a:pt x="372" y="0"/>
                    <a:pt x="355" y="1"/>
                    <a:pt x="338" y="3"/>
                  </a:cubicBezTo>
                  <a:cubicBezTo>
                    <a:pt x="219" y="16"/>
                    <a:pt x="124" y="69"/>
                    <a:pt x="71" y="121"/>
                  </a:cubicBezTo>
                  <a:cubicBezTo>
                    <a:pt x="15" y="178"/>
                    <a:pt x="1" y="222"/>
                    <a:pt x="9" y="230"/>
                  </a:cubicBezTo>
                  <a:cubicBezTo>
                    <a:pt x="12" y="232"/>
                    <a:pt x="14" y="233"/>
                    <a:pt x="18" y="233"/>
                  </a:cubicBezTo>
                  <a:cubicBezTo>
                    <a:pt x="57" y="233"/>
                    <a:pt x="178" y="132"/>
                    <a:pt x="350" y="117"/>
                  </a:cubicBezTo>
                  <a:cubicBezTo>
                    <a:pt x="372" y="115"/>
                    <a:pt x="394" y="113"/>
                    <a:pt x="414" y="113"/>
                  </a:cubicBezTo>
                  <a:cubicBezTo>
                    <a:pt x="551" y="113"/>
                    <a:pt x="657" y="161"/>
                    <a:pt x="695" y="161"/>
                  </a:cubicBezTo>
                  <a:cubicBezTo>
                    <a:pt x="702" y="161"/>
                    <a:pt x="707" y="159"/>
                    <a:pt x="709" y="156"/>
                  </a:cubicBezTo>
                  <a:cubicBezTo>
                    <a:pt x="717" y="147"/>
                    <a:pt x="691" y="103"/>
                    <a:pt x="626" y="65"/>
                  </a:cubicBezTo>
                  <a:cubicBezTo>
                    <a:pt x="574" y="30"/>
                    <a:pt x="489" y="0"/>
                    <a:pt x="38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3476;p48">
              <a:extLst>
                <a:ext uri="{FF2B5EF4-FFF2-40B4-BE49-F238E27FC236}">
                  <a16:creationId xmlns:a16="http://schemas.microsoft.com/office/drawing/2014/main" id="{DAE02A65-5228-FA7A-AA73-7465A28E1AA3}"/>
                </a:ext>
              </a:extLst>
            </p:cNvPr>
            <p:cNvSpPr/>
            <p:nvPr/>
          </p:nvSpPr>
          <p:spPr>
            <a:xfrm>
              <a:off x="7572522" y="1576078"/>
              <a:ext cx="25810" cy="83970"/>
            </a:xfrm>
            <a:custGeom>
              <a:avLst/>
              <a:gdLst/>
              <a:ahLst/>
              <a:cxnLst/>
              <a:rect l="l" t="t" r="r" b="b"/>
              <a:pathLst>
                <a:path w="525" h="1708" extrusionOk="0">
                  <a:moveTo>
                    <a:pt x="480" y="0"/>
                  </a:moveTo>
                  <a:cubicBezTo>
                    <a:pt x="452" y="0"/>
                    <a:pt x="305" y="455"/>
                    <a:pt x="149" y="1019"/>
                  </a:cubicBezTo>
                  <a:cubicBezTo>
                    <a:pt x="114" y="1154"/>
                    <a:pt x="79" y="1285"/>
                    <a:pt x="44" y="1426"/>
                  </a:cubicBezTo>
                  <a:cubicBezTo>
                    <a:pt x="31" y="1482"/>
                    <a:pt x="0" y="1552"/>
                    <a:pt x="35" y="1630"/>
                  </a:cubicBezTo>
                  <a:cubicBezTo>
                    <a:pt x="67" y="1695"/>
                    <a:pt x="126" y="1707"/>
                    <a:pt x="170" y="1707"/>
                  </a:cubicBezTo>
                  <a:cubicBezTo>
                    <a:pt x="186" y="1707"/>
                    <a:pt x="200" y="1706"/>
                    <a:pt x="210" y="1705"/>
                  </a:cubicBezTo>
                  <a:cubicBezTo>
                    <a:pt x="406" y="1696"/>
                    <a:pt x="525" y="1683"/>
                    <a:pt x="525" y="1666"/>
                  </a:cubicBezTo>
                  <a:cubicBezTo>
                    <a:pt x="525" y="1652"/>
                    <a:pt x="402" y="1640"/>
                    <a:pt x="210" y="1635"/>
                  </a:cubicBezTo>
                  <a:cubicBezTo>
                    <a:pt x="162" y="1630"/>
                    <a:pt x="118" y="1626"/>
                    <a:pt x="109" y="1596"/>
                  </a:cubicBezTo>
                  <a:cubicBezTo>
                    <a:pt x="97" y="1565"/>
                    <a:pt x="114" y="1509"/>
                    <a:pt x="131" y="1447"/>
                  </a:cubicBezTo>
                  <a:cubicBezTo>
                    <a:pt x="170" y="1311"/>
                    <a:pt x="210" y="1180"/>
                    <a:pt x="245" y="1049"/>
                  </a:cubicBezTo>
                  <a:cubicBezTo>
                    <a:pt x="402" y="476"/>
                    <a:pt x="507" y="10"/>
                    <a:pt x="481" y="0"/>
                  </a:cubicBezTo>
                  <a:cubicBezTo>
                    <a:pt x="480" y="0"/>
                    <a:pt x="480" y="0"/>
                    <a:pt x="48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3477;p48">
              <a:extLst>
                <a:ext uri="{FF2B5EF4-FFF2-40B4-BE49-F238E27FC236}">
                  <a16:creationId xmlns:a16="http://schemas.microsoft.com/office/drawing/2014/main" id="{3328536F-9EDE-4F47-DBC7-C42A371A0565}"/>
                </a:ext>
              </a:extLst>
            </p:cNvPr>
            <p:cNvSpPr/>
            <p:nvPr/>
          </p:nvSpPr>
          <p:spPr>
            <a:xfrm>
              <a:off x="7585009" y="1664277"/>
              <a:ext cx="51129" cy="29055"/>
            </a:xfrm>
            <a:custGeom>
              <a:avLst/>
              <a:gdLst/>
              <a:ahLst/>
              <a:cxnLst/>
              <a:rect l="l" t="t" r="r" b="b"/>
              <a:pathLst>
                <a:path w="1040" h="591" extrusionOk="0">
                  <a:moveTo>
                    <a:pt x="939" y="1"/>
                  </a:moveTo>
                  <a:cubicBezTo>
                    <a:pt x="924" y="1"/>
                    <a:pt x="340" y="368"/>
                    <a:pt x="0" y="383"/>
                  </a:cubicBezTo>
                  <a:cubicBezTo>
                    <a:pt x="0" y="383"/>
                    <a:pt x="159" y="591"/>
                    <a:pt x="413" y="591"/>
                  </a:cubicBezTo>
                  <a:cubicBezTo>
                    <a:pt x="483" y="591"/>
                    <a:pt x="560" y="575"/>
                    <a:pt x="642" y="536"/>
                  </a:cubicBezTo>
                  <a:cubicBezTo>
                    <a:pt x="1039" y="348"/>
                    <a:pt x="908" y="25"/>
                    <a:pt x="908" y="25"/>
                  </a:cubicBezTo>
                  <a:cubicBezTo>
                    <a:pt x="932" y="8"/>
                    <a:pt x="941" y="1"/>
                    <a:pt x="93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" name="Google Shape;3478;p48">
              <a:extLst>
                <a:ext uri="{FF2B5EF4-FFF2-40B4-BE49-F238E27FC236}">
                  <a16:creationId xmlns:a16="http://schemas.microsoft.com/office/drawing/2014/main" id="{E520E158-30C0-E853-8B1C-8F9A5F1CCD3A}"/>
                </a:ext>
              </a:extLst>
            </p:cNvPr>
            <p:cNvSpPr/>
            <p:nvPr/>
          </p:nvSpPr>
          <p:spPr>
            <a:xfrm>
              <a:off x="7600889" y="1739988"/>
              <a:ext cx="88984" cy="51227"/>
            </a:xfrm>
            <a:custGeom>
              <a:avLst/>
              <a:gdLst/>
              <a:ahLst/>
              <a:cxnLst/>
              <a:rect l="l" t="t" r="r" b="b"/>
              <a:pathLst>
                <a:path w="1810" h="1042" extrusionOk="0">
                  <a:moveTo>
                    <a:pt x="1809" y="1"/>
                  </a:moveTo>
                  <a:cubicBezTo>
                    <a:pt x="936" y="670"/>
                    <a:pt x="0" y="700"/>
                    <a:pt x="0" y="700"/>
                  </a:cubicBezTo>
                  <a:lnTo>
                    <a:pt x="44" y="1041"/>
                  </a:lnTo>
                  <a:cubicBezTo>
                    <a:pt x="1438" y="1037"/>
                    <a:pt x="1809" y="1"/>
                    <a:pt x="1809" y="1"/>
                  </a:cubicBezTo>
                  <a:close/>
                </a:path>
              </a:pathLst>
            </a:custGeom>
            <a:solidFill>
              <a:srgbClr val="D7877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" name="Google Shape;3479;p48">
              <a:extLst>
                <a:ext uri="{FF2B5EF4-FFF2-40B4-BE49-F238E27FC236}">
                  <a16:creationId xmlns:a16="http://schemas.microsoft.com/office/drawing/2014/main" id="{5EE9176D-A855-F6A7-07B3-27CF84D735DE}"/>
                </a:ext>
              </a:extLst>
            </p:cNvPr>
            <p:cNvSpPr/>
            <p:nvPr/>
          </p:nvSpPr>
          <p:spPr>
            <a:xfrm>
              <a:off x="7480980" y="1388275"/>
              <a:ext cx="320343" cy="244387"/>
            </a:xfrm>
            <a:custGeom>
              <a:avLst/>
              <a:gdLst/>
              <a:ahLst/>
              <a:cxnLst/>
              <a:rect l="l" t="t" r="r" b="b"/>
              <a:pathLst>
                <a:path w="6516" h="4971" extrusionOk="0">
                  <a:moveTo>
                    <a:pt x="3129" y="0"/>
                  </a:moveTo>
                  <a:cubicBezTo>
                    <a:pt x="2898" y="0"/>
                    <a:pt x="2671" y="43"/>
                    <a:pt x="2461" y="141"/>
                  </a:cubicBezTo>
                  <a:cubicBezTo>
                    <a:pt x="2251" y="242"/>
                    <a:pt x="2068" y="390"/>
                    <a:pt x="1854" y="473"/>
                  </a:cubicBezTo>
                  <a:cubicBezTo>
                    <a:pt x="1399" y="652"/>
                    <a:pt x="840" y="521"/>
                    <a:pt x="442" y="801"/>
                  </a:cubicBezTo>
                  <a:cubicBezTo>
                    <a:pt x="79" y="1063"/>
                    <a:pt x="1" y="1614"/>
                    <a:pt x="210" y="2007"/>
                  </a:cubicBezTo>
                  <a:cubicBezTo>
                    <a:pt x="424" y="2400"/>
                    <a:pt x="862" y="2636"/>
                    <a:pt x="1303" y="2693"/>
                  </a:cubicBezTo>
                  <a:cubicBezTo>
                    <a:pt x="1389" y="2704"/>
                    <a:pt x="1475" y="2709"/>
                    <a:pt x="1561" y="2709"/>
                  </a:cubicBezTo>
                  <a:cubicBezTo>
                    <a:pt x="1918" y="2709"/>
                    <a:pt x="2276" y="2621"/>
                    <a:pt x="2614" y="2501"/>
                  </a:cubicBezTo>
                  <a:cubicBezTo>
                    <a:pt x="2791" y="2439"/>
                    <a:pt x="2980" y="2370"/>
                    <a:pt x="3162" y="2370"/>
                  </a:cubicBezTo>
                  <a:cubicBezTo>
                    <a:pt x="3236" y="2370"/>
                    <a:pt x="3308" y="2381"/>
                    <a:pt x="3379" y="2409"/>
                  </a:cubicBezTo>
                  <a:cubicBezTo>
                    <a:pt x="3611" y="2497"/>
                    <a:pt x="3772" y="2755"/>
                    <a:pt x="4021" y="2776"/>
                  </a:cubicBezTo>
                  <a:cubicBezTo>
                    <a:pt x="4033" y="2777"/>
                    <a:pt x="4045" y="2777"/>
                    <a:pt x="4057" y="2777"/>
                  </a:cubicBezTo>
                  <a:cubicBezTo>
                    <a:pt x="4195" y="2777"/>
                    <a:pt x="4344" y="2720"/>
                    <a:pt x="4472" y="2720"/>
                  </a:cubicBezTo>
                  <a:cubicBezTo>
                    <a:pt x="4541" y="2720"/>
                    <a:pt x="4603" y="2736"/>
                    <a:pt x="4654" y="2785"/>
                  </a:cubicBezTo>
                  <a:cubicBezTo>
                    <a:pt x="4720" y="2846"/>
                    <a:pt x="4738" y="2938"/>
                    <a:pt x="4755" y="3025"/>
                  </a:cubicBezTo>
                  <a:cubicBezTo>
                    <a:pt x="4838" y="3506"/>
                    <a:pt x="5122" y="4467"/>
                    <a:pt x="5205" y="4944"/>
                  </a:cubicBezTo>
                  <a:cubicBezTo>
                    <a:pt x="5249" y="4962"/>
                    <a:pt x="5289" y="4970"/>
                    <a:pt x="5327" y="4970"/>
                  </a:cubicBezTo>
                  <a:cubicBezTo>
                    <a:pt x="5565" y="4970"/>
                    <a:pt x="5716" y="4658"/>
                    <a:pt x="6009" y="4651"/>
                  </a:cubicBezTo>
                  <a:cubicBezTo>
                    <a:pt x="6062" y="3598"/>
                    <a:pt x="6516" y="2540"/>
                    <a:pt x="6250" y="1517"/>
                  </a:cubicBezTo>
                  <a:cubicBezTo>
                    <a:pt x="6189" y="1264"/>
                    <a:pt x="6066" y="1010"/>
                    <a:pt x="5848" y="867"/>
                  </a:cubicBezTo>
                  <a:cubicBezTo>
                    <a:pt x="5755" y="804"/>
                    <a:pt x="5639" y="771"/>
                    <a:pt x="5525" y="771"/>
                  </a:cubicBezTo>
                  <a:cubicBezTo>
                    <a:pt x="5384" y="771"/>
                    <a:pt x="5246" y="821"/>
                    <a:pt x="5158" y="927"/>
                  </a:cubicBezTo>
                  <a:lnTo>
                    <a:pt x="5158" y="927"/>
                  </a:lnTo>
                  <a:cubicBezTo>
                    <a:pt x="4772" y="635"/>
                    <a:pt x="4381" y="343"/>
                    <a:pt x="3934" y="163"/>
                  </a:cubicBezTo>
                  <a:cubicBezTo>
                    <a:pt x="3680" y="61"/>
                    <a:pt x="3402" y="0"/>
                    <a:pt x="312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" name="Google Shape;3480;p48">
              <a:extLst>
                <a:ext uri="{FF2B5EF4-FFF2-40B4-BE49-F238E27FC236}">
                  <a16:creationId xmlns:a16="http://schemas.microsoft.com/office/drawing/2014/main" id="{19B20A6F-C705-AEAA-90A3-C70192896333}"/>
                </a:ext>
              </a:extLst>
            </p:cNvPr>
            <p:cNvSpPr/>
            <p:nvPr/>
          </p:nvSpPr>
          <p:spPr>
            <a:xfrm>
              <a:off x="7747640" y="1559805"/>
              <a:ext cx="59044" cy="85641"/>
            </a:xfrm>
            <a:custGeom>
              <a:avLst/>
              <a:gdLst/>
              <a:ahLst/>
              <a:cxnLst/>
              <a:rect l="l" t="t" r="r" b="b"/>
              <a:pathLst>
                <a:path w="1201" h="1742" extrusionOk="0">
                  <a:moveTo>
                    <a:pt x="321" y="0"/>
                  </a:moveTo>
                  <a:cubicBezTo>
                    <a:pt x="147" y="0"/>
                    <a:pt x="10" y="51"/>
                    <a:pt x="0" y="57"/>
                  </a:cubicBezTo>
                  <a:cubicBezTo>
                    <a:pt x="0" y="57"/>
                    <a:pt x="53" y="1673"/>
                    <a:pt x="61" y="1704"/>
                  </a:cubicBezTo>
                  <a:cubicBezTo>
                    <a:pt x="62" y="1715"/>
                    <a:pt x="173" y="1741"/>
                    <a:pt x="322" y="1741"/>
                  </a:cubicBezTo>
                  <a:cubicBezTo>
                    <a:pt x="662" y="1741"/>
                    <a:pt x="1200" y="1604"/>
                    <a:pt x="1088" y="825"/>
                  </a:cubicBezTo>
                  <a:cubicBezTo>
                    <a:pt x="988" y="136"/>
                    <a:pt x="605" y="0"/>
                    <a:pt x="321" y="0"/>
                  </a:cubicBezTo>
                  <a:close/>
                </a:path>
              </a:pathLst>
            </a:custGeom>
            <a:solidFill>
              <a:srgbClr val="E5BAA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" name="Google Shape;3481;p48">
              <a:extLst>
                <a:ext uri="{FF2B5EF4-FFF2-40B4-BE49-F238E27FC236}">
                  <a16:creationId xmlns:a16="http://schemas.microsoft.com/office/drawing/2014/main" id="{A9F55A66-866F-79B6-4EE5-361674C8013A}"/>
                </a:ext>
              </a:extLst>
            </p:cNvPr>
            <p:cNvSpPr/>
            <p:nvPr/>
          </p:nvSpPr>
          <p:spPr>
            <a:xfrm>
              <a:off x="7762635" y="1576914"/>
              <a:ext cx="24975" cy="48671"/>
            </a:xfrm>
            <a:custGeom>
              <a:avLst/>
              <a:gdLst/>
              <a:ahLst/>
              <a:cxnLst/>
              <a:rect l="l" t="t" r="r" b="b"/>
              <a:pathLst>
                <a:path w="508" h="990" extrusionOk="0">
                  <a:moveTo>
                    <a:pt x="155" y="0"/>
                  </a:moveTo>
                  <a:cubicBezTo>
                    <a:pt x="150" y="0"/>
                    <a:pt x="146" y="1"/>
                    <a:pt x="141" y="1"/>
                  </a:cubicBezTo>
                  <a:cubicBezTo>
                    <a:pt x="101" y="1"/>
                    <a:pt x="62" y="19"/>
                    <a:pt x="36" y="45"/>
                  </a:cubicBezTo>
                  <a:cubicBezTo>
                    <a:pt x="14" y="71"/>
                    <a:pt x="6" y="98"/>
                    <a:pt x="6" y="119"/>
                  </a:cubicBezTo>
                  <a:cubicBezTo>
                    <a:pt x="1" y="163"/>
                    <a:pt x="23" y="185"/>
                    <a:pt x="26" y="185"/>
                  </a:cubicBezTo>
                  <a:cubicBezTo>
                    <a:pt x="26" y="185"/>
                    <a:pt x="27" y="185"/>
                    <a:pt x="27" y="185"/>
                  </a:cubicBezTo>
                  <a:cubicBezTo>
                    <a:pt x="36" y="181"/>
                    <a:pt x="22" y="158"/>
                    <a:pt x="36" y="128"/>
                  </a:cubicBezTo>
                  <a:cubicBezTo>
                    <a:pt x="44" y="95"/>
                    <a:pt x="73" y="57"/>
                    <a:pt x="126" y="57"/>
                  </a:cubicBezTo>
                  <a:cubicBezTo>
                    <a:pt x="130" y="57"/>
                    <a:pt x="136" y="57"/>
                    <a:pt x="141" y="58"/>
                  </a:cubicBezTo>
                  <a:cubicBezTo>
                    <a:pt x="202" y="58"/>
                    <a:pt x="262" y="106"/>
                    <a:pt x="311" y="185"/>
                  </a:cubicBezTo>
                  <a:cubicBezTo>
                    <a:pt x="355" y="259"/>
                    <a:pt x="394" y="355"/>
                    <a:pt x="403" y="455"/>
                  </a:cubicBezTo>
                  <a:cubicBezTo>
                    <a:pt x="429" y="657"/>
                    <a:pt x="355" y="858"/>
                    <a:pt x="246" y="919"/>
                  </a:cubicBezTo>
                  <a:cubicBezTo>
                    <a:pt x="211" y="937"/>
                    <a:pt x="176" y="945"/>
                    <a:pt x="147" y="945"/>
                  </a:cubicBezTo>
                  <a:cubicBezTo>
                    <a:pt x="127" y="945"/>
                    <a:pt x="110" y="942"/>
                    <a:pt x="97" y="937"/>
                  </a:cubicBezTo>
                  <a:cubicBezTo>
                    <a:pt x="66" y="928"/>
                    <a:pt x="48" y="914"/>
                    <a:pt x="42" y="914"/>
                  </a:cubicBezTo>
                  <a:cubicBezTo>
                    <a:pt x="41" y="914"/>
                    <a:pt x="41" y="914"/>
                    <a:pt x="40" y="915"/>
                  </a:cubicBezTo>
                  <a:cubicBezTo>
                    <a:pt x="36" y="919"/>
                    <a:pt x="49" y="945"/>
                    <a:pt x="84" y="967"/>
                  </a:cubicBezTo>
                  <a:cubicBezTo>
                    <a:pt x="107" y="980"/>
                    <a:pt x="139" y="989"/>
                    <a:pt x="177" y="989"/>
                  </a:cubicBezTo>
                  <a:cubicBezTo>
                    <a:pt x="205" y="989"/>
                    <a:pt x="236" y="984"/>
                    <a:pt x="268" y="971"/>
                  </a:cubicBezTo>
                  <a:cubicBezTo>
                    <a:pt x="425" y="901"/>
                    <a:pt x="508" y="675"/>
                    <a:pt x="482" y="447"/>
                  </a:cubicBezTo>
                  <a:cubicBezTo>
                    <a:pt x="468" y="334"/>
                    <a:pt x="425" y="229"/>
                    <a:pt x="367" y="145"/>
                  </a:cubicBezTo>
                  <a:cubicBezTo>
                    <a:pt x="318" y="67"/>
                    <a:pt x="237" y="0"/>
                    <a:pt x="155" y="0"/>
                  </a:cubicBezTo>
                  <a:close/>
                </a:path>
              </a:pathLst>
            </a:custGeom>
            <a:solidFill>
              <a:srgbClr val="D7877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" name="Google Shape;3482;p48">
              <a:extLst>
                <a:ext uri="{FF2B5EF4-FFF2-40B4-BE49-F238E27FC236}">
                  <a16:creationId xmlns:a16="http://schemas.microsoft.com/office/drawing/2014/main" id="{07DC6B67-7691-1CEA-B11A-3D5FFE360A96}"/>
                </a:ext>
              </a:extLst>
            </p:cNvPr>
            <p:cNvSpPr/>
            <p:nvPr/>
          </p:nvSpPr>
          <p:spPr>
            <a:xfrm>
              <a:off x="7723747" y="1399042"/>
              <a:ext cx="12340" cy="40215"/>
            </a:xfrm>
            <a:custGeom>
              <a:avLst/>
              <a:gdLst/>
              <a:ahLst/>
              <a:cxnLst/>
              <a:rect l="l" t="t" r="r" b="b"/>
              <a:pathLst>
                <a:path w="251" h="818" extrusionOk="0">
                  <a:moveTo>
                    <a:pt x="33" y="0"/>
                  </a:moveTo>
                  <a:cubicBezTo>
                    <a:pt x="32" y="0"/>
                    <a:pt x="32" y="0"/>
                    <a:pt x="31" y="1"/>
                  </a:cubicBezTo>
                  <a:cubicBezTo>
                    <a:pt x="0" y="5"/>
                    <a:pt x="18" y="197"/>
                    <a:pt x="71" y="420"/>
                  </a:cubicBezTo>
                  <a:cubicBezTo>
                    <a:pt x="123" y="645"/>
                    <a:pt x="187" y="818"/>
                    <a:pt x="219" y="818"/>
                  </a:cubicBezTo>
                  <a:cubicBezTo>
                    <a:pt x="219" y="818"/>
                    <a:pt x="219" y="818"/>
                    <a:pt x="220" y="818"/>
                  </a:cubicBezTo>
                  <a:cubicBezTo>
                    <a:pt x="250" y="809"/>
                    <a:pt x="236" y="622"/>
                    <a:pt x="184" y="394"/>
                  </a:cubicBezTo>
                  <a:cubicBezTo>
                    <a:pt x="133" y="176"/>
                    <a:pt x="65" y="0"/>
                    <a:pt x="3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" name="Google Shape;3483;p48">
              <a:extLst>
                <a:ext uri="{FF2B5EF4-FFF2-40B4-BE49-F238E27FC236}">
                  <a16:creationId xmlns:a16="http://schemas.microsoft.com/office/drawing/2014/main" id="{DF7A93E5-E73C-125D-E90A-E8280CDDCA46}"/>
                </a:ext>
              </a:extLst>
            </p:cNvPr>
            <p:cNvSpPr/>
            <p:nvPr/>
          </p:nvSpPr>
          <p:spPr>
            <a:xfrm>
              <a:off x="7731662" y="1401598"/>
              <a:ext cx="19223" cy="37708"/>
            </a:xfrm>
            <a:custGeom>
              <a:avLst/>
              <a:gdLst/>
              <a:ahLst/>
              <a:cxnLst/>
              <a:rect l="l" t="t" r="r" b="b"/>
              <a:pathLst>
                <a:path w="391" h="767" extrusionOk="0">
                  <a:moveTo>
                    <a:pt x="360" y="0"/>
                  </a:moveTo>
                  <a:cubicBezTo>
                    <a:pt x="326" y="0"/>
                    <a:pt x="229" y="158"/>
                    <a:pt x="146" y="360"/>
                  </a:cubicBezTo>
                  <a:cubicBezTo>
                    <a:pt x="53" y="570"/>
                    <a:pt x="1" y="753"/>
                    <a:pt x="32" y="766"/>
                  </a:cubicBezTo>
                  <a:cubicBezTo>
                    <a:pt x="34" y="766"/>
                    <a:pt x="35" y="767"/>
                    <a:pt x="36" y="767"/>
                  </a:cubicBezTo>
                  <a:cubicBezTo>
                    <a:pt x="70" y="767"/>
                    <a:pt x="162" y="609"/>
                    <a:pt x="251" y="407"/>
                  </a:cubicBezTo>
                  <a:cubicBezTo>
                    <a:pt x="342" y="197"/>
                    <a:pt x="390" y="14"/>
                    <a:pt x="364" y="1"/>
                  </a:cubicBezTo>
                  <a:cubicBezTo>
                    <a:pt x="363" y="1"/>
                    <a:pt x="361" y="0"/>
                    <a:pt x="36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" name="Google Shape;3484;p48">
              <a:extLst>
                <a:ext uri="{FF2B5EF4-FFF2-40B4-BE49-F238E27FC236}">
                  <a16:creationId xmlns:a16="http://schemas.microsoft.com/office/drawing/2014/main" id="{D43B682F-00A3-9590-6F17-2CF41F6961E8}"/>
                </a:ext>
              </a:extLst>
            </p:cNvPr>
            <p:cNvSpPr/>
            <p:nvPr/>
          </p:nvSpPr>
          <p:spPr>
            <a:xfrm>
              <a:off x="7042300" y="1906897"/>
              <a:ext cx="773228" cy="635032"/>
            </a:xfrm>
            <a:custGeom>
              <a:avLst/>
              <a:gdLst/>
              <a:ahLst/>
              <a:cxnLst/>
              <a:rect l="l" t="t" r="r" b="b"/>
              <a:pathLst>
                <a:path w="15728" h="12917" extrusionOk="0">
                  <a:moveTo>
                    <a:pt x="1989" y="1"/>
                  </a:moveTo>
                  <a:cubicBezTo>
                    <a:pt x="1760" y="1"/>
                    <a:pt x="1743" y="302"/>
                    <a:pt x="1988" y="653"/>
                  </a:cubicBezTo>
                  <a:cubicBezTo>
                    <a:pt x="2241" y="1024"/>
                    <a:pt x="2958" y="2095"/>
                    <a:pt x="2867" y="2170"/>
                  </a:cubicBezTo>
                  <a:cubicBezTo>
                    <a:pt x="2860" y="2175"/>
                    <a:pt x="2852" y="2177"/>
                    <a:pt x="2843" y="2177"/>
                  </a:cubicBezTo>
                  <a:cubicBezTo>
                    <a:pt x="2592" y="2177"/>
                    <a:pt x="1390" y="425"/>
                    <a:pt x="1390" y="425"/>
                  </a:cubicBezTo>
                  <a:cubicBezTo>
                    <a:pt x="1390" y="425"/>
                    <a:pt x="1244" y="138"/>
                    <a:pt x="1051" y="138"/>
                  </a:cubicBezTo>
                  <a:cubicBezTo>
                    <a:pt x="1019" y="138"/>
                    <a:pt x="986" y="145"/>
                    <a:pt x="952" y="163"/>
                  </a:cubicBezTo>
                  <a:cubicBezTo>
                    <a:pt x="525" y="399"/>
                    <a:pt x="1961" y="2313"/>
                    <a:pt x="2102" y="2493"/>
                  </a:cubicBezTo>
                  <a:cubicBezTo>
                    <a:pt x="2157" y="2566"/>
                    <a:pt x="2134" y="2613"/>
                    <a:pt x="2086" y="2613"/>
                  </a:cubicBezTo>
                  <a:cubicBezTo>
                    <a:pt x="2051" y="2613"/>
                    <a:pt x="2002" y="2587"/>
                    <a:pt x="1961" y="2527"/>
                  </a:cubicBezTo>
                  <a:cubicBezTo>
                    <a:pt x="1868" y="2392"/>
                    <a:pt x="847" y="949"/>
                    <a:pt x="474" y="949"/>
                  </a:cubicBezTo>
                  <a:cubicBezTo>
                    <a:pt x="450" y="949"/>
                    <a:pt x="428" y="955"/>
                    <a:pt x="410" y="968"/>
                  </a:cubicBezTo>
                  <a:cubicBezTo>
                    <a:pt x="96" y="1186"/>
                    <a:pt x="1372" y="2523"/>
                    <a:pt x="1542" y="2925"/>
                  </a:cubicBezTo>
                  <a:cubicBezTo>
                    <a:pt x="1565" y="2980"/>
                    <a:pt x="1568" y="3004"/>
                    <a:pt x="1554" y="3004"/>
                  </a:cubicBezTo>
                  <a:cubicBezTo>
                    <a:pt x="1457" y="3004"/>
                    <a:pt x="588" y="1906"/>
                    <a:pt x="254" y="1906"/>
                  </a:cubicBezTo>
                  <a:cubicBezTo>
                    <a:pt x="232" y="1906"/>
                    <a:pt x="213" y="1910"/>
                    <a:pt x="196" y="1920"/>
                  </a:cubicBezTo>
                  <a:cubicBezTo>
                    <a:pt x="79" y="1990"/>
                    <a:pt x="0" y="2055"/>
                    <a:pt x="743" y="2934"/>
                  </a:cubicBezTo>
                  <a:cubicBezTo>
                    <a:pt x="1210" y="3493"/>
                    <a:pt x="2334" y="4512"/>
                    <a:pt x="3115" y="5206"/>
                  </a:cubicBezTo>
                  <a:cubicBezTo>
                    <a:pt x="4637" y="7013"/>
                    <a:pt x="9797" y="12917"/>
                    <a:pt x="12403" y="12917"/>
                  </a:cubicBezTo>
                  <a:cubicBezTo>
                    <a:pt x="12476" y="12917"/>
                    <a:pt x="12547" y="12912"/>
                    <a:pt x="12617" y="12902"/>
                  </a:cubicBezTo>
                  <a:cubicBezTo>
                    <a:pt x="13171" y="12828"/>
                    <a:pt x="13687" y="12562"/>
                    <a:pt x="14006" y="12037"/>
                  </a:cubicBezTo>
                  <a:cubicBezTo>
                    <a:pt x="14736" y="10839"/>
                    <a:pt x="15287" y="9873"/>
                    <a:pt x="15727" y="8715"/>
                  </a:cubicBezTo>
                  <a:lnTo>
                    <a:pt x="11677" y="7339"/>
                  </a:lnTo>
                  <a:cubicBezTo>
                    <a:pt x="11537" y="7785"/>
                    <a:pt x="11419" y="8069"/>
                    <a:pt x="11279" y="8221"/>
                  </a:cubicBezTo>
                  <a:cubicBezTo>
                    <a:pt x="11244" y="8260"/>
                    <a:pt x="11195" y="8278"/>
                    <a:pt x="11132" y="8278"/>
                  </a:cubicBezTo>
                  <a:cubicBezTo>
                    <a:pt x="10057" y="8278"/>
                    <a:pt x="5139" y="2934"/>
                    <a:pt x="5139" y="2934"/>
                  </a:cubicBezTo>
                  <a:cubicBezTo>
                    <a:pt x="5108" y="2724"/>
                    <a:pt x="5051" y="1972"/>
                    <a:pt x="5095" y="1767"/>
                  </a:cubicBezTo>
                  <a:cubicBezTo>
                    <a:pt x="5148" y="1518"/>
                    <a:pt x="5231" y="1190"/>
                    <a:pt x="5331" y="1024"/>
                  </a:cubicBezTo>
                  <a:cubicBezTo>
                    <a:pt x="5441" y="850"/>
                    <a:pt x="5315" y="637"/>
                    <a:pt x="5148" y="637"/>
                  </a:cubicBezTo>
                  <a:cubicBezTo>
                    <a:pt x="5123" y="637"/>
                    <a:pt x="5096" y="642"/>
                    <a:pt x="5069" y="653"/>
                  </a:cubicBezTo>
                  <a:cubicBezTo>
                    <a:pt x="4868" y="736"/>
                    <a:pt x="4510" y="1291"/>
                    <a:pt x="4418" y="2055"/>
                  </a:cubicBezTo>
                  <a:cubicBezTo>
                    <a:pt x="4393" y="2264"/>
                    <a:pt x="4314" y="2345"/>
                    <a:pt x="4208" y="2345"/>
                  </a:cubicBezTo>
                  <a:cubicBezTo>
                    <a:pt x="3925" y="2345"/>
                    <a:pt x="3448" y="1770"/>
                    <a:pt x="3272" y="1500"/>
                  </a:cubicBezTo>
                  <a:cubicBezTo>
                    <a:pt x="3028" y="1133"/>
                    <a:pt x="2189" y="20"/>
                    <a:pt x="2014" y="2"/>
                  </a:cubicBezTo>
                  <a:cubicBezTo>
                    <a:pt x="2005" y="1"/>
                    <a:pt x="1997" y="1"/>
                    <a:pt x="1989" y="1"/>
                  </a:cubicBezTo>
                  <a:close/>
                </a:path>
              </a:pathLst>
            </a:custGeom>
            <a:solidFill>
              <a:srgbClr val="E5BAA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478" name="Google Shape;496;p28">
            <a:extLst>
              <a:ext uri="{FF2B5EF4-FFF2-40B4-BE49-F238E27FC236}">
                <a16:creationId xmlns:a16="http://schemas.microsoft.com/office/drawing/2014/main" id="{3E33075A-CBFE-622E-8913-9E8377235C44}"/>
              </a:ext>
            </a:extLst>
          </p:cNvPr>
          <p:cNvSpPr/>
          <p:nvPr/>
        </p:nvSpPr>
        <p:spPr>
          <a:xfrm>
            <a:off x="6705579" y="1980297"/>
            <a:ext cx="304182" cy="703313"/>
          </a:xfrm>
          <a:custGeom>
            <a:avLst/>
            <a:gdLst/>
            <a:ahLst/>
            <a:cxnLst/>
            <a:rect l="l" t="t" r="r" b="b"/>
            <a:pathLst>
              <a:path w="28048" h="33468" extrusionOk="0">
                <a:moveTo>
                  <a:pt x="27857" y="0"/>
                </a:moveTo>
                <a:lnTo>
                  <a:pt x="8130" y="5172"/>
                </a:lnTo>
                <a:lnTo>
                  <a:pt x="12606" y="8593"/>
                </a:lnTo>
                <a:lnTo>
                  <a:pt x="0" y="25090"/>
                </a:lnTo>
                <a:lnTo>
                  <a:pt x="10962" y="33467"/>
                </a:lnTo>
                <a:lnTo>
                  <a:pt x="23572" y="16971"/>
                </a:lnTo>
                <a:lnTo>
                  <a:pt x="28048" y="20390"/>
                </a:lnTo>
                <a:lnTo>
                  <a:pt x="28048" y="20390"/>
                </a:lnTo>
                <a:lnTo>
                  <a:pt x="27857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708644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396340"/>
            <a:ext cx="4688410" cy="481200"/>
          </a:xfrm>
        </p:spPr>
        <p:txBody>
          <a:bodyPr vert="horz"/>
          <a:lstStyle/>
          <a:p>
            <a:pPr algn="l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BUSINESS PROBLEM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79B11B8-5244-1963-5316-FFE9848A86EF}"/>
              </a:ext>
            </a:extLst>
          </p:cNvPr>
          <p:cNvSpPr txBox="1"/>
          <p:nvPr/>
        </p:nvSpPr>
        <p:spPr>
          <a:xfrm>
            <a:off x="360502" y="1211775"/>
            <a:ext cx="3994471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dirty="0"/>
              <a:t>Credit card issuers need to anticipate and reduce risk of default to prevent anticipated loss while entering into new relationships.</a:t>
            </a:r>
          </a:p>
          <a:p>
            <a:endParaRPr lang="en-US" sz="1500" dirty="0"/>
          </a:p>
          <a:p>
            <a:r>
              <a:rPr lang="en-US" sz="1500" dirty="0"/>
              <a:t>The goal of this study is to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Leverage Machine learning models to quantify probability of a potential applicant defaulting in future</a:t>
            </a:r>
          </a:p>
          <a:p>
            <a:endParaRPr lang="en-US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Identify drivers of customer default to better mitigate risk in decision making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B60E9EC-477A-72FE-C481-C15AB6E2C59F}"/>
              </a:ext>
            </a:extLst>
          </p:cNvPr>
          <p:cNvGrpSpPr/>
          <p:nvPr/>
        </p:nvGrpSpPr>
        <p:grpSpPr>
          <a:xfrm>
            <a:off x="4850296" y="1440761"/>
            <a:ext cx="4034661" cy="3093155"/>
            <a:chOff x="3703893" y="811653"/>
            <a:chExt cx="5189015" cy="3897192"/>
          </a:xfrm>
        </p:grpSpPr>
        <p:sp>
          <p:nvSpPr>
            <p:cNvPr id="5" name="Google Shape;140;p26">
              <a:extLst>
                <a:ext uri="{FF2B5EF4-FFF2-40B4-BE49-F238E27FC236}">
                  <a16:creationId xmlns:a16="http://schemas.microsoft.com/office/drawing/2014/main" id="{7805486B-B9F2-254A-7874-7C02F0A72E2F}"/>
                </a:ext>
              </a:extLst>
            </p:cNvPr>
            <p:cNvSpPr/>
            <p:nvPr/>
          </p:nvSpPr>
          <p:spPr>
            <a:xfrm>
              <a:off x="5057925" y="1382750"/>
              <a:ext cx="3029400" cy="2370300"/>
            </a:xfrm>
            <a:prstGeom prst="roundRect">
              <a:avLst>
                <a:gd name="adj" fmla="val 1472"/>
              </a:avLst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6" name="Google Shape;141;p26">
              <a:extLst>
                <a:ext uri="{FF2B5EF4-FFF2-40B4-BE49-F238E27FC236}">
                  <a16:creationId xmlns:a16="http://schemas.microsoft.com/office/drawing/2014/main" id="{51F25C23-7724-5CE4-028C-2C98FC8ACCD9}"/>
                </a:ext>
              </a:extLst>
            </p:cNvPr>
            <p:cNvGrpSpPr/>
            <p:nvPr/>
          </p:nvGrpSpPr>
          <p:grpSpPr>
            <a:xfrm>
              <a:off x="4969574" y="811653"/>
              <a:ext cx="3029365" cy="2856133"/>
              <a:chOff x="4741999" y="986350"/>
              <a:chExt cx="3029365" cy="2547136"/>
            </a:xfrm>
          </p:grpSpPr>
          <p:sp>
            <p:nvSpPr>
              <p:cNvPr id="265" name="Google Shape;142;p26">
                <a:extLst>
                  <a:ext uri="{FF2B5EF4-FFF2-40B4-BE49-F238E27FC236}">
                    <a16:creationId xmlns:a16="http://schemas.microsoft.com/office/drawing/2014/main" id="{0AF6B693-DE03-18E3-AFC3-C60C3EAA8AE0}"/>
                  </a:ext>
                </a:extLst>
              </p:cNvPr>
              <p:cNvSpPr/>
              <p:nvPr/>
            </p:nvSpPr>
            <p:spPr>
              <a:xfrm>
                <a:off x="4742978" y="1175558"/>
                <a:ext cx="3028387" cy="2357928"/>
              </a:xfrm>
              <a:custGeom>
                <a:avLst/>
                <a:gdLst/>
                <a:ahLst/>
                <a:cxnLst/>
                <a:rect l="l" t="t" r="r" b="b"/>
                <a:pathLst>
                  <a:path w="69027" h="53745" extrusionOk="0">
                    <a:moveTo>
                      <a:pt x="1" y="1"/>
                    </a:moveTo>
                    <a:lnTo>
                      <a:pt x="1" y="62"/>
                    </a:lnTo>
                    <a:cubicBezTo>
                      <a:pt x="1" y="19391"/>
                      <a:pt x="5" y="37676"/>
                      <a:pt x="5" y="53688"/>
                    </a:cubicBezTo>
                    <a:lnTo>
                      <a:pt x="5" y="53744"/>
                    </a:lnTo>
                    <a:lnTo>
                      <a:pt x="57" y="53744"/>
                    </a:lnTo>
                    <a:cubicBezTo>
                      <a:pt x="40966" y="53710"/>
                      <a:pt x="68520" y="53692"/>
                      <a:pt x="68978" y="53692"/>
                    </a:cubicBezTo>
                    <a:cubicBezTo>
                      <a:pt x="68520" y="53688"/>
                      <a:pt x="40990" y="53671"/>
                      <a:pt x="110" y="53639"/>
                    </a:cubicBezTo>
                    <a:lnTo>
                      <a:pt x="110" y="53639"/>
                    </a:lnTo>
                    <a:cubicBezTo>
                      <a:pt x="114" y="37655"/>
                      <a:pt x="114" y="19407"/>
                      <a:pt x="118" y="118"/>
                    </a:cubicBezTo>
                    <a:lnTo>
                      <a:pt x="118" y="118"/>
                    </a:lnTo>
                    <a:cubicBezTo>
                      <a:pt x="25637" y="114"/>
                      <a:pt x="49338" y="110"/>
                      <a:pt x="68928" y="110"/>
                    </a:cubicBezTo>
                    <a:lnTo>
                      <a:pt x="68930" y="110"/>
                    </a:lnTo>
                    <a:cubicBezTo>
                      <a:pt x="68961" y="32457"/>
                      <a:pt x="68978" y="53290"/>
                      <a:pt x="68978" y="53692"/>
                    </a:cubicBezTo>
                    <a:cubicBezTo>
                      <a:pt x="68978" y="53290"/>
                      <a:pt x="69000" y="32436"/>
                      <a:pt x="69026" y="62"/>
                    </a:cubicBezTo>
                    <a:lnTo>
                      <a:pt x="69026" y="14"/>
                    </a:lnTo>
                    <a:lnTo>
                      <a:pt x="68978" y="14"/>
                    </a:lnTo>
                    <a:cubicBezTo>
                      <a:pt x="49365" y="9"/>
                      <a:pt x="25627" y="5"/>
                      <a:pt x="66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6" name="Google Shape;143;p26">
                <a:extLst>
                  <a:ext uri="{FF2B5EF4-FFF2-40B4-BE49-F238E27FC236}">
                    <a16:creationId xmlns:a16="http://schemas.microsoft.com/office/drawing/2014/main" id="{45182AF7-DC38-BE8E-1128-F09A368E2CF4}"/>
                  </a:ext>
                </a:extLst>
              </p:cNvPr>
              <p:cNvSpPr/>
              <p:nvPr/>
            </p:nvSpPr>
            <p:spPr>
              <a:xfrm>
                <a:off x="5574260" y="2190926"/>
                <a:ext cx="5265" cy="1142615"/>
              </a:xfrm>
              <a:custGeom>
                <a:avLst/>
                <a:gdLst/>
                <a:ahLst/>
                <a:cxnLst/>
                <a:rect l="l" t="t" r="r" b="b"/>
                <a:pathLst>
                  <a:path w="120" h="26044" extrusionOk="0">
                    <a:moveTo>
                      <a:pt x="63" y="1"/>
                    </a:moveTo>
                    <a:cubicBezTo>
                      <a:pt x="27" y="1"/>
                      <a:pt x="1" y="5831"/>
                      <a:pt x="1" y="13024"/>
                    </a:cubicBezTo>
                    <a:cubicBezTo>
                      <a:pt x="1" y="20213"/>
                      <a:pt x="27" y="26043"/>
                      <a:pt x="63" y="26043"/>
                    </a:cubicBezTo>
                    <a:cubicBezTo>
                      <a:pt x="93" y="26043"/>
                      <a:pt x="119" y="20213"/>
                      <a:pt x="119" y="13024"/>
                    </a:cubicBezTo>
                    <a:cubicBezTo>
                      <a:pt x="119" y="5831"/>
                      <a:pt x="93" y="1"/>
                      <a:pt x="6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7" name="Google Shape;144;p26">
                <a:extLst>
                  <a:ext uri="{FF2B5EF4-FFF2-40B4-BE49-F238E27FC236}">
                    <a16:creationId xmlns:a16="http://schemas.microsoft.com/office/drawing/2014/main" id="{4315866F-85A4-6FAA-189C-6D6247C8EC3C}"/>
                  </a:ext>
                </a:extLst>
              </p:cNvPr>
              <p:cNvSpPr/>
              <p:nvPr/>
            </p:nvSpPr>
            <p:spPr>
              <a:xfrm>
                <a:off x="6886640" y="2190926"/>
                <a:ext cx="5001" cy="1142615"/>
              </a:xfrm>
              <a:custGeom>
                <a:avLst/>
                <a:gdLst/>
                <a:ahLst/>
                <a:cxnLst/>
                <a:rect l="l" t="t" r="r" b="b"/>
                <a:pathLst>
                  <a:path w="114" h="26044" extrusionOk="0">
                    <a:moveTo>
                      <a:pt x="57" y="1"/>
                    </a:moveTo>
                    <a:cubicBezTo>
                      <a:pt x="27" y="1"/>
                      <a:pt x="1" y="5831"/>
                      <a:pt x="1" y="13024"/>
                    </a:cubicBezTo>
                    <a:cubicBezTo>
                      <a:pt x="1" y="20213"/>
                      <a:pt x="27" y="26043"/>
                      <a:pt x="57" y="26043"/>
                    </a:cubicBezTo>
                    <a:cubicBezTo>
                      <a:pt x="88" y="26043"/>
                      <a:pt x="114" y="20213"/>
                      <a:pt x="114" y="13024"/>
                    </a:cubicBezTo>
                    <a:cubicBezTo>
                      <a:pt x="114" y="5831"/>
                      <a:pt x="88" y="1"/>
                      <a:pt x="57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8" name="Google Shape;145;p26">
                <a:extLst>
                  <a:ext uri="{FF2B5EF4-FFF2-40B4-BE49-F238E27FC236}">
                    <a16:creationId xmlns:a16="http://schemas.microsoft.com/office/drawing/2014/main" id="{1A330ADE-645F-C61C-2727-A544F6EA420B}"/>
                  </a:ext>
                </a:extLst>
              </p:cNvPr>
              <p:cNvSpPr/>
              <p:nvPr/>
            </p:nvSpPr>
            <p:spPr>
              <a:xfrm>
                <a:off x="6022366" y="1872856"/>
                <a:ext cx="5177" cy="1460691"/>
              </a:xfrm>
              <a:custGeom>
                <a:avLst/>
                <a:gdLst/>
                <a:ahLst/>
                <a:cxnLst/>
                <a:rect l="l" t="t" r="r" b="b"/>
                <a:pathLst>
                  <a:path w="118" h="33294" extrusionOk="0">
                    <a:moveTo>
                      <a:pt x="57" y="1"/>
                    </a:moveTo>
                    <a:cubicBezTo>
                      <a:pt x="27" y="1"/>
                      <a:pt x="0" y="7452"/>
                      <a:pt x="0" y="16647"/>
                    </a:cubicBezTo>
                    <a:cubicBezTo>
                      <a:pt x="0" y="25841"/>
                      <a:pt x="27" y="33293"/>
                      <a:pt x="57" y="33293"/>
                    </a:cubicBezTo>
                    <a:cubicBezTo>
                      <a:pt x="92" y="33293"/>
                      <a:pt x="118" y="25841"/>
                      <a:pt x="118" y="16647"/>
                    </a:cubicBezTo>
                    <a:cubicBezTo>
                      <a:pt x="118" y="7452"/>
                      <a:pt x="92" y="1"/>
                      <a:pt x="57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9" name="Google Shape;146;p26">
                <a:extLst>
                  <a:ext uri="{FF2B5EF4-FFF2-40B4-BE49-F238E27FC236}">
                    <a16:creationId xmlns:a16="http://schemas.microsoft.com/office/drawing/2014/main" id="{D98D1062-8B0D-7A3F-EA7D-DFB29466D2F0}"/>
                  </a:ext>
                </a:extLst>
              </p:cNvPr>
              <p:cNvSpPr/>
              <p:nvPr/>
            </p:nvSpPr>
            <p:spPr>
              <a:xfrm>
                <a:off x="7401651" y="1872856"/>
                <a:ext cx="5177" cy="1460691"/>
              </a:xfrm>
              <a:custGeom>
                <a:avLst/>
                <a:gdLst/>
                <a:ahLst/>
                <a:cxnLst/>
                <a:rect l="l" t="t" r="r" b="b"/>
                <a:pathLst>
                  <a:path w="118" h="33294" extrusionOk="0">
                    <a:moveTo>
                      <a:pt x="57" y="1"/>
                    </a:moveTo>
                    <a:cubicBezTo>
                      <a:pt x="26" y="1"/>
                      <a:pt x="0" y="7452"/>
                      <a:pt x="0" y="16647"/>
                    </a:cubicBezTo>
                    <a:cubicBezTo>
                      <a:pt x="0" y="25841"/>
                      <a:pt x="26" y="33293"/>
                      <a:pt x="57" y="33293"/>
                    </a:cubicBezTo>
                    <a:cubicBezTo>
                      <a:pt x="91" y="33293"/>
                      <a:pt x="118" y="25841"/>
                      <a:pt x="118" y="16647"/>
                    </a:cubicBezTo>
                    <a:cubicBezTo>
                      <a:pt x="118" y="7452"/>
                      <a:pt x="91" y="1"/>
                      <a:pt x="57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0" name="Google Shape;147;p26">
                <a:extLst>
                  <a:ext uri="{FF2B5EF4-FFF2-40B4-BE49-F238E27FC236}">
                    <a16:creationId xmlns:a16="http://schemas.microsoft.com/office/drawing/2014/main" id="{B5B8F908-9237-CAE4-A607-FE209E9F7415}"/>
                  </a:ext>
                </a:extLst>
              </p:cNvPr>
              <p:cNvSpPr/>
              <p:nvPr/>
            </p:nvSpPr>
            <p:spPr>
              <a:xfrm>
                <a:off x="6415194" y="1647223"/>
                <a:ext cx="5221" cy="1686327"/>
              </a:xfrm>
              <a:custGeom>
                <a:avLst/>
                <a:gdLst/>
                <a:ahLst/>
                <a:cxnLst/>
                <a:rect l="l" t="t" r="r" b="b"/>
                <a:pathLst>
                  <a:path w="119" h="38437" extrusionOk="0">
                    <a:moveTo>
                      <a:pt x="57" y="0"/>
                    </a:moveTo>
                    <a:cubicBezTo>
                      <a:pt x="27" y="0"/>
                      <a:pt x="0" y="8601"/>
                      <a:pt x="0" y="19216"/>
                    </a:cubicBezTo>
                    <a:cubicBezTo>
                      <a:pt x="0" y="29830"/>
                      <a:pt x="27" y="38436"/>
                      <a:pt x="57" y="38436"/>
                    </a:cubicBezTo>
                    <a:cubicBezTo>
                      <a:pt x="93" y="38436"/>
                      <a:pt x="119" y="29830"/>
                      <a:pt x="119" y="19216"/>
                    </a:cubicBezTo>
                    <a:cubicBezTo>
                      <a:pt x="119" y="8601"/>
                      <a:pt x="93" y="0"/>
                      <a:pt x="57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1" name="Google Shape;148;p26">
                <a:extLst>
                  <a:ext uri="{FF2B5EF4-FFF2-40B4-BE49-F238E27FC236}">
                    <a16:creationId xmlns:a16="http://schemas.microsoft.com/office/drawing/2014/main" id="{C68207A4-0C7D-AE2C-F6A1-A5306698821E}"/>
                  </a:ext>
                </a:extLst>
              </p:cNvPr>
              <p:cNvSpPr/>
              <p:nvPr/>
            </p:nvSpPr>
            <p:spPr>
              <a:xfrm>
                <a:off x="6406946" y="1636475"/>
                <a:ext cx="21541" cy="21322"/>
              </a:xfrm>
              <a:custGeom>
                <a:avLst/>
                <a:gdLst/>
                <a:ahLst/>
                <a:cxnLst/>
                <a:rect l="l" t="t" r="r" b="b"/>
                <a:pathLst>
                  <a:path w="491" h="486" extrusionOk="0">
                    <a:moveTo>
                      <a:pt x="245" y="0"/>
                    </a:moveTo>
                    <a:cubicBezTo>
                      <a:pt x="110" y="0"/>
                      <a:pt x="1" y="110"/>
                      <a:pt x="1" y="245"/>
                    </a:cubicBezTo>
                    <a:cubicBezTo>
                      <a:pt x="1" y="377"/>
                      <a:pt x="110" y="486"/>
                      <a:pt x="245" y="486"/>
                    </a:cubicBezTo>
                    <a:cubicBezTo>
                      <a:pt x="381" y="486"/>
                      <a:pt x="490" y="377"/>
                      <a:pt x="490" y="245"/>
                    </a:cubicBezTo>
                    <a:cubicBezTo>
                      <a:pt x="490" y="110"/>
                      <a:pt x="381" y="0"/>
                      <a:pt x="24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2" name="Google Shape;149;p26">
                <a:extLst>
                  <a:ext uri="{FF2B5EF4-FFF2-40B4-BE49-F238E27FC236}">
                    <a16:creationId xmlns:a16="http://schemas.microsoft.com/office/drawing/2014/main" id="{59646AF3-C6A0-8BB5-79D6-3E9F8EB0DA27}"/>
                  </a:ext>
                </a:extLst>
              </p:cNvPr>
              <p:cNvSpPr/>
              <p:nvPr/>
            </p:nvSpPr>
            <p:spPr>
              <a:xfrm>
                <a:off x="4916447" y="2115949"/>
                <a:ext cx="2589355" cy="652691"/>
              </a:xfrm>
              <a:custGeom>
                <a:avLst/>
                <a:gdLst/>
                <a:ahLst/>
                <a:cxnLst/>
                <a:rect l="l" t="t" r="r" b="b"/>
                <a:pathLst>
                  <a:path w="59020" h="14877" extrusionOk="0">
                    <a:moveTo>
                      <a:pt x="33314" y="1"/>
                    </a:moveTo>
                    <a:cubicBezTo>
                      <a:pt x="32852" y="1"/>
                      <a:pt x="32390" y="48"/>
                      <a:pt x="31929" y="142"/>
                    </a:cubicBezTo>
                    <a:cubicBezTo>
                      <a:pt x="31261" y="285"/>
                      <a:pt x="30614" y="535"/>
                      <a:pt x="30011" y="870"/>
                    </a:cubicBezTo>
                    <a:cubicBezTo>
                      <a:pt x="28805" y="1557"/>
                      <a:pt x="27847" y="2558"/>
                      <a:pt x="27061" y="3619"/>
                    </a:cubicBezTo>
                    <a:cubicBezTo>
                      <a:pt x="26266" y="4682"/>
                      <a:pt x="25628" y="5818"/>
                      <a:pt x="25007" y="6927"/>
                    </a:cubicBezTo>
                    <a:cubicBezTo>
                      <a:pt x="24400" y="8042"/>
                      <a:pt x="23766" y="9104"/>
                      <a:pt x="23067" y="10096"/>
                    </a:cubicBezTo>
                    <a:cubicBezTo>
                      <a:pt x="22363" y="11084"/>
                      <a:pt x="21607" y="12006"/>
                      <a:pt x="20741" y="12766"/>
                    </a:cubicBezTo>
                    <a:cubicBezTo>
                      <a:pt x="19881" y="13518"/>
                      <a:pt x="18915" y="14130"/>
                      <a:pt x="17867" y="14392"/>
                    </a:cubicBezTo>
                    <a:cubicBezTo>
                      <a:pt x="17609" y="14475"/>
                      <a:pt x="17342" y="14505"/>
                      <a:pt x="17084" y="14545"/>
                    </a:cubicBezTo>
                    <a:cubicBezTo>
                      <a:pt x="16953" y="14571"/>
                      <a:pt x="16818" y="14563"/>
                      <a:pt x="16687" y="14567"/>
                    </a:cubicBezTo>
                    <a:cubicBezTo>
                      <a:pt x="16581" y="14571"/>
                      <a:pt x="16475" y="14577"/>
                      <a:pt x="16371" y="14577"/>
                    </a:cubicBezTo>
                    <a:cubicBezTo>
                      <a:pt x="16346" y="14577"/>
                      <a:pt x="16322" y="14576"/>
                      <a:pt x="16298" y="14576"/>
                    </a:cubicBezTo>
                    <a:cubicBezTo>
                      <a:pt x="15773" y="14554"/>
                      <a:pt x="15267" y="14453"/>
                      <a:pt x="14781" y="14305"/>
                    </a:cubicBezTo>
                    <a:cubicBezTo>
                      <a:pt x="13811" y="13995"/>
                      <a:pt x="12950" y="13483"/>
                      <a:pt x="12155" y="12950"/>
                    </a:cubicBezTo>
                    <a:cubicBezTo>
                      <a:pt x="11364" y="12417"/>
                      <a:pt x="10630" y="11853"/>
                      <a:pt x="9908" y="11342"/>
                    </a:cubicBezTo>
                    <a:cubicBezTo>
                      <a:pt x="9188" y="10830"/>
                      <a:pt x="8466" y="10368"/>
                      <a:pt x="7723" y="10048"/>
                    </a:cubicBezTo>
                    <a:cubicBezTo>
                      <a:pt x="6989" y="9725"/>
                      <a:pt x="6247" y="9523"/>
                      <a:pt x="5533" y="9458"/>
                    </a:cubicBezTo>
                    <a:cubicBezTo>
                      <a:pt x="5331" y="9439"/>
                      <a:pt x="5131" y="9430"/>
                      <a:pt x="4936" y="9430"/>
                    </a:cubicBezTo>
                    <a:cubicBezTo>
                      <a:pt x="4448" y="9430"/>
                      <a:pt x="3985" y="9489"/>
                      <a:pt x="3567" y="9611"/>
                    </a:cubicBezTo>
                    <a:cubicBezTo>
                      <a:pt x="3419" y="9642"/>
                      <a:pt x="3284" y="9712"/>
                      <a:pt x="3143" y="9755"/>
                    </a:cubicBezTo>
                    <a:cubicBezTo>
                      <a:pt x="3008" y="9812"/>
                      <a:pt x="2868" y="9847"/>
                      <a:pt x="2750" y="9922"/>
                    </a:cubicBezTo>
                    <a:cubicBezTo>
                      <a:pt x="2510" y="10057"/>
                      <a:pt x="2261" y="10158"/>
                      <a:pt x="2068" y="10319"/>
                    </a:cubicBezTo>
                    <a:cubicBezTo>
                      <a:pt x="1644" y="10590"/>
                      <a:pt x="1334" y="10909"/>
                      <a:pt x="1055" y="11167"/>
                    </a:cubicBezTo>
                    <a:cubicBezTo>
                      <a:pt x="932" y="11316"/>
                      <a:pt x="814" y="11447"/>
                      <a:pt x="709" y="11569"/>
                    </a:cubicBezTo>
                    <a:cubicBezTo>
                      <a:pt x="609" y="11695"/>
                      <a:pt x="508" y="11800"/>
                      <a:pt x="438" y="11915"/>
                    </a:cubicBezTo>
                    <a:cubicBezTo>
                      <a:pt x="294" y="12129"/>
                      <a:pt x="184" y="12290"/>
                      <a:pt x="111" y="12403"/>
                    </a:cubicBezTo>
                    <a:cubicBezTo>
                      <a:pt x="36" y="12518"/>
                      <a:pt x="1" y="12574"/>
                      <a:pt x="6" y="12579"/>
                    </a:cubicBezTo>
                    <a:cubicBezTo>
                      <a:pt x="6" y="12579"/>
                      <a:pt x="6" y="12579"/>
                      <a:pt x="7" y="12579"/>
                    </a:cubicBezTo>
                    <a:cubicBezTo>
                      <a:pt x="14" y="12579"/>
                      <a:pt x="61" y="12526"/>
                      <a:pt x="137" y="12425"/>
                    </a:cubicBezTo>
                    <a:cubicBezTo>
                      <a:pt x="220" y="12316"/>
                      <a:pt x="337" y="12159"/>
                      <a:pt x="495" y="11958"/>
                    </a:cubicBezTo>
                    <a:cubicBezTo>
                      <a:pt x="569" y="11849"/>
                      <a:pt x="670" y="11744"/>
                      <a:pt x="779" y="11626"/>
                    </a:cubicBezTo>
                    <a:cubicBezTo>
                      <a:pt x="884" y="11508"/>
                      <a:pt x="1002" y="11381"/>
                      <a:pt x="1128" y="11241"/>
                    </a:cubicBezTo>
                    <a:cubicBezTo>
                      <a:pt x="1413" y="10992"/>
                      <a:pt x="1723" y="10691"/>
                      <a:pt x="2143" y="10433"/>
                    </a:cubicBezTo>
                    <a:cubicBezTo>
                      <a:pt x="2334" y="10280"/>
                      <a:pt x="2580" y="10188"/>
                      <a:pt x="2816" y="10057"/>
                    </a:cubicBezTo>
                    <a:cubicBezTo>
                      <a:pt x="2929" y="9991"/>
                      <a:pt x="3069" y="9961"/>
                      <a:pt x="3200" y="9908"/>
                    </a:cubicBezTo>
                    <a:cubicBezTo>
                      <a:pt x="3336" y="9864"/>
                      <a:pt x="3462" y="9799"/>
                      <a:pt x="3611" y="9773"/>
                    </a:cubicBezTo>
                    <a:cubicBezTo>
                      <a:pt x="3999" y="9668"/>
                      <a:pt x="4425" y="9617"/>
                      <a:pt x="4875" y="9617"/>
                    </a:cubicBezTo>
                    <a:cubicBezTo>
                      <a:pt x="5085" y="9617"/>
                      <a:pt x="5299" y="9628"/>
                      <a:pt x="5517" y="9650"/>
                    </a:cubicBezTo>
                    <a:cubicBezTo>
                      <a:pt x="6198" y="9725"/>
                      <a:pt x="6919" y="9930"/>
                      <a:pt x="7636" y="10253"/>
                    </a:cubicBezTo>
                    <a:cubicBezTo>
                      <a:pt x="8353" y="10572"/>
                      <a:pt x="9052" y="11027"/>
                      <a:pt x="9764" y="11542"/>
                    </a:cubicBezTo>
                    <a:cubicBezTo>
                      <a:pt x="10477" y="12058"/>
                      <a:pt x="11207" y="12627"/>
                      <a:pt x="12006" y="13177"/>
                    </a:cubicBezTo>
                    <a:cubicBezTo>
                      <a:pt x="12806" y="13719"/>
                      <a:pt x="13684" y="14253"/>
                      <a:pt x="14694" y="14580"/>
                    </a:cubicBezTo>
                    <a:cubicBezTo>
                      <a:pt x="15200" y="14737"/>
                      <a:pt x="15733" y="14851"/>
                      <a:pt x="16284" y="14872"/>
                    </a:cubicBezTo>
                    <a:cubicBezTo>
                      <a:pt x="16326" y="14875"/>
                      <a:pt x="16369" y="14876"/>
                      <a:pt x="16412" y="14876"/>
                    </a:cubicBezTo>
                    <a:cubicBezTo>
                      <a:pt x="16507" y="14876"/>
                      <a:pt x="16603" y="14871"/>
                      <a:pt x="16699" y="14868"/>
                    </a:cubicBezTo>
                    <a:cubicBezTo>
                      <a:pt x="16835" y="14864"/>
                      <a:pt x="16975" y="14872"/>
                      <a:pt x="17115" y="14846"/>
                    </a:cubicBezTo>
                    <a:cubicBezTo>
                      <a:pt x="17390" y="14807"/>
                      <a:pt x="17674" y="14777"/>
                      <a:pt x="17945" y="14689"/>
                    </a:cubicBezTo>
                    <a:cubicBezTo>
                      <a:pt x="18500" y="14563"/>
                      <a:pt x="19025" y="14318"/>
                      <a:pt x="19531" y="14039"/>
                    </a:cubicBezTo>
                    <a:cubicBezTo>
                      <a:pt x="19781" y="13885"/>
                      <a:pt x="20033" y="13741"/>
                      <a:pt x="20265" y="13557"/>
                    </a:cubicBezTo>
                    <a:cubicBezTo>
                      <a:pt x="20505" y="13391"/>
                      <a:pt x="20729" y="13200"/>
                      <a:pt x="20956" y="13007"/>
                    </a:cubicBezTo>
                    <a:cubicBezTo>
                      <a:pt x="21852" y="12229"/>
                      <a:pt x="22625" y="11290"/>
                      <a:pt x="23343" y="10293"/>
                    </a:cubicBezTo>
                    <a:cubicBezTo>
                      <a:pt x="24051" y="9287"/>
                      <a:pt x="24697" y="8208"/>
                      <a:pt x="25309" y="7094"/>
                    </a:cubicBezTo>
                    <a:cubicBezTo>
                      <a:pt x="25929" y="5989"/>
                      <a:pt x="26562" y="4865"/>
                      <a:pt x="27341" y="3825"/>
                    </a:cubicBezTo>
                    <a:cubicBezTo>
                      <a:pt x="28109" y="2790"/>
                      <a:pt x="29041" y="1828"/>
                      <a:pt x="30186" y="1177"/>
                    </a:cubicBezTo>
                    <a:cubicBezTo>
                      <a:pt x="30754" y="854"/>
                      <a:pt x="31370" y="622"/>
                      <a:pt x="32004" y="487"/>
                    </a:cubicBezTo>
                    <a:cubicBezTo>
                      <a:pt x="32439" y="396"/>
                      <a:pt x="32886" y="349"/>
                      <a:pt x="33328" y="349"/>
                    </a:cubicBezTo>
                    <a:cubicBezTo>
                      <a:pt x="33526" y="349"/>
                      <a:pt x="33723" y="358"/>
                      <a:pt x="33918" y="377"/>
                    </a:cubicBezTo>
                    <a:cubicBezTo>
                      <a:pt x="34551" y="438"/>
                      <a:pt x="35163" y="622"/>
                      <a:pt x="35719" y="906"/>
                    </a:cubicBezTo>
                    <a:cubicBezTo>
                      <a:pt x="36278" y="1185"/>
                      <a:pt x="36780" y="1566"/>
                      <a:pt x="37234" y="1990"/>
                    </a:cubicBezTo>
                    <a:cubicBezTo>
                      <a:pt x="38139" y="2851"/>
                      <a:pt x="38847" y="3873"/>
                      <a:pt x="39495" y="4900"/>
                    </a:cubicBezTo>
                    <a:cubicBezTo>
                      <a:pt x="40136" y="5931"/>
                      <a:pt x="40713" y="6980"/>
                      <a:pt x="41334" y="7976"/>
                    </a:cubicBezTo>
                    <a:cubicBezTo>
                      <a:pt x="41972" y="8956"/>
                      <a:pt x="42527" y="9934"/>
                      <a:pt x="43065" y="10905"/>
                    </a:cubicBezTo>
                    <a:cubicBezTo>
                      <a:pt x="43331" y="11385"/>
                      <a:pt x="43611" y="11862"/>
                      <a:pt x="43921" y="12312"/>
                    </a:cubicBezTo>
                    <a:cubicBezTo>
                      <a:pt x="44231" y="12762"/>
                      <a:pt x="44608" y="13168"/>
                      <a:pt x="45044" y="13483"/>
                    </a:cubicBezTo>
                    <a:cubicBezTo>
                      <a:pt x="45481" y="13797"/>
                      <a:pt x="45984" y="14007"/>
                      <a:pt x="46482" y="14117"/>
                    </a:cubicBezTo>
                    <a:cubicBezTo>
                      <a:pt x="46984" y="14243"/>
                      <a:pt x="47482" y="14279"/>
                      <a:pt x="47972" y="14301"/>
                    </a:cubicBezTo>
                    <a:cubicBezTo>
                      <a:pt x="48081" y="14306"/>
                      <a:pt x="48190" y="14309"/>
                      <a:pt x="48298" y="14309"/>
                    </a:cubicBezTo>
                    <a:cubicBezTo>
                      <a:pt x="49159" y="14309"/>
                      <a:pt x="49997" y="14144"/>
                      <a:pt x="50734" y="13837"/>
                    </a:cubicBezTo>
                    <a:cubicBezTo>
                      <a:pt x="51153" y="13666"/>
                      <a:pt x="51534" y="13444"/>
                      <a:pt x="51888" y="13208"/>
                    </a:cubicBezTo>
                    <a:cubicBezTo>
                      <a:pt x="52233" y="12958"/>
                      <a:pt x="52561" y="12696"/>
                      <a:pt x="52845" y="12417"/>
                    </a:cubicBezTo>
                    <a:cubicBezTo>
                      <a:pt x="53430" y="11857"/>
                      <a:pt x="53898" y="11263"/>
                      <a:pt x="54322" y="10703"/>
                    </a:cubicBezTo>
                    <a:cubicBezTo>
                      <a:pt x="55157" y="9572"/>
                      <a:pt x="55825" y="8567"/>
                      <a:pt x="56494" y="7845"/>
                    </a:cubicBezTo>
                    <a:cubicBezTo>
                      <a:pt x="57150" y="7120"/>
                      <a:pt x="57801" y="6697"/>
                      <a:pt x="58273" y="6495"/>
                    </a:cubicBezTo>
                    <a:cubicBezTo>
                      <a:pt x="58509" y="6399"/>
                      <a:pt x="58697" y="6334"/>
                      <a:pt x="58828" y="6308"/>
                    </a:cubicBezTo>
                    <a:cubicBezTo>
                      <a:pt x="58955" y="6272"/>
                      <a:pt x="59020" y="6251"/>
                      <a:pt x="59020" y="6242"/>
                    </a:cubicBezTo>
                    <a:cubicBezTo>
                      <a:pt x="59019" y="6241"/>
                      <a:pt x="59017" y="6241"/>
                      <a:pt x="59013" y="6241"/>
                    </a:cubicBezTo>
                    <a:cubicBezTo>
                      <a:pt x="58993" y="6241"/>
                      <a:pt x="58929" y="6250"/>
                      <a:pt x="58819" y="6272"/>
                    </a:cubicBezTo>
                    <a:cubicBezTo>
                      <a:pt x="58683" y="6290"/>
                      <a:pt x="58491" y="6342"/>
                      <a:pt x="58247" y="6429"/>
                    </a:cubicBezTo>
                    <a:cubicBezTo>
                      <a:pt x="57757" y="6613"/>
                      <a:pt x="57075" y="7028"/>
                      <a:pt x="56393" y="7754"/>
                    </a:cubicBezTo>
                    <a:cubicBezTo>
                      <a:pt x="55699" y="8470"/>
                      <a:pt x="55012" y="9476"/>
                      <a:pt x="54165" y="10586"/>
                    </a:cubicBezTo>
                    <a:cubicBezTo>
                      <a:pt x="53737" y="11136"/>
                      <a:pt x="53269" y="11718"/>
                      <a:pt x="52692" y="12256"/>
                    </a:cubicBezTo>
                    <a:cubicBezTo>
                      <a:pt x="52408" y="12526"/>
                      <a:pt x="52089" y="12775"/>
                      <a:pt x="51752" y="13011"/>
                    </a:cubicBezTo>
                    <a:cubicBezTo>
                      <a:pt x="51407" y="13238"/>
                      <a:pt x="51040" y="13448"/>
                      <a:pt x="50638" y="13610"/>
                    </a:cubicBezTo>
                    <a:cubicBezTo>
                      <a:pt x="49935" y="13890"/>
                      <a:pt x="49147" y="14042"/>
                      <a:pt x="48323" y="14042"/>
                    </a:cubicBezTo>
                    <a:cubicBezTo>
                      <a:pt x="48210" y="14042"/>
                      <a:pt x="48095" y="14039"/>
                      <a:pt x="47981" y="14033"/>
                    </a:cubicBezTo>
                    <a:cubicBezTo>
                      <a:pt x="47509" y="14007"/>
                      <a:pt x="47024" y="13968"/>
                      <a:pt x="46552" y="13841"/>
                    </a:cubicBezTo>
                    <a:cubicBezTo>
                      <a:pt x="46076" y="13737"/>
                      <a:pt x="45617" y="13540"/>
                      <a:pt x="45215" y="13247"/>
                    </a:cubicBezTo>
                    <a:cubicBezTo>
                      <a:pt x="44393" y="12666"/>
                      <a:pt x="43868" y="11709"/>
                      <a:pt x="43331" y="10752"/>
                    </a:cubicBezTo>
                    <a:cubicBezTo>
                      <a:pt x="42807" y="9786"/>
                      <a:pt x="42238" y="8785"/>
                      <a:pt x="41609" y="7802"/>
                    </a:cubicBezTo>
                    <a:cubicBezTo>
                      <a:pt x="40998" y="6818"/>
                      <a:pt x="40425" y="5765"/>
                      <a:pt x="39778" y="4725"/>
                    </a:cubicBezTo>
                    <a:cubicBezTo>
                      <a:pt x="39127" y="3686"/>
                      <a:pt x="38410" y="2637"/>
                      <a:pt x="37470" y="1741"/>
                    </a:cubicBezTo>
                    <a:cubicBezTo>
                      <a:pt x="36998" y="1299"/>
                      <a:pt x="36470" y="897"/>
                      <a:pt x="35876" y="596"/>
                    </a:cubicBezTo>
                    <a:cubicBezTo>
                      <a:pt x="35281" y="294"/>
                      <a:pt x="34630" y="93"/>
                      <a:pt x="33953" y="31"/>
                    </a:cubicBezTo>
                    <a:cubicBezTo>
                      <a:pt x="33740" y="11"/>
                      <a:pt x="33527" y="1"/>
                      <a:pt x="33314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3" name="Google Shape;150;p26">
                <a:extLst>
                  <a:ext uri="{FF2B5EF4-FFF2-40B4-BE49-F238E27FC236}">
                    <a16:creationId xmlns:a16="http://schemas.microsoft.com/office/drawing/2014/main" id="{7A773933-A6B0-FB7B-DB71-832472A70130}"/>
                  </a:ext>
                </a:extLst>
              </p:cNvPr>
              <p:cNvSpPr/>
              <p:nvPr/>
            </p:nvSpPr>
            <p:spPr>
              <a:xfrm>
                <a:off x="5106104" y="1442255"/>
                <a:ext cx="527304" cy="29395"/>
              </a:xfrm>
              <a:custGeom>
                <a:avLst/>
                <a:gdLst/>
                <a:ahLst/>
                <a:cxnLst/>
                <a:rect l="l" t="t" r="r" b="b"/>
                <a:pathLst>
                  <a:path w="12019" h="670" extrusionOk="0">
                    <a:moveTo>
                      <a:pt x="0" y="1"/>
                    </a:moveTo>
                    <a:lnTo>
                      <a:pt x="0" y="669"/>
                    </a:lnTo>
                    <a:lnTo>
                      <a:pt x="12019" y="669"/>
                    </a:lnTo>
                    <a:lnTo>
                      <a:pt x="12019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4" name="Google Shape;151;p26">
                <a:extLst>
                  <a:ext uri="{FF2B5EF4-FFF2-40B4-BE49-F238E27FC236}">
                    <a16:creationId xmlns:a16="http://schemas.microsoft.com/office/drawing/2014/main" id="{BCC5D490-8727-15F7-112B-C1AE0123FC8D}"/>
                  </a:ext>
                </a:extLst>
              </p:cNvPr>
              <p:cNvSpPr/>
              <p:nvPr/>
            </p:nvSpPr>
            <p:spPr>
              <a:xfrm>
                <a:off x="5106104" y="1510870"/>
                <a:ext cx="260603" cy="29395"/>
              </a:xfrm>
              <a:custGeom>
                <a:avLst/>
                <a:gdLst/>
                <a:ahLst/>
                <a:cxnLst/>
                <a:rect l="l" t="t" r="r" b="b"/>
                <a:pathLst>
                  <a:path w="5940" h="670" extrusionOk="0">
                    <a:moveTo>
                      <a:pt x="0" y="1"/>
                    </a:moveTo>
                    <a:lnTo>
                      <a:pt x="0" y="670"/>
                    </a:lnTo>
                    <a:lnTo>
                      <a:pt x="5940" y="670"/>
                    </a:lnTo>
                    <a:lnTo>
                      <a:pt x="5940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5" name="Google Shape;152;p26">
                <a:extLst>
                  <a:ext uri="{FF2B5EF4-FFF2-40B4-BE49-F238E27FC236}">
                    <a16:creationId xmlns:a16="http://schemas.microsoft.com/office/drawing/2014/main" id="{8B11B544-7215-D0C2-404C-662AE50E7115}"/>
                  </a:ext>
                </a:extLst>
              </p:cNvPr>
              <p:cNvSpPr/>
              <p:nvPr/>
            </p:nvSpPr>
            <p:spPr>
              <a:xfrm>
                <a:off x="4741999" y="986350"/>
                <a:ext cx="3028454" cy="191920"/>
              </a:xfrm>
              <a:custGeom>
                <a:avLst/>
                <a:gdLst/>
                <a:ahLst/>
                <a:cxnLst/>
                <a:rect l="l" t="t" r="r" b="b"/>
                <a:pathLst>
                  <a:path w="69001" h="4375" extrusionOk="0">
                    <a:moveTo>
                      <a:pt x="79" y="0"/>
                    </a:moveTo>
                    <a:cubicBezTo>
                      <a:pt x="35" y="0"/>
                      <a:pt x="1" y="36"/>
                      <a:pt x="1" y="79"/>
                    </a:cubicBezTo>
                    <a:lnTo>
                      <a:pt x="1" y="4375"/>
                    </a:lnTo>
                    <a:lnTo>
                      <a:pt x="69000" y="4375"/>
                    </a:lnTo>
                    <a:lnTo>
                      <a:pt x="69000" y="79"/>
                    </a:lnTo>
                    <a:cubicBezTo>
                      <a:pt x="69000" y="36"/>
                      <a:pt x="68966" y="0"/>
                      <a:pt x="68922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6" name="Google Shape;153;p26">
                <a:extLst>
                  <a:ext uri="{FF2B5EF4-FFF2-40B4-BE49-F238E27FC236}">
                    <a16:creationId xmlns:a16="http://schemas.microsoft.com/office/drawing/2014/main" id="{C6F43F4B-63A6-DFFF-AB4D-029FA0DE2EF4}"/>
                  </a:ext>
                </a:extLst>
              </p:cNvPr>
              <p:cNvSpPr/>
              <p:nvPr/>
            </p:nvSpPr>
            <p:spPr>
              <a:xfrm>
                <a:off x="4857439" y="1065308"/>
                <a:ext cx="41460" cy="41284"/>
              </a:xfrm>
              <a:custGeom>
                <a:avLst/>
                <a:gdLst/>
                <a:ahLst/>
                <a:cxnLst/>
                <a:rect l="l" t="t" r="r" b="b"/>
                <a:pathLst>
                  <a:path w="945" h="941" extrusionOk="0">
                    <a:moveTo>
                      <a:pt x="472" y="1"/>
                    </a:moveTo>
                    <a:cubicBezTo>
                      <a:pt x="214" y="1"/>
                      <a:pt x="0" y="211"/>
                      <a:pt x="0" y="473"/>
                    </a:cubicBezTo>
                    <a:cubicBezTo>
                      <a:pt x="0" y="731"/>
                      <a:pt x="214" y="941"/>
                      <a:pt x="472" y="941"/>
                    </a:cubicBezTo>
                    <a:cubicBezTo>
                      <a:pt x="734" y="941"/>
                      <a:pt x="944" y="731"/>
                      <a:pt x="944" y="473"/>
                    </a:cubicBezTo>
                    <a:cubicBezTo>
                      <a:pt x="944" y="211"/>
                      <a:pt x="734" y="1"/>
                      <a:pt x="472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7" name="Google Shape;154;p26">
                <a:extLst>
                  <a:ext uri="{FF2B5EF4-FFF2-40B4-BE49-F238E27FC236}">
                    <a16:creationId xmlns:a16="http://schemas.microsoft.com/office/drawing/2014/main" id="{050AC649-0840-1446-B6B9-350633115EC0}"/>
                  </a:ext>
                </a:extLst>
              </p:cNvPr>
              <p:cNvSpPr/>
              <p:nvPr/>
            </p:nvSpPr>
            <p:spPr>
              <a:xfrm>
                <a:off x="4947727" y="1065308"/>
                <a:ext cx="41240" cy="41284"/>
              </a:xfrm>
              <a:custGeom>
                <a:avLst/>
                <a:gdLst/>
                <a:ahLst/>
                <a:cxnLst/>
                <a:rect l="l" t="t" r="r" b="b"/>
                <a:pathLst>
                  <a:path w="940" h="941" extrusionOk="0">
                    <a:moveTo>
                      <a:pt x="468" y="1"/>
                    </a:moveTo>
                    <a:cubicBezTo>
                      <a:pt x="211" y="1"/>
                      <a:pt x="1" y="211"/>
                      <a:pt x="1" y="473"/>
                    </a:cubicBezTo>
                    <a:cubicBezTo>
                      <a:pt x="1" y="731"/>
                      <a:pt x="211" y="941"/>
                      <a:pt x="468" y="941"/>
                    </a:cubicBezTo>
                    <a:cubicBezTo>
                      <a:pt x="730" y="941"/>
                      <a:pt x="940" y="731"/>
                      <a:pt x="940" y="473"/>
                    </a:cubicBezTo>
                    <a:cubicBezTo>
                      <a:pt x="940" y="211"/>
                      <a:pt x="730" y="1"/>
                      <a:pt x="468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8" name="Google Shape;155;p26">
                <a:extLst>
                  <a:ext uri="{FF2B5EF4-FFF2-40B4-BE49-F238E27FC236}">
                    <a16:creationId xmlns:a16="http://schemas.microsoft.com/office/drawing/2014/main" id="{D96FE5D1-B388-ACF2-8ADA-4BB782493A66}"/>
                  </a:ext>
                </a:extLst>
              </p:cNvPr>
              <p:cNvSpPr/>
              <p:nvPr/>
            </p:nvSpPr>
            <p:spPr>
              <a:xfrm>
                <a:off x="5037840" y="1065308"/>
                <a:ext cx="41284" cy="41284"/>
              </a:xfrm>
              <a:custGeom>
                <a:avLst/>
                <a:gdLst/>
                <a:ahLst/>
                <a:cxnLst/>
                <a:rect l="l" t="t" r="r" b="b"/>
                <a:pathLst>
                  <a:path w="941" h="941" extrusionOk="0">
                    <a:moveTo>
                      <a:pt x="468" y="1"/>
                    </a:moveTo>
                    <a:cubicBezTo>
                      <a:pt x="210" y="1"/>
                      <a:pt x="1" y="211"/>
                      <a:pt x="1" y="473"/>
                    </a:cubicBezTo>
                    <a:cubicBezTo>
                      <a:pt x="1" y="731"/>
                      <a:pt x="210" y="941"/>
                      <a:pt x="468" y="941"/>
                    </a:cubicBezTo>
                    <a:cubicBezTo>
                      <a:pt x="731" y="941"/>
                      <a:pt x="940" y="731"/>
                      <a:pt x="940" y="473"/>
                    </a:cubicBezTo>
                    <a:cubicBezTo>
                      <a:pt x="940" y="211"/>
                      <a:pt x="731" y="1"/>
                      <a:pt x="468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9" name="Google Shape;156;p26">
                <a:extLst>
                  <a:ext uri="{FF2B5EF4-FFF2-40B4-BE49-F238E27FC236}">
                    <a16:creationId xmlns:a16="http://schemas.microsoft.com/office/drawing/2014/main" id="{5922A19B-2BE3-A4FC-79C3-FAA2BE3D2951}"/>
                  </a:ext>
                </a:extLst>
              </p:cNvPr>
              <p:cNvSpPr/>
              <p:nvPr/>
            </p:nvSpPr>
            <p:spPr>
              <a:xfrm>
                <a:off x="5988347" y="1835302"/>
                <a:ext cx="75197" cy="75197"/>
              </a:xfrm>
              <a:custGeom>
                <a:avLst/>
                <a:gdLst/>
                <a:ahLst/>
                <a:cxnLst/>
                <a:rect l="l" t="t" r="r" b="b"/>
                <a:pathLst>
                  <a:path w="1714" h="1714" extrusionOk="0">
                    <a:moveTo>
                      <a:pt x="857" y="57"/>
                    </a:moveTo>
                    <a:cubicBezTo>
                      <a:pt x="1299" y="57"/>
                      <a:pt x="1662" y="415"/>
                      <a:pt x="1662" y="857"/>
                    </a:cubicBezTo>
                    <a:cubicBezTo>
                      <a:pt x="1662" y="1299"/>
                      <a:pt x="1299" y="1661"/>
                      <a:pt x="857" y="1661"/>
                    </a:cubicBezTo>
                    <a:cubicBezTo>
                      <a:pt x="415" y="1661"/>
                      <a:pt x="57" y="1299"/>
                      <a:pt x="57" y="857"/>
                    </a:cubicBezTo>
                    <a:cubicBezTo>
                      <a:pt x="57" y="415"/>
                      <a:pt x="415" y="57"/>
                      <a:pt x="857" y="57"/>
                    </a:cubicBezTo>
                    <a:close/>
                    <a:moveTo>
                      <a:pt x="857" y="0"/>
                    </a:moveTo>
                    <a:cubicBezTo>
                      <a:pt x="385" y="0"/>
                      <a:pt x="0" y="385"/>
                      <a:pt x="0" y="857"/>
                    </a:cubicBezTo>
                    <a:cubicBezTo>
                      <a:pt x="0" y="1333"/>
                      <a:pt x="385" y="1714"/>
                      <a:pt x="857" y="1714"/>
                    </a:cubicBezTo>
                    <a:cubicBezTo>
                      <a:pt x="1329" y="1714"/>
                      <a:pt x="1714" y="1333"/>
                      <a:pt x="1714" y="857"/>
                    </a:cubicBezTo>
                    <a:cubicBezTo>
                      <a:pt x="1714" y="385"/>
                      <a:pt x="1329" y="0"/>
                      <a:pt x="857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" name="Google Shape;157;p26">
              <a:extLst>
                <a:ext uri="{FF2B5EF4-FFF2-40B4-BE49-F238E27FC236}">
                  <a16:creationId xmlns:a16="http://schemas.microsoft.com/office/drawing/2014/main" id="{E6B3361C-D411-CAEC-1D67-BDE2ECF42A46}"/>
                </a:ext>
              </a:extLst>
            </p:cNvPr>
            <p:cNvSpPr/>
            <p:nvPr/>
          </p:nvSpPr>
          <p:spPr>
            <a:xfrm>
              <a:off x="5989825" y="1384119"/>
              <a:ext cx="1241460" cy="348172"/>
            </a:xfrm>
            <a:custGeom>
              <a:avLst/>
              <a:gdLst/>
              <a:ahLst/>
              <a:cxnLst/>
              <a:rect l="l" t="t" r="r" b="b"/>
              <a:pathLst>
                <a:path w="28297" h="7936" extrusionOk="0">
                  <a:moveTo>
                    <a:pt x="722" y="0"/>
                  </a:moveTo>
                  <a:cubicBezTo>
                    <a:pt x="324" y="0"/>
                    <a:pt x="0" y="323"/>
                    <a:pt x="0" y="725"/>
                  </a:cubicBezTo>
                  <a:lnTo>
                    <a:pt x="0" y="7211"/>
                  </a:lnTo>
                  <a:cubicBezTo>
                    <a:pt x="0" y="7613"/>
                    <a:pt x="324" y="7936"/>
                    <a:pt x="722" y="7936"/>
                  </a:cubicBezTo>
                  <a:lnTo>
                    <a:pt x="27576" y="7936"/>
                  </a:lnTo>
                  <a:cubicBezTo>
                    <a:pt x="27973" y="7936"/>
                    <a:pt x="28296" y="7613"/>
                    <a:pt x="28296" y="7211"/>
                  </a:cubicBezTo>
                  <a:lnTo>
                    <a:pt x="28296" y="725"/>
                  </a:lnTo>
                  <a:cubicBezTo>
                    <a:pt x="28296" y="323"/>
                    <a:pt x="27973" y="0"/>
                    <a:pt x="27576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8" name="Google Shape;158;p26">
              <a:extLst>
                <a:ext uri="{FF2B5EF4-FFF2-40B4-BE49-F238E27FC236}">
                  <a16:creationId xmlns:a16="http://schemas.microsoft.com/office/drawing/2014/main" id="{5977BB6C-11A8-1655-5B9A-AF08721407E7}"/>
                </a:ext>
              </a:extLst>
            </p:cNvPr>
            <p:cNvGrpSpPr/>
            <p:nvPr/>
          </p:nvGrpSpPr>
          <p:grpSpPr>
            <a:xfrm>
              <a:off x="3797699" y="2697040"/>
              <a:ext cx="1040771" cy="391497"/>
              <a:chOff x="3551493" y="2562740"/>
              <a:chExt cx="1286978" cy="391497"/>
            </a:xfrm>
          </p:grpSpPr>
          <p:sp>
            <p:nvSpPr>
              <p:cNvPr id="259" name="Google Shape;159;p26">
                <a:extLst>
                  <a:ext uri="{FF2B5EF4-FFF2-40B4-BE49-F238E27FC236}">
                    <a16:creationId xmlns:a16="http://schemas.microsoft.com/office/drawing/2014/main" id="{5A69D13B-EEE2-09E0-ECF4-567094070FCE}"/>
                  </a:ext>
                </a:extLst>
              </p:cNvPr>
              <p:cNvSpPr/>
              <p:nvPr/>
            </p:nvSpPr>
            <p:spPr>
              <a:xfrm>
                <a:off x="3597011" y="2562740"/>
                <a:ext cx="1241460" cy="348172"/>
              </a:xfrm>
              <a:custGeom>
                <a:avLst/>
                <a:gdLst/>
                <a:ahLst/>
                <a:cxnLst/>
                <a:rect l="l" t="t" r="r" b="b"/>
                <a:pathLst>
                  <a:path w="28297" h="7936" extrusionOk="0">
                    <a:moveTo>
                      <a:pt x="722" y="0"/>
                    </a:moveTo>
                    <a:cubicBezTo>
                      <a:pt x="324" y="0"/>
                      <a:pt x="0" y="323"/>
                      <a:pt x="0" y="725"/>
                    </a:cubicBezTo>
                    <a:lnTo>
                      <a:pt x="0" y="7211"/>
                    </a:lnTo>
                    <a:cubicBezTo>
                      <a:pt x="0" y="7613"/>
                      <a:pt x="324" y="7936"/>
                      <a:pt x="722" y="7936"/>
                    </a:cubicBezTo>
                    <a:lnTo>
                      <a:pt x="27576" y="7936"/>
                    </a:lnTo>
                    <a:cubicBezTo>
                      <a:pt x="27973" y="7936"/>
                      <a:pt x="28296" y="7613"/>
                      <a:pt x="28296" y="7211"/>
                    </a:cubicBezTo>
                    <a:lnTo>
                      <a:pt x="28296" y="725"/>
                    </a:lnTo>
                    <a:cubicBezTo>
                      <a:pt x="28296" y="323"/>
                      <a:pt x="27973" y="0"/>
                      <a:pt x="2757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0" name="Google Shape;160;p26">
                <a:extLst>
                  <a:ext uri="{FF2B5EF4-FFF2-40B4-BE49-F238E27FC236}">
                    <a16:creationId xmlns:a16="http://schemas.microsoft.com/office/drawing/2014/main" id="{F4416BCE-F126-C940-4D51-1D8ACC3D2415}"/>
                  </a:ext>
                </a:extLst>
              </p:cNvPr>
              <p:cNvSpPr/>
              <p:nvPr/>
            </p:nvSpPr>
            <p:spPr>
              <a:xfrm>
                <a:off x="3551493" y="2606065"/>
                <a:ext cx="1241460" cy="348172"/>
              </a:xfrm>
              <a:custGeom>
                <a:avLst/>
                <a:gdLst/>
                <a:ahLst/>
                <a:cxnLst/>
                <a:rect l="l" t="t" r="r" b="b"/>
                <a:pathLst>
                  <a:path w="28297" h="7936" extrusionOk="0">
                    <a:moveTo>
                      <a:pt x="722" y="0"/>
                    </a:moveTo>
                    <a:cubicBezTo>
                      <a:pt x="324" y="0"/>
                      <a:pt x="0" y="323"/>
                      <a:pt x="0" y="725"/>
                    </a:cubicBezTo>
                    <a:lnTo>
                      <a:pt x="0" y="7211"/>
                    </a:lnTo>
                    <a:cubicBezTo>
                      <a:pt x="0" y="7613"/>
                      <a:pt x="324" y="7936"/>
                      <a:pt x="722" y="7936"/>
                    </a:cubicBezTo>
                    <a:lnTo>
                      <a:pt x="27576" y="7936"/>
                    </a:lnTo>
                    <a:cubicBezTo>
                      <a:pt x="27973" y="7936"/>
                      <a:pt x="28296" y="7613"/>
                      <a:pt x="28296" y="7211"/>
                    </a:cubicBezTo>
                    <a:lnTo>
                      <a:pt x="28296" y="725"/>
                    </a:lnTo>
                    <a:cubicBezTo>
                      <a:pt x="28296" y="323"/>
                      <a:pt x="27973" y="0"/>
                      <a:pt x="27576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1" name="Google Shape;161;p26">
                <a:extLst>
                  <a:ext uri="{FF2B5EF4-FFF2-40B4-BE49-F238E27FC236}">
                    <a16:creationId xmlns:a16="http://schemas.microsoft.com/office/drawing/2014/main" id="{F89AC13A-DDE7-EA43-A3C8-6B8F0AF72239}"/>
                  </a:ext>
                </a:extLst>
              </p:cNvPr>
              <p:cNvSpPr/>
              <p:nvPr/>
            </p:nvSpPr>
            <p:spPr>
              <a:xfrm>
                <a:off x="3714500" y="2671849"/>
                <a:ext cx="170313" cy="151404"/>
              </a:xfrm>
              <a:custGeom>
                <a:avLst/>
                <a:gdLst/>
                <a:ahLst/>
                <a:cxnLst/>
                <a:rect l="l" t="t" r="r" b="b"/>
                <a:pathLst>
                  <a:path w="3882" h="3451" extrusionOk="0">
                    <a:moveTo>
                      <a:pt x="1942" y="1"/>
                    </a:moveTo>
                    <a:cubicBezTo>
                      <a:pt x="1436" y="1"/>
                      <a:pt x="935" y="222"/>
                      <a:pt x="595" y="646"/>
                    </a:cubicBezTo>
                    <a:cubicBezTo>
                      <a:pt x="1" y="1389"/>
                      <a:pt x="119" y="2473"/>
                      <a:pt x="862" y="3072"/>
                    </a:cubicBezTo>
                    <a:cubicBezTo>
                      <a:pt x="1180" y="3326"/>
                      <a:pt x="1561" y="3450"/>
                      <a:pt x="1940" y="3450"/>
                    </a:cubicBezTo>
                    <a:cubicBezTo>
                      <a:pt x="2445" y="3450"/>
                      <a:pt x="2945" y="3230"/>
                      <a:pt x="3288" y="2804"/>
                    </a:cubicBezTo>
                    <a:cubicBezTo>
                      <a:pt x="3881" y="2062"/>
                      <a:pt x="3764" y="974"/>
                      <a:pt x="3021" y="380"/>
                    </a:cubicBezTo>
                    <a:cubicBezTo>
                      <a:pt x="2703" y="125"/>
                      <a:pt x="2321" y="1"/>
                      <a:pt x="1942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2" name="Google Shape;162;p26">
                <a:extLst>
                  <a:ext uri="{FF2B5EF4-FFF2-40B4-BE49-F238E27FC236}">
                    <a16:creationId xmlns:a16="http://schemas.microsoft.com/office/drawing/2014/main" id="{F8913973-6F1D-F654-C202-2C72B1E3CB43}"/>
                  </a:ext>
                </a:extLst>
              </p:cNvPr>
              <p:cNvSpPr/>
              <p:nvPr/>
            </p:nvSpPr>
            <p:spPr>
              <a:xfrm>
                <a:off x="3756134" y="2721819"/>
                <a:ext cx="87087" cy="54928"/>
              </a:xfrm>
              <a:custGeom>
                <a:avLst/>
                <a:gdLst/>
                <a:ahLst/>
                <a:cxnLst/>
                <a:rect l="l" t="t" r="r" b="b"/>
                <a:pathLst>
                  <a:path w="1985" h="1252" extrusionOk="0">
                    <a:moveTo>
                      <a:pt x="1959" y="0"/>
                    </a:moveTo>
                    <a:cubicBezTo>
                      <a:pt x="1912" y="0"/>
                      <a:pt x="1468" y="399"/>
                      <a:pt x="945" y="910"/>
                    </a:cubicBezTo>
                    <a:cubicBezTo>
                      <a:pt x="884" y="971"/>
                      <a:pt x="820" y="1032"/>
                      <a:pt x="760" y="1093"/>
                    </a:cubicBezTo>
                    <a:lnTo>
                      <a:pt x="760" y="1093"/>
                    </a:lnTo>
                    <a:cubicBezTo>
                      <a:pt x="365" y="708"/>
                      <a:pt x="61" y="432"/>
                      <a:pt x="25" y="432"/>
                    </a:cubicBezTo>
                    <a:cubicBezTo>
                      <a:pt x="23" y="432"/>
                      <a:pt x="22" y="432"/>
                      <a:pt x="22" y="433"/>
                    </a:cubicBezTo>
                    <a:cubicBezTo>
                      <a:pt x="1" y="451"/>
                      <a:pt x="302" y="783"/>
                      <a:pt x="721" y="1211"/>
                    </a:cubicBezTo>
                    <a:lnTo>
                      <a:pt x="761" y="1251"/>
                    </a:lnTo>
                    <a:lnTo>
                      <a:pt x="800" y="1211"/>
                    </a:lnTo>
                    <a:cubicBezTo>
                      <a:pt x="875" y="1141"/>
                      <a:pt x="949" y="1068"/>
                      <a:pt x="1028" y="993"/>
                    </a:cubicBezTo>
                    <a:cubicBezTo>
                      <a:pt x="1565" y="469"/>
                      <a:pt x="1984" y="23"/>
                      <a:pt x="1962" y="1"/>
                    </a:cubicBezTo>
                    <a:cubicBezTo>
                      <a:pt x="1962" y="0"/>
                      <a:pt x="1961" y="0"/>
                      <a:pt x="1959" y="0"/>
                    </a:cubicBezTo>
                    <a:close/>
                  </a:path>
                </a:pathLst>
              </a:custGeom>
              <a:solidFill>
                <a:srgbClr val="B7B7B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3" name="Google Shape;163;p26">
                <a:extLst>
                  <a:ext uri="{FF2B5EF4-FFF2-40B4-BE49-F238E27FC236}">
                    <a16:creationId xmlns:a16="http://schemas.microsoft.com/office/drawing/2014/main" id="{B1CB2C67-1B29-BA2F-46D0-D9CF8A432DBF}"/>
                  </a:ext>
                </a:extLst>
              </p:cNvPr>
              <p:cNvSpPr/>
              <p:nvPr/>
            </p:nvSpPr>
            <p:spPr>
              <a:xfrm>
                <a:off x="4012257" y="2708832"/>
                <a:ext cx="705031" cy="5001"/>
              </a:xfrm>
              <a:custGeom>
                <a:avLst/>
                <a:gdLst/>
                <a:ahLst/>
                <a:cxnLst/>
                <a:rect l="l" t="t" r="r" b="b"/>
                <a:pathLst>
                  <a:path w="16070" h="114" extrusionOk="0">
                    <a:moveTo>
                      <a:pt x="8038" y="0"/>
                    </a:moveTo>
                    <a:cubicBezTo>
                      <a:pt x="3597" y="0"/>
                      <a:pt x="1" y="26"/>
                      <a:pt x="1" y="57"/>
                    </a:cubicBezTo>
                    <a:cubicBezTo>
                      <a:pt x="1" y="87"/>
                      <a:pt x="3597" y="113"/>
                      <a:pt x="8038" y="113"/>
                    </a:cubicBezTo>
                    <a:cubicBezTo>
                      <a:pt x="12473" y="113"/>
                      <a:pt x="16070" y="87"/>
                      <a:pt x="16070" y="57"/>
                    </a:cubicBezTo>
                    <a:cubicBezTo>
                      <a:pt x="16070" y="26"/>
                      <a:pt x="12473" y="0"/>
                      <a:pt x="803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4" name="Google Shape;164;p26">
                <a:extLst>
                  <a:ext uri="{FF2B5EF4-FFF2-40B4-BE49-F238E27FC236}">
                    <a16:creationId xmlns:a16="http://schemas.microsoft.com/office/drawing/2014/main" id="{091B75ED-ADE8-D028-BDB9-49DB92FC9094}"/>
                  </a:ext>
                </a:extLst>
              </p:cNvPr>
              <p:cNvSpPr/>
              <p:nvPr/>
            </p:nvSpPr>
            <p:spPr>
              <a:xfrm>
                <a:off x="4020505" y="2777623"/>
                <a:ext cx="407707" cy="5045"/>
              </a:xfrm>
              <a:custGeom>
                <a:avLst/>
                <a:gdLst/>
                <a:ahLst/>
                <a:cxnLst/>
                <a:rect l="l" t="t" r="r" b="b"/>
                <a:pathLst>
                  <a:path w="9293" h="115" extrusionOk="0">
                    <a:moveTo>
                      <a:pt x="4647" y="0"/>
                    </a:moveTo>
                    <a:cubicBezTo>
                      <a:pt x="2081" y="0"/>
                      <a:pt x="0" y="26"/>
                      <a:pt x="0" y="58"/>
                    </a:cubicBezTo>
                    <a:cubicBezTo>
                      <a:pt x="0" y="88"/>
                      <a:pt x="2081" y="114"/>
                      <a:pt x="4647" y="114"/>
                    </a:cubicBezTo>
                    <a:cubicBezTo>
                      <a:pt x="7211" y="114"/>
                      <a:pt x="9292" y="88"/>
                      <a:pt x="9292" y="58"/>
                    </a:cubicBezTo>
                    <a:cubicBezTo>
                      <a:pt x="9292" y="26"/>
                      <a:pt x="7211" y="0"/>
                      <a:pt x="4647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9" name="Google Shape;167;p26">
              <a:extLst>
                <a:ext uri="{FF2B5EF4-FFF2-40B4-BE49-F238E27FC236}">
                  <a16:creationId xmlns:a16="http://schemas.microsoft.com/office/drawing/2014/main" id="{B1B83778-0B22-8FFF-92B9-D1854CAF494B}"/>
                </a:ext>
              </a:extLst>
            </p:cNvPr>
            <p:cNvGrpSpPr/>
            <p:nvPr/>
          </p:nvGrpSpPr>
          <p:grpSpPr>
            <a:xfrm>
              <a:off x="5765433" y="3973585"/>
              <a:ext cx="203088" cy="412126"/>
              <a:chOff x="7764635" y="2404362"/>
              <a:chExt cx="353565" cy="717489"/>
            </a:xfrm>
          </p:grpSpPr>
          <p:sp>
            <p:nvSpPr>
              <p:cNvPr id="257" name="Google Shape;168;p26">
                <a:extLst>
                  <a:ext uri="{FF2B5EF4-FFF2-40B4-BE49-F238E27FC236}">
                    <a16:creationId xmlns:a16="http://schemas.microsoft.com/office/drawing/2014/main" id="{EFEA77F1-F681-F71E-2C5B-726AFF1F835D}"/>
                  </a:ext>
                </a:extLst>
              </p:cNvPr>
              <p:cNvSpPr/>
              <p:nvPr/>
            </p:nvSpPr>
            <p:spPr>
              <a:xfrm>
                <a:off x="7764635" y="2517069"/>
                <a:ext cx="238359" cy="604782"/>
              </a:xfrm>
              <a:custGeom>
                <a:avLst/>
                <a:gdLst/>
                <a:ahLst/>
                <a:cxnLst/>
                <a:rect l="l" t="t" r="r" b="b"/>
                <a:pathLst>
                  <a:path w="5433" h="13785" extrusionOk="0">
                    <a:moveTo>
                      <a:pt x="1893" y="1"/>
                    </a:moveTo>
                    <a:lnTo>
                      <a:pt x="1875" y="9077"/>
                    </a:lnTo>
                    <a:lnTo>
                      <a:pt x="1" y="9073"/>
                    </a:lnTo>
                    <a:lnTo>
                      <a:pt x="1351" y="11429"/>
                    </a:lnTo>
                    <a:lnTo>
                      <a:pt x="2706" y="13784"/>
                    </a:lnTo>
                    <a:lnTo>
                      <a:pt x="4069" y="11433"/>
                    </a:lnTo>
                    <a:lnTo>
                      <a:pt x="5433" y="9081"/>
                    </a:lnTo>
                    <a:lnTo>
                      <a:pt x="3553" y="9081"/>
                    </a:lnTo>
                    <a:lnTo>
                      <a:pt x="3571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8" name="Google Shape;169;p26">
                <a:extLst>
                  <a:ext uri="{FF2B5EF4-FFF2-40B4-BE49-F238E27FC236}">
                    <a16:creationId xmlns:a16="http://schemas.microsoft.com/office/drawing/2014/main" id="{AD783F7E-30FC-8876-51A0-F1DFDA26A14D}"/>
                  </a:ext>
                </a:extLst>
              </p:cNvPr>
              <p:cNvSpPr/>
              <p:nvPr/>
            </p:nvSpPr>
            <p:spPr>
              <a:xfrm>
                <a:off x="7976141" y="2404362"/>
                <a:ext cx="142059" cy="360456"/>
              </a:xfrm>
              <a:custGeom>
                <a:avLst/>
                <a:gdLst/>
                <a:ahLst/>
                <a:cxnLst/>
                <a:rect l="l" t="t" r="r" b="b"/>
                <a:pathLst>
                  <a:path w="3238" h="8216" extrusionOk="0">
                    <a:moveTo>
                      <a:pt x="1128" y="0"/>
                    </a:moveTo>
                    <a:lnTo>
                      <a:pt x="1118" y="5410"/>
                    </a:lnTo>
                    <a:lnTo>
                      <a:pt x="0" y="5410"/>
                    </a:lnTo>
                    <a:lnTo>
                      <a:pt x="804" y="6813"/>
                    </a:lnTo>
                    <a:lnTo>
                      <a:pt x="1612" y="8216"/>
                    </a:lnTo>
                    <a:lnTo>
                      <a:pt x="2425" y="6817"/>
                    </a:lnTo>
                    <a:lnTo>
                      <a:pt x="3238" y="5414"/>
                    </a:lnTo>
                    <a:lnTo>
                      <a:pt x="2120" y="5414"/>
                    </a:lnTo>
                    <a:lnTo>
                      <a:pt x="2128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0" name="Google Shape;170;p26">
              <a:extLst>
                <a:ext uri="{FF2B5EF4-FFF2-40B4-BE49-F238E27FC236}">
                  <a16:creationId xmlns:a16="http://schemas.microsoft.com/office/drawing/2014/main" id="{F95E680B-5EA4-0A55-FEBA-002DD1A7A973}"/>
                </a:ext>
              </a:extLst>
            </p:cNvPr>
            <p:cNvSpPr/>
            <p:nvPr/>
          </p:nvSpPr>
          <p:spPr>
            <a:xfrm>
              <a:off x="4577856" y="957875"/>
              <a:ext cx="238359" cy="604739"/>
            </a:xfrm>
            <a:custGeom>
              <a:avLst/>
              <a:gdLst/>
              <a:ahLst/>
              <a:cxnLst/>
              <a:rect l="l" t="t" r="r" b="b"/>
              <a:pathLst>
                <a:path w="5433" h="13784" extrusionOk="0">
                  <a:moveTo>
                    <a:pt x="2728" y="0"/>
                  </a:moveTo>
                  <a:lnTo>
                    <a:pt x="1364" y="2351"/>
                  </a:lnTo>
                  <a:lnTo>
                    <a:pt x="1" y="4698"/>
                  </a:lnTo>
                  <a:lnTo>
                    <a:pt x="1880" y="4702"/>
                  </a:lnTo>
                  <a:lnTo>
                    <a:pt x="1863" y="13779"/>
                  </a:lnTo>
                  <a:lnTo>
                    <a:pt x="3537" y="13783"/>
                  </a:lnTo>
                  <a:lnTo>
                    <a:pt x="3554" y="4706"/>
                  </a:lnTo>
                  <a:lnTo>
                    <a:pt x="5433" y="4711"/>
                  </a:lnTo>
                  <a:lnTo>
                    <a:pt x="5433" y="4711"/>
                  </a:lnTo>
                  <a:lnTo>
                    <a:pt x="4079" y="2356"/>
                  </a:lnTo>
                  <a:lnTo>
                    <a:pt x="2728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171;p26">
              <a:extLst>
                <a:ext uri="{FF2B5EF4-FFF2-40B4-BE49-F238E27FC236}">
                  <a16:creationId xmlns:a16="http://schemas.microsoft.com/office/drawing/2014/main" id="{C1336EC9-95DB-5783-B632-8AB607F932CF}"/>
                </a:ext>
              </a:extLst>
            </p:cNvPr>
            <p:cNvSpPr/>
            <p:nvPr/>
          </p:nvSpPr>
          <p:spPr>
            <a:xfrm>
              <a:off x="4437554" y="1301654"/>
              <a:ext cx="144253" cy="365414"/>
            </a:xfrm>
            <a:custGeom>
              <a:avLst/>
              <a:gdLst/>
              <a:ahLst/>
              <a:cxnLst/>
              <a:rect l="l" t="t" r="r" b="b"/>
              <a:pathLst>
                <a:path w="3288" h="8329" extrusionOk="0">
                  <a:moveTo>
                    <a:pt x="1648" y="0"/>
                  </a:moveTo>
                  <a:lnTo>
                    <a:pt x="827" y="1420"/>
                  </a:lnTo>
                  <a:lnTo>
                    <a:pt x="0" y="2840"/>
                  </a:lnTo>
                  <a:lnTo>
                    <a:pt x="1137" y="2840"/>
                  </a:lnTo>
                  <a:lnTo>
                    <a:pt x="1123" y="8329"/>
                  </a:lnTo>
                  <a:lnTo>
                    <a:pt x="2138" y="8329"/>
                  </a:lnTo>
                  <a:lnTo>
                    <a:pt x="2150" y="2845"/>
                  </a:lnTo>
                  <a:lnTo>
                    <a:pt x="3287" y="2845"/>
                  </a:lnTo>
                  <a:lnTo>
                    <a:pt x="2465" y="1420"/>
                  </a:lnTo>
                  <a:lnTo>
                    <a:pt x="1648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2" name="Google Shape;172;p26">
              <a:extLst>
                <a:ext uri="{FF2B5EF4-FFF2-40B4-BE49-F238E27FC236}">
                  <a16:creationId xmlns:a16="http://schemas.microsoft.com/office/drawing/2014/main" id="{12877C24-2FC9-3577-A610-DD299D0F40F2}"/>
                </a:ext>
              </a:extLst>
            </p:cNvPr>
            <p:cNvGrpSpPr/>
            <p:nvPr/>
          </p:nvGrpSpPr>
          <p:grpSpPr>
            <a:xfrm>
              <a:off x="8071692" y="3374463"/>
              <a:ext cx="777728" cy="1334382"/>
              <a:chOff x="7825967" y="3240163"/>
              <a:chExt cx="777728" cy="1334382"/>
            </a:xfrm>
          </p:grpSpPr>
          <p:sp>
            <p:nvSpPr>
              <p:cNvPr id="251" name="Google Shape;173;p26">
                <a:extLst>
                  <a:ext uri="{FF2B5EF4-FFF2-40B4-BE49-F238E27FC236}">
                    <a16:creationId xmlns:a16="http://schemas.microsoft.com/office/drawing/2014/main" id="{7869D377-57F1-EB7A-B33C-3ECD6A4178EC}"/>
                  </a:ext>
                </a:extLst>
              </p:cNvPr>
              <p:cNvSpPr/>
              <p:nvPr/>
            </p:nvSpPr>
            <p:spPr>
              <a:xfrm>
                <a:off x="7825967" y="3240163"/>
                <a:ext cx="777728" cy="1015297"/>
              </a:xfrm>
              <a:custGeom>
                <a:avLst/>
                <a:gdLst/>
                <a:ahLst/>
                <a:cxnLst/>
                <a:rect l="l" t="t" r="r" b="b"/>
                <a:pathLst>
                  <a:path w="17727" h="23142" extrusionOk="0">
                    <a:moveTo>
                      <a:pt x="15489" y="1"/>
                    </a:moveTo>
                    <a:cubicBezTo>
                      <a:pt x="15432" y="1"/>
                      <a:pt x="15375" y="3"/>
                      <a:pt x="15318" y="7"/>
                    </a:cubicBezTo>
                    <a:cubicBezTo>
                      <a:pt x="14405" y="82"/>
                      <a:pt x="13593" y="649"/>
                      <a:pt x="13011" y="1357"/>
                    </a:cubicBezTo>
                    <a:cubicBezTo>
                      <a:pt x="12429" y="2065"/>
                      <a:pt x="12046" y="2908"/>
                      <a:pt x="11647" y="3735"/>
                    </a:cubicBezTo>
                    <a:cubicBezTo>
                      <a:pt x="11250" y="4556"/>
                      <a:pt x="10822" y="5387"/>
                      <a:pt x="10179" y="6042"/>
                    </a:cubicBezTo>
                    <a:cubicBezTo>
                      <a:pt x="10021" y="6204"/>
                      <a:pt x="9812" y="6362"/>
                      <a:pt x="9595" y="6362"/>
                    </a:cubicBezTo>
                    <a:cubicBezTo>
                      <a:pt x="9560" y="6362"/>
                      <a:pt x="9524" y="6358"/>
                      <a:pt x="9489" y="6349"/>
                    </a:cubicBezTo>
                    <a:cubicBezTo>
                      <a:pt x="9235" y="6278"/>
                      <a:pt x="9104" y="5994"/>
                      <a:pt x="9077" y="5732"/>
                    </a:cubicBezTo>
                    <a:cubicBezTo>
                      <a:pt x="9056" y="5470"/>
                      <a:pt x="9099" y="5203"/>
                      <a:pt x="9043" y="4950"/>
                    </a:cubicBezTo>
                    <a:cubicBezTo>
                      <a:pt x="8926" y="4449"/>
                      <a:pt x="8401" y="4138"/>
                      <a:pt x="7885" y="4138"/>
                    </a:cubicBezTo>
                    <a:cubicBezTo>
                      <a:pt x="7767" y="4138"/>
                      <a:pt x="7648" y="4155"/>
                      <a:pt x="7536" y="4189"/>
                    </a:cubicBezTo>
                    <a:cubicBezTo>
                      <a:pt x="6933" y="4373"/>
                      <a:pt x="6508" y="4937"/>
                      <a:pt x="6324" y="5540"/>
                    </a:cubicBezTo>
                    <a:cubicBezTo>
                      <a:pt x="6141" y="6143"/>
                      <a:pt x="6159" y="6785"/>
                      <a:pt x="6176" y="7414"/>
                    </a:cubicBezTo>
                    <a:cubicBezTo>
                      <a:pt x="6211" y="8590"/>
                      <a:pt x="6251" y="9762"/>
                      <a:pt x="6285" y="10937"/>
                    </a:cubicBezTo>
                    <a:cubicBezTo>
                      <a:pt x="6303" y="11567"/>
                      <a:pt x="6259" y="12322"/>
                      <a:pt x="5713" y="12636"/>
                    </a:cubicBezTo>
                    <a:cubicBezTo>
                      <a:pt x="5557" y="12727"/>
                      <a:pt x="5385" y="12764"/>
                      <a:pt x="5207" y="12764"/>
                    </a:cubicBezTo>
                    <a:cubicBezTo>
                      <a:pt x="4931" y="12764"/>
                      <a:pt x="4643" y="12674"/>
                      <a:pt x="4393" y="12554"/>
                    </a:cubicBezTo>
                    <a:cubicBezTo>
                      <a:pt x="3760" y="12248"/>
                      <a:pt x="3222" y="11763"/>
                      <a:pt x="2850" y="11168"/>
                    </a:cubicBezTo>
                    <a:cubicBezTo>
                      <a:pt x="2575" y="10722"/>
                      <a:pt x="2352" y="10181"/>
                      <a:pt x="1872" y="9971"/>
                    </a:cubicBezTo>
                    <a:cubicBezTo>
                      <a:pt x="1749" y="9918"/>
                      <a:pt x="1620" y="9893"/>
                      <a:pt x="1491" y="9893"/>
                    </a:cubicBezTo>
                    <a:cubicBezTo>
                      <a:pt x="1011" y="9893"/>
                      <a:pt x="525" y="10234"/>
                      <a:pt x="293" y="10679"/>
                    </a:cubicBezTo>
                    <a:cubicBezTo>
                      <a:pt x="1" y="11238"/>
                      <a:pt x="89" y="11908"/>
                      <a:pt x="84" y="12541"/>
                    </a:cubicBezTo>
                    <a:cubicBezTo>
                      <a:pt x="45" y="16339"/>
                      <a:pt x="897" y="20543"/>
                      <a:pt x="4253" y="22737"/>
                    </a:cubicBezTo>
                    <a:cubicBezTo>
                      <a:pt x="5087" y="23016"/>
                      <a:pt x="5896" y="23142"/>
                      <a:pt x="6699" y="23142"/>
                    </a:cubicBezTo>
                    <a:cubicBezTo>
                      <a:pt x="7856" y="23142"/>
                      <a:pt x="9000" y="22880"/>
                      <a:pt x="10192" y="22439"/>
                    </a:cubicBezTo>
                    <a:cubicBezTo>
                      <a:pt x="12207" y="21696"/>
                      <a:pt x="13976" y="20341"/>
                      <a:pt x="15340" y="18681"/>
                    </a:cubicBezTo>
                    <a:cubicBezTo>
                      <a:pt x="15733" y="18205"/>
                      <a:pt x="16100" y="17689"/>
                      <a:pt x="16271" y="17099"/>
                    </a:cubicBezTo>
                    <a:cubicBezTo>
                      <a:pt x="16441" y="16509"/>
                      <a:pt x="16393" y="15827"/>
                      <a:pt x="16013" y="15342"/>
                    </a:cubicBezTo>
                    <a:cubicBezTo>
                      <a:pt x="15660" y="14896"/>
                      <a:pt x="15103" y="14708"/>
                      <a:pt x="14524" y="14708"/>
                    </a:cubicBezTo>
                    <a:cubicBezTo>
                      <a:pt x="14152" y="14708"/>
                      <a:pt x="13771" y="14786"/>
                      <a:pt x="13430" y="14923"/>
                    </a:cubicBezTo>
                    <a:cubicBezTo>
                      <a:pt x="12963" y="15111"/>
                      <a:pt x="12530" y="15381"/>
                      <a:pt x="12040" y="15486"/>
                    </a:cubicBezTo>
                    <a:cubicBezTo>
                      <a:pt x="11936" y="15508"/>
                      <a:pt x="11828" y="15519"/>
                      <a:pt x="11719" y="15519"/>
                    </a:cubicBezTo>
                    <a:cubicBezTo>
                      <a:pt x="11316" y="15519"/>
                      <a:pt x="10910" y="15366"/>
                      <a:pt x="10721" y="15018"/>
                    </a:cubicBezTo>
                    <a:cubicBezTo>
                      <a:pt x="10481" y="14582"/>
                      <a:pt x="10695" y="14009"/>
                      <a:pt x="11066" y="13673"/>
                    </a:cubicBezTo>
                    <a:cubicBezTo>
                      <a:pt x="11437" y="13340"/>
                      <a:pt x="11927" y="13179"/>
                      <a:pt x="12395" y="12999"/>
                    </a:cubicBezTo>
                    <a:cubicBezTo>
                      <a:pt x="13692" y="12493"/>
                      <a:pt x="14904" y="11767"/>
                      <a:pt x="15957" y="10853"/>
                    </a:cubicBezTo>
                    <a:cubicBezTo>
                      <a:pt x="16481" y="10399"/>
                      <a:pt x="17010" y="9713"/>
                      <a:pt x="16734" y="9076"/>
                    </a:cubicBezTo>
                    <a:cubicBezTo>
                      <a:pt x="16534" y="8616"/>
                      <a:pt x="15987" y="8411"/>
                      <a:pt x="15489" y="8362"/>
                    </a:cubicBezTo>
                    <a:cubicBezTo>
                      <a:pt x="14991" y="8319"/>
                      <a:pt x="14475" y="8380"/>
                      <a:pt x="13994" y="8237"/>
                    </a:cubicBezTo>
                    <a:cubicBezTo>
                      <a:pt x="13575" y="8105"/>
                      <a:pt x="13159" y="7699"/>
                      <a:pt x="13286" y="7275"/>
                    </a:cubicBezTo>
                    <a:cubicBezTo>
                      <a:pt x="13361" y="7043"/>
                      <a:pt x="13575" y="6881"/>
                      <a:pt x="13771" y="6737"/>
                    </a:cubicBezTo>
                    <a:cubicBezTo>
                      <a:pt x="14868" y="5929"/>
                      <a:pt x="15848" y="4963"/>
                      <a:pt x="16669" y="3874"/>
                    </a:cubicBezTo>
                    <a:cubicBezTo>
                      <a:pt x="17224" y="3144"/>
                      <a:pt x="17726" y="2232"/>
                      <a:pt x="17473" y="1349"/>
                    </a:cubicBezTo>
                    <a:cubicBezTo>
                      <a:pt x="17235" y="521"/>
                      <a:pt x="16351" y="1"/>
                      <a:pt x="15489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2" name="Google Shape;174;p26">
                <a:extLst>
                  <a:ext uri="{FF2B5EF4-FFF2-40B4-BE49-F238E27FC236}">
                    <a16:creationId xmlns:a16="http://schemas.microsoft.com/office/drawing/2014/main" id="{5E4CEB05-CD0C-626F-765E-01B793A56179}"/>
                  </a:ext>
                </a:extLst>
              </p:cNvPr>
              <p:cNvSpPr/>
              <p:nvPr/>
            </p:nvSpPr>
            <p:spPr>
              <a:xfrm>
                <a:off x="8008869" y="3262319"/>
                <a:ext cx="542308" cy="1312226"/>
              </a:xfrm>
              <a:custGeom>
                <a:avLst/>
                <a:gdLst/>
                <a:ahLst/>
                <a:cxnLst/>
                <a:rect l="l" t="t" r="r" b="b"/>
                <a:pathLst>
                  <a:path w="12361" h="29910" extrusionOk="0">
                    <a:moveTo>
                      <a:pt x="12360" y="1"/>
                    </a:moveTo>
                    <a:lnTo>
                      <a:pt x="12360" y="1"/>
                    </a:lnTo>
                    <a:cubicBezTo>
                      <a:pt x="12360" y="1"/>
                      <a:pt x="12334" y="17"/>
                      <a:pt x="12290" y="53"/>
                    </a:cubicBezTo>
                    <a:cubicBezTo>
                      <a:pt x="12246" y="92"/>
                      <a:pt x="12181" y="148"/>
                      <a:pt x="12098" y="219"/>
                    </a:cubicBezTo>
                    <a:cubicBezTo>
                      <a:pt x="11931" y="364"/>
                      <a:pt x="11687" y="577"/>
                      <a:pt x="11377" y="866"/>
                    </a:cubicBezTo>
                    <a:cubicBezTo>
                      <a:pt x="10761" y="1443"/>
                      <a:pt x="9900" y="2316"/>
                      <a:pt x="8973" y="3505"/>
                    </a:cubicBezTo>
                    <a:cubicBezTo>
                      <a:pt x="8506" y="4099"/>
                      <a:pt x="8024" y="4773"/>
                      <a:pt x="7522" y="5503"/>
                    </a:cubicBezTo>
                    <a:cubicBezTo>
                      <a:pt x="7020" y="6232"/>
                      <a:pt x="6491" y="7018"/>
                      <a:pt x="5962" y="7867"/>
                    </a:cubicBezTo>
                    <a:cubicBezTo>
                      <a:pt x="5438" y="8714"/>
                      <a:pt x="4914" y="9619"/>
                      <a:pt x="4446" y="10602"/>
                    </a:cubicBezTo>
                    <a:cubicBezTo>
                      <a:pt x="4210" y="11092"/>
                      <a:pt x="4000" y="11603"/>
                      <a:pt x="3790" y="12123"/>
                    </a:cubicBezTo>
                    <a:cubicBezTo>
                      <a:pt x="3576" y="12643"/>
                      <a:pt x="3367" y="13168"/>
                      <a:pt x="3147" y="13700"/>
                    </a:cubicBezTo>
                    <a:cubicBezTo>
                      <a:pt x="2292" y="15838"/>
                      <a:pt x="1544" y="17905"/>
                      <a:pt x="1028" y="19832"/>
                    </a:cubicBezTo>
                    <a:cubicBezTo>
                      <a:pt x="503" y="21760"/>
                      <a:pt x="211" y="23543"/>
                      <a:pt x="110" y="25046"/>
                    </a:cubicBezTo>
                    <a:cubicBezTo>
                      <a:pt x="1" y="26553"/>
                      <a:pt x="75" y="27777"/>
                      <a:pt x="172" y="28616"/>
                    </a:cubicBezTo>
                    <a:cubicBezTo>
                      <a:pt x="267" y="29455"/>
                      <a:pt x="372" y="29909"/>
                      <a:pt x="372" y="29909"/>
                    </a:cubicBezTo>
                    <a:cubicBezTo>
                      <a:pt x="372" y="29909"/>
                      <a:pt x="372" y="29879"/>
                      <a:pt x="364" y="29822"/>
                    </a:cubicBezTo>
                    <a:cubicBezTo>
                      <a:pt x="355" y="29761"/>
                      <a:pt x="346" y="29683"/>
                      <a:pt x="329" y="29574"/>
                    </a:cubicBezTo>
                    <a:cubicBezTo>
                      <a:pt x="294" y="29354"/>
                      <a:pt x="251" y="29031"/>
                      <a:pt x="206" y="28612"/>
                    </a:cubicBezTo>
                    <a:cubicBezTo>
                      <a:pt x="124" y="27773"/>
                      <a:pt x="63" y="26553"/>
                      <a:pt x="176" y="25050"/>
                    </a:cubicBezTo>
                    <a:cubicBezTo>
                      <a:pt x="289" y="23551"/>
                      <a:pt x="587" y="21777"/>
                      <a:pt x="1112" y="19854"/>
                    </a:cubicBezTo>
                    <a:cubicBezTo>
                      <a:pt x="1636" y="17932"/>
                      <a:pt x="2383" y="15873"/>
                      <a:pt x="3236" y="13736"/>
                    </a:cubicBezTo>
                    <a:cubicBezTo>
                      <a:pt x="3454" y="13202"/>
                      <a:pt x="3668" y="12678"/>
                      <a:pt x="3877" y="12158"/>
                    </a:cubicBezTo>
                    <a:cubicBezTo>
                      <a:pt x="4087" y="11638"/>
                      <a:pt x="4293" y="11131"/>
                      <a:pt x="4529" y="10642"/>
                    </a:cubicBezTo>
                    <a:cubicBezTo>
                      <a:pt x="4992" y="9667"/>
                      <a:pt x="5517" y="8758"/>
                      <a:pt x="6041" y="7910"/>
                    </a:cubicBezTo>
                    <a:cubicBezTo>
                      <a:pt x="6560" y="7067"/>
                      <a:pt x="7090" y="6280"/>
                      <a:pt x="7588" y="5546"/>
                    </a:cubicBezTo>
                    <a:cubicBezTo>
                      <a:pt x="8086" y="4816"/>
                      <a:pt x="8567" y="4144"/>
                      <a:pt x="9025" y="3549"/>
                    </a:cubicBezTo>
                    <a:cubicBezTo>
                      <a:pt x="9943" y="2351"/>
                      <a:pt x="10795" y="1477"/>
                      <a:pt x="11403" y="892"/>
                    </a:cubicBezTo>
                    <a:cubicBezTo>
                      <a:pt x="11705" y="604"/>
                      <a:pt x="11949" y="380"/>
                      <a:pt x="12111" y="232"/>
                    </a:cubicBezTo>
                    <a:cubicBezTo>
                      <a:pt x="12194" y="158"/>
                      <a:pt x="12255" y="101"/>
                      <a:pt x="12298" y="61"/>
                    </a:cubicBezTo>
                    <a:cubicBezTo>
                      <a:pt x="12338" y="23"/>
                      <a:pt x="12360" y="1"/>
                      <a:pt x="12360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3" name="Google Shape;175;p26">
                <a:extLst>
                  <a:ext uri="{FF2B5EF4-FFF2-40B4-BE49-F238E27FC236}">
                    <a16:creationId xmlns:a16="http://schemas.microsoft.com/office/drawing/2014/main" id="{9E68DA22-2044-EDAD-25C4-2CD76F84BF12}"/>
                  </a:ext>
                </a:extLst>
              </p:cNvPr>
              <p:cNvSpPr/>
              <p:nvPr/>
            </p:nvSpPr>
            <p:spPr>
              <a:xfrm>
                <a:off x="8156322" y="3423942"/>
                <a:ext cx="48962" cy="303159"/>
              </a:xfrm>
              <a:custGeom>
                <a:avLst/>
                <a:gdLst/>
                <a:ahLst/>
                <a:cxnLst/>
                <a:rect l="l" t="t" r="r" b="b"/>
                <a:pathLst>
                  <a:path w="1116" h="6910" extrusionOk="0">
                    <a:moveTo>
                      <a:pt x="6" y="0"/>
                    </a:moveTo>
                    <a:cubicBezTo>
                      <a:pt x="0" y="0"/>
                      <a:pt x="14" y="97"/>
                      <a:pt x="53" y="272"/>
                    </a:cubicBezTo>
                    <a:cubicBezTo>
                      <a:pt x="88" y="446"/>
                      <a:pt x="137" y="695"/>
                      <a:pt x="198" y="1006"/>
                    </a:cubicBezTo>
                    <a:cubicBezTo>
                      <a:pt x="311" y="1630"/>
                      <a:pt x="442" y="2491"/>
                      <a:pt x="565" y="3453"/>
                    </a:cubicBezTo>
                    <a:cubicBezTo>
                      <a:pt x="692" y="4409"/>
                      <a:pt x="805" y="5275"/>
                      <a:pt x="910" y="5900"/>
                    </a:cubicBezTo>
                    <a:cubicBezTo>
                      <a:pt x="962" y="6214"/>
                      <a:pt x="1006" y="6468"/>
                      <a:pt x="1041" y="6638"/>
                    </a:cubicBezTo>
                    <a:cubicBezTo>
                      <a:pt x="1075" y="6813"/>
                      <a:pt x="1102" y="6910"/>
                      <a:pt x="1107" y="6910"/>
                    </a:cubicBezTo>
                    <a:cubicBezTo>
                      <a:pt x="1115" y="6906"/>
                      <a:pt x="1102" y="6809"/>
                      <a:pt x="1081" y="6634"/>
                    </a:cubicBezTo>
                    <a:cubicBezTo>
                      <a:pt x="1054" y="6442"/>
                      <a:pt x="1019" y="6192"/>
                      <a:pt x="976" y="5891"/>
                    </a:cubicBezTo>
                    <a:cubicBezTo>
                      <a:pt x="892" y="5248"/>
                      <a:pt x="783" y="4388"/>
                      <a:pt x="661" y="3439"/>
                    </a:cubicBezTo>
                    <a:cubicBezTo>
                      <a:pt x="538" y="2479"/>
                      <a:pt x="394" y="1613"/>
                      <a:pt x="263" y="992"/>
                    </a:cubicBezTo>
                    <a:cubicBezTo>
                      <a:pt x="198" y="682"/>
                      <a:pt x="137" y="433"/>
                      <a:pt x="88" y="262"/>
                    </a:cubicBezTo>
                    <a:cubicBezTo>
                      <a:pt x="40" y="92"/>
                      <a:pt x="10" y="0"/>
                      <a:pt x="6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4" name="Google Shape;176;p26">
                <a:extLst>
                  <a:ext uri="{FF2B5EF4-FFF2-40B4-BE49-F238E27FC236}">
                    <a16:creationId xmlns:a16="http://schemas.microsoft.com/office/drawing/2014/main" id="{01B3607F-5932-96BD-48BA-7C2D8F2EEFA7}"/>
                  </a:ext>
                </a:extLst>
              </p:cNvPr>
              <p:cNvSpPr/>
              <p:nvPr/>
            </p:nvSpPr>
            <p:spPr>
              <a:xfrm>
                <a:off x="8204844" y="3651900"/>
                <a:ext cx="358394" cy="75197"/>
              </a:xfrm>
              <a:custGeom>
                <a:avLst/>
                <a:gdLst/>
                <a:ahLst/>
                <a:cxnLst/>
                <a:rect l="l" t="t" r="r" b="b"/>
                <a:pathLst>
                  <a:path w="8169" h="1714" extrusionOk="0">
                    <a:moveTo>
                      <a:pt x="8085" y="0"/>
                    </a:moveTo>
                    <a:cubicBezTo>
                      <a:pt x="8019" y="0"/>
                      <a:pt x="7936" y="5"/>
                      <a:pt x="7841" y="9"/>
                    </a:cubicBezTo>
                    <a:cubicBezTo>
                      <a:pt x="7631" y="18"/>
                      <a:pt x="7325" y="40"/>
                      <a:pt x="6944" y="84"/>
                    </a:cubicBezTo>
                    <a:cubicBezTo>
                      <a:pt x="6193" y="163"/>
                      <a:pt x="5157" y="324"/>
                      <a:pt x="4025" y="560"/>
                    </a:cubicBezTo>
                    <a:cubicBezTo>
                      <a:pt x="2894" y="800"/>
                      <a:pt x="1879" y="1075"/>
                      <a:pt x="1159" y="1303"/>
                    </a:cubicBezTo>
                    <a:cubicBezTo>
                      <a:pt x="796" y="1412"/>
                      <a:pt x="503" y="1517"/>
                      <a:pt x="306" y="1587"/>
                    </a:cubicBezTo>
                    <a:cubicBezTo>
                      <a:pt x="215" y="1622"/>
                      <a:pt x="140" y="1652"/>
                      <a:pt x="80" y="1674"/>
                    </a:cubicBezTo>
                    <a:cubicBezTo>
                      <a:pt x="27" y="1696"/>
                      <a:pt x="1" y="1710"/>
                      <a:pt x="1" y="1714"/>
                    </a:cubicBezTo>
                    <a:cubicBezTo>
                      <a:pt x="1" y="1714"/>
                      <a:pt x="31" y="1710"/>
                      <a:pt x="84" y="1696"/>
                    </a:cubicBezTo>
                    <a:cubicBezTo>
                      <a:pt x="149" y="1674"/>
                      <a:pt x="227" y="1652"/>
                      <a:pt x="320" y="1622"/>
                    </a:cubicBezTo>
                    <a:cubicBezTo>
                      <a:pt x="520" y="1561"/>
                      <a:pt x="814" y="1468"/>
                      <a:pt x="1176" y="1369"/>
                    </a:cubicBezTo>
                    <a:cubicBezTo>
                      <a:pt x="1901" y="1154"/>
                      <a:pt x="2916" y="892"/>
                      <a:pt x="4043" y="651"/>
                    </a:cubicBezTo>
                    <a:cubicBezTo>
                      <a:pt x="5175" y="415"/>
                      <a:pt x="6206" y="245"/>
                      <a:pt x="6954" y="149"/>
                    </a:cubicBezTo>
                    <a:cubicBezTo>
                      <a:pt x="7329" y="97"/>
                      <a:pt x="7635" y="66"/>
                      <a:pt x="7845" y="44"/>
                    </a:cubicBezTo>
                    <a:cubicBezTo>
                      <a:pt x="7941" y="36"/>
                      <a:pt x="8019" y="26"/>
                      <a:pt x="8085" y="18"/>
                    </a:cubicBezTo>
                    <a:cubicBezTo>
                      <a:pt x="8142" y="14"/>
                      <a:pt x="8168" y="5"/>
                      <a:pt x="8168" y="5"/>
                    </a:cubicBezTo>
                    <a:cubicBezTo>
                      <a:pt x="8168" y="0"/>
                      <a:pt x="8142" y="0"/>
                      <a:pt x="808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5" name="Google Shape;177;p26">
                <a:extLst>
                  <a:ext uri="{FF2B5EF4-FFF2-40B4-BE49-F238E27FC236}">
                    <a16:creationId xmlns:a16="http://schemas.microsoft.com/office/drawing/2014/main" id="{6714AAAE-2F6A-B5D8-D684-9FF290816074}"/>
                  </a:ext>
                </a:extLst>
              </p:cNvPr>
              <p:cNvSpPr/>
              <p:nvPr/>
            </p:nvSpPr>
            <p:spPr>
              <a:xfrm>
                <a:off x="7865277" y="3676029"/>
                <a:ext cx="192556" cy="449649"/>
              </a:xfrm>
              <a:custGeom>
                <a:avLst/>
                <a:gdLst/>
                <a:ahLst/>
                <a:cxnLst/>
                <a:rect l="l" t="t" r="r" b="b"/>
                <a:pathLst>
                  <a:path w="4389" h="10249" extrusionOk="0">
                    <a:moveTo>
                      <a:pt x="1" y="1"/>
                    </a:moveTo>
                    <a:cubicBezTo>
                      <a:pt x="1" y="6"/>
                      <a:pt x="14" y="41"/>
                      <a:pt x="40" y="111"/>
                    </a:cubicBezTo>
                    <a:cubicBezTo>
                      <a:pt x="75" y="184"/>
                      <a:pt x="119" y="285"/>
                      <a:pt x="171" y="408"/>
                    </a:cubicBezTo>
                    <a:cubicBezTo>
                      <a:pt x="289" y="678"/>
                      <a:pt x="452" y="1045"/>
                      <a:pt x="648" y="1501"/>
                    </a:cubicBezTo>
                    <a:cubicBezTo>
                      <a:pt x="1049" y="2427"/>
                      <a:pt x="1574" y="3716"/>
                      <a:pt x="2151" y="5145"/>
                    </a:cubicBezTo>
                    <a:cubicBezTo>
                      <a:pt x="2723" y="6570"/>
                      <a:pt x="3261" y="7859"/>
                      <a:pt x="3677" y="8776"/>
                    </a:cubicBezTo>
                    <a:cubicBezTo>
                      <a:pt x="3886" y="9236"/>
                      <a:pt x="4061" y="9607"/>
                      <a:pt x="4183" y="9860"/>
                    </a:cubicBezTo>
                    <a:cubicBezTo>
                      <a:pt x="4244" y="9978"/>
                      <a:pt x="4292" y="10075"/>
                      <a:pt x="4332" y="10148"/>
                    </a:cubicBezTo>
                    <a:cubicBezTo>
                      <a:pt x="4367" y="10214"/>
                      <a:pt x="4385" y="10249"/>
                      <a:pt x="4389" y="10249"/>
                    </a:cubicBezTo>
                    <a:cubicBezTo>
                      <a:pt x="4389" y="10245"/>
                      <a:pt x="4375" y="10210"/>
                      <a:pt x="4349" y="10140"/>
                    </a:cubicBezTo>
                    <a:cubicBezTo>
                      <a:pt x="4314" y="10065"/>
                      <a:pt x="4270" y="9965"/>
                      <a:pt x="4218" y="9843"/>
                    </a:cubicBezTo>
                    <a:cubicBezTo>
                      <a:pt x="4100" y="9571"/>
                      <a:pt x="3939" y="9204"/>
                      <a:pt x="3738" y="8750"/>
                    </a:cubicBezTo>
                    <a:cubicBezTo>
                      <a:pt x="3340" y="7824"/>
                      <a:pt x="2811" y="6535"/>
                      <a:pt x="2239" y="5110"/>
                    </a:cubicBezTo>
                    <a:cubicBezTo>
                      <a:pt x="1666" y="3681"/>
                      <a:pt x="1128" y="2392"/>
                      <a:pt x="708" y="1474"/>
                    </a:cubicBezTo>
                    <a:cubicBezTo>
                      <a:pt x="504" y="1015"/>
                      <a:pt x="329" y="644"/>
                      <a:pt x="206" y="390"/>
                    </a:cubicBezTo>
                    <a:cubicBezTo>
                      <a:pt x="145" y="272"/>
                      <a:pt x="97" y="176"/>
                      <a:pt x="58" y="101"/>
                    </a:cubicBezTo>
                    <a:cubicBezTo>
                      <a:pt x="23" y="36"/>
                      <a:pt x="6" y="1"/>
                      <a:pt x="1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6" name="Google Shape;178;p26">
                <a:extLst>
                  <a:ext uri="{FF2B5EF4-FFF2-40B4-BE49-F238E27FC236}">
                    <a16:creationId xmlns:a16="http://schemas.microsoft.com/office/drawing/2014/main" id="{4139A1D4-7142-3817-CC57-CCEFB14934BB}"/>
                  </a:ext>
                </a:extLst>
              </p:cNvPr>
              <p:cNvSpPr/>
              <p:nvPr/>
            </p:nvSpPr>
            <p:spPr>
              <a:xfrm>
                <a:off x="8057610" y="3961942"/>
                <a:ext cx="474920" cy="163732"/>
              </a:xfrm>
              <a:custGeom>
                <a:avLst/>
                <a:gdLst/>
                <a:ahLst/>
                <a:cxnLst/>
                <a:rect l="l" t="t" r="r" b="b"/>
                <a:pathLst>
                  <a:path w="10825" h="3732" extrusionOk="0">
                    <a:moveTo>
                      <a:pt x="10825" y="0"/>
                    </a:moveTo>
                    <a:cubicBezTo>
                      <a:pt x="10820" y="0"/>
                      <a:pt x="10782" y="8"/>
                      <a:pt x="10707" y="26"/>
                    </a:cubicBezTo>
                    <a:cubicBezTo>
                      <a:pt x="10628" y="53"/>
                      <a:pt x="10519" y="83"/>
                      <a:pt x="10388" y="123"/>
                    </a:cubicBezTo>
                    <a:cubicBezTo>
                      <a:pt x="10112" y="206"/>
                      <a:pt x="9711" y="333"/>
                      <a:pt x="9217" y="490"/>
                    </a:cubicBezTo>
                    <a:cubicBezTo>
                      <a:pt x="8234" y="813"/>
                      <a:pt x="6883" y="1285"/>
                      <a:pt x="5397" y="1822"/>
                    </a:cubicBezTo>
                    <a:cubicBezTo>
                      <a:pt x="3912" y="2360"/>
                      <a:pt x="2565" y="2840"/>
                      <a:pt x="1586" y="3177"/>
                    </a:cubicBezTo>
                    <a:cubicBezTo>
                      <a:pt x="1106" y="3343"/>
                      <a:pt x="713" y="3479"/>
                      <a:pt x="424" y="3575"/>
                    </a:cubicBezTo>
                    <a:cubicBezTo>
                      <a:pt x="297" y="3623"/>
                      <a:pt x="193" y="3657"/>
                      <a:pt x="110" y="3684"/>
                    </a:cubicBezTo>
                    <a:cubicBezTo>
                      <a:pt x="39" y="3710"/>
                      <a:pt x="1" y="3728"/>
                      <a:pt x="5" y="3732"/>
                    </a:cubicBezTo>
                    <a:cubicBezTo>
                      <a:pt x="5" y="3732"/>
                      <a:pt x="44" y="3723"/>
                      <a:pt x="118" y="3706"/>
                    </a:cubicBezTo>
                    <a:cubicBezTo>
                      <a:pt x="201" y="3679"/>
                      <a:pt x="306" y="3649"/>
                      <a:pt x="437" y="3610"/>
                    </a:cubicBezTo>
                    <a:cubicBezTo>
                      <a:pt x="717" y="3532"/>
                      <a:pt x="1114" y="3405"/>
                      <a:pt x="1608" y="3243"/>
                    </a:cubicBezTo>
                    <a:cubicBezTo>
                      <a:pt x="2591" y="2919"/>
                      <a:pt x="3942" y="2447"/>
                      <a:pt x="5428" y="1910"/>
                    </a:cubicBezTo>
                    <a:cubicBezTo>
                      <a:pt x="6913" y="1372"/>
                      <a:pt x="8260" y="892"/>
                      <a:pt x="9239" y="555"/>
                    </a:cubicBezTo>
                    <a:cubicBezTo>
                      <a:pt x="9723" y="389"/>
                      <a:pt x="10117" y="254"/>
                      <a:pt x="10401" y="157"/>
                    </a:cubicBezTo>
                    <a:cubicBezTo>
                      <a:pt x="10528" y="113"/>
                      <a:pt x="10633" y="75"/>
                      <a:pt x="10716" y="48"/>
                    </a:cubicBezTo>
                    <a:cubicBezTo>
                      <a:pt x="10786" y="22"/>
                      <a:pt x="10825" y="4"/>
                      <a:pt x="1082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3" name="Google Shape;180;p26">
              <a:extLst>
                <a:ext uri="{FF2B5EF4-FFF2-40B4-BE49-F238E27FC236}">
                  <a16:creationId xmlns:a16="http://schemas.microsoft.com/office/drawing/2014/main" id="{7C609C82-1B55-296B-D6C7-7F85D913AC16}"/>
                </a:ext>
              </a:extLst>
            </p:cNvPr>
            <p:cNvGrpSpPr/>
            <p:nvPr/>
          </p:nvGrpSpPr>
          <p:grpSpPr>
            <a:xfrm>
              <a:off x="3929256" y="3919614"/>
              <a:ext cx="576962" cy="773332"/>
              <a:chOff x="3429656" y="3785314"/>
              <a:chExt cx="576962" cy="773332"/>
            </a:xfrm>
          </p:grpSpPr>
          <p:sp>
            <p:nvSpPr>
              <p:cNvPr id="245" name="Google Shape;181;p26">
                <a:extLst>
                  <a:ext uri="{FF2B5EF4-FFF2-40B4-BE49-F238E27FC236}">
                    <a16:creationId xmlns:a16="http://schemas.microsoft.com/office/drawing/2014/main" id="{B6320BF4-FB54-2ED0-F363-AF3CB3707750}"/>
                  </a:ext>
                </a:extLst>
              </p:cNvPr>
              <p:cNvSpPr/>
              <p:nvPr/>
            </p:nvSpPr>
            <p:spPr>
              <a:xfrm>
                <a:off x="3429656" y="4237325"/>
                <a:ext cx="230725" cy="140304"/>
              </a:xfrm>
              <a:custGeom>
                <a:avLst/>
                <a:gdLst/>
                <a:ahLst/>
                <a:cxnLst/>
                <a:rect l="l" t="t" r="r" b="b"/>
                <a:pathLst>
                  <a:path w="5259" h="3198" extrusionOk="0">
                    <a:moveTo>
                      <a:pt x="2536" y="0"/>
                    </a:moveTo>
                    <a:cubicBezTo>
                      <a:pt x="2246" y="0"/>
                      <a:pt x="1955" y="26"/>
                      <a:pt x="1670" y="73"/>
                    </a:cubicBezTo>
                    <a:cubicBezTo>
                      <a:pt x="1198" y="151"/>
                      <a:pt x="704" y="291"/>
                      <a:pt x="381" y="645"/>
                    </a:cubicBezTo>
                    <a:cubicBezTo>
                      <a:pt x="63" y="1004"/>
                      <a:pt x="1" y="1628"/>
                      <a:pt x="368" y="1930"/>
                    </a:cubicBezTo>
                    <a:cubicBezTo>
                      <a:pt x="577" y="2103"/>
                      <a:pt x="860" y="2136"/>
                      <a:pt x="1128" y="2136"/>
                    </a:cubicBezTo>
                    <a:cubicBezTo>
                      <a:pt x="1146" y="2136"/>
                      <a:pt x="1163" y="2136"/>
                      <a:pt x="1181" y="2136"/>
                    </a:cubicBezTo>
                    <a:cubicBezTo>
                      <a:pt x="1442" y="2134"/>
                      <a:pt x="1713" y="2116"/>
                      <a:pt x="1979" y="2116"/>
                    </a:cubicBezTo>
                    <a:cubicBezTo>
                      <a:pt x="2417" y="2116"/>
                      <a:pt x="2840" y="2166"/>
                      <a:pt x="3183" y="2424"/>
                    </a:cubicBezTo>
                    <a:cubicBezTo>
                      <a:pt x="3497" y="2660"/>
                      <a:pt x="3707" y="3054"/>
                      <a:pt x="4083" y="3167"/>
                    </a:cubicBezTo>
                    <a:cubicBezTo>
                      <a:pt x="4150" y="3188"/>
                      <a:pt x="4219" y="3197"/>
                      <a:pt x="4288" y="3197"/>
                    </a:cubicBezTo>
                    <a:cubicBezTo>
                      <a:pt x="4595" y="3197"/>
                      <a:pt x="4900" y="3005"/>
                      <a:pt x="5057" y="2735"/>
                    </a:cubicBezTo>
                    <a:cubicBezTo>
                      <a:pt x="5254" y="2402"/>
                      <a:pt x="5258" y="1987"/>
                      <a:pt x="5166" y="1616"/>
                    </a:cubicBezTo>
                    <a:cubicBezTo>
                      <a:pt x="5166" y="1616"/>
                      <a:pt x="5075" y="803"/>
                      <a:pt x="4275" y="387"/>
                    </a:cubicBezTo>
                    <a:cubicBezTo>
                      <a:pt x="3740" y="113"/>
                      <a:pt x="3140" y="0"/>
                      <a:pt x="2536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6" name="Google Shape;182;p26">
                <a:extLst>
                  <a:ext uri="{FF2B5EF4-FFF2-40B4-BE49-F238E27FC236}">
                    <a16:creationId xmlns:a16="http://schemas.microsoft.com/office/drawing/2014/main" id="{F1076368-52D5-CFAA-1A4A-D7B222243EAC}"/>
                  </a:ext>
                </a:extLst>
              </p:cNvPr>
              <p:cNvSpPr/>
              <p:nvPr/>
            </p:nvSpPr>
            <p:spPr>
              <a:xfrm>
                <a:off x="3554866" y="3785314"/>
                <a:ext cx="162065" cy="334616"/>
              </a:xfrm>
              <a:custGeom>
                <a:avLst/>
                <a:gdLst/>
                <a:ahLst/>
                <a:cxnLst/>
                <a:rect l="l" t="t" r="r" b="b"/>
                <a:pathLst>
                  <a:path w="3694" h="7627" extrusionOk="0">
                    <a:moveTo>
                      <a:pt x="1509" y="1"/>
                    </a:moveTo>
                    <a:cubicBezTo>
                      <a:pt x="1180" y="1"/>
                      <a:pt x="849" y="163"/>
                      <a:pt x="621" y="408"/>
                    </a:cubicBezTo>
                    <a:cubicBezTo>
                      <a:pt x="337" y="709"/>
                      <a:pt x="184" y="1111"/>
                      <a:pt x="97" y="1517"/>
                    </a:cubicBezTo>
                    <a:cubicBezTo>
                      <a:pt x="31" y="1846"/>
                      <a:pt x="0" y="2177"/>
                      <a:pt x="0" y="2509"/>
                    </a:cubicBezTo>
                    <a:cubicBezTo>
                      <a:pt x="0" y="3550"/>
                      <a:pt x="293" y="4599"/>
                      <a:pt x="582" y="5608"/>
                    </a:cubicBezTo>
                    <a:cubicBezTo>
                      <a:pt x="753" y="6194"/>
                      <a:pt x="936" y="6806"/>
                      <a:pt x="1373" y="7229"/>
                    </a:cubicBezTo>
                    <a:cubicBezTo>
                      <a:pt x="1609" y="7457"/>
                      <a:pt x="1993" y="7627"/>
                      <a:pt x="2374" y="7627"/>
                    </a:cubicBezTo>
                    <a:cubicBezTo>
                      <a:pt x="2697" y="7627"/>
                      <a:pt x="3012" y="7505"/>
                      <a:pt x="3235" y="7185"/>
                    </a:cubicBezTo>
                    <a:cubicBezTo>
                      <a:pt x="3611" y="6640"/>
                      <a:pt x="3693" y="5944"/>
                      <a:pt x="3693" y="5281"/>
                    </a:cubicBezTo>
                    <a:lnTo>
                      <a:pt x="3693" y="5250"/>
                    </a:lnTo>
                    <a:cubicBezTo>
                      <a:pt x="3689" y="3808"/>
                      <a:pt x="3357" y="2366"/>
                      <a:pt x="2727" y="1063"/>
                    </a:cubicBezTo>
                    <a:cubicBezTo>
                      <a:pt x="2518" y="622"/>
                      <a:pt x="2221" y="158"/>
                      <a:pt x="1745" y="32"/>
                    </a:cubicBezTo>
                    <a:cubicBezTo>
                      <a:pt x="1666" y="10"/>
                      <a:pt x="1587" y="1"/>
                      <a:pt x="1509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7" name="Google Shape;183;p26">
                <a:extLst>
                  <a:ext uri="{FF2B5EF4-FFF2-40B4-BE49-F238E27FC236}">
                    <a16:creationId xmlns:a16="http://schemas.microsoft.com/office/drawing/2014/main" id="{99052667-E05D-40D5-1D72-ACB6B9935026}"/>
                  </a:ext>
                </a:extLst>
              </p:cNvPr>
              <p:cNvSpPr/>
              <p:nvPr/>
            </p:nvSpPr>
            <p:spPr>
              <a:xfrm>
                <a:off x="3727853" y="3883016"/>
                <a:ext cx="278766" cy="276572"/>
              </a:xfrm>
              <a:custGeom>
                <a:avLst/>
                <a:gdLst/>
                <a:ahLst/>
                <a:cxnLst/>
                <a:rect l="l" t="t" r="r" b="b"/>
                <a:pathLst>
                  <a:path w="6354" h="6304" extrusionOk="0">
                    <a:moveTo>
                      <a:pt x="5006" y="0"/>
                    </a:moveTo>
                    <a:cubicBezTo>
                      <a:pt x="4686" y="0"/>
                      <a:pt x="4367" y="87"/>
                      <a:pt x="4064" y="195"/>
                    </a:cubicBezTo>
                    <a:cubicBezTo>
                      <a:pt x="3159" y="514"/>
                      <a:pt x="2320" y="1008"/>
                      <a:pt x="1604" y="1646"/>
                    </a:cubicBezTo>
                    <a:cubicBezTo>
                      <a:pt x="996" y="2188"/>
                      <a:pt x="467" y="2852"/>
                      <a:pt x="231" y="3635"/>
                    </a:cubicBezTo>
                    <a:cubicBezTo>
                      <a:pt x="0" y="4417"/>
                      <a:pt x="95" y="5331"/>
                      <a:pt x="624" y="5955"/>
                    </a:cubicBezTo>
                    <a:lnTo>
                      <a:pt x="555" y="5863"/>
                    </a:lnTo>
                    <a:lnTo>
                      <a:pt x="555" y="5863"/>
                    </a:lnTo>
                    <a:cubicBezTo>
                      <a:pt x="787" y="6167"/>
                      <a:pt x="1151" y="6303"/>
                      <a:pt x="1565" y="6303"/>
                    </a:cubicBezTo>
                    <a:cubicBezTo>
                      <a:pt x="1845" y="6303"/>
                      <a:pt x="2148" y="6241"/>
                      <a:pt x="2447" y="6126"/>
                    </a:cubicBezTo>
                    <a:cubicBezTo>
                      <a:pt x="3185" y="5846"/>
                      <a:pt x="3740" y="5230"/>
                      <a:pt x="4222" y="4605"/>
                    </a:cubicBezTo>
                    <a:cubicBezTo>
                      <a:pt x="4825" y="3831"/>
                      <a:pt x="5366" y="3009"/>
                      <a:pt x="5838" y="2148"/>
                    </a:cubicBezTo>
                    <a:cubicBezTo>
                      <a:pt x="6104" y="1660"/>
                      <a:pt x="6354" y="1061"/>
                      <a:pt x="6096" y="567"/>
                    </a:cubicBezTo>
                    <a:cubicBezTo>
                      <a:pt x="5921" y="234"/>
                      <a:pt x="5541" y="42"/>
                      <a:pt x="5166" y="8"/>
                    </a:cubicBezTo>
                    <a:cubicBezTo>
                      <a:pt x="5112" y="3"/>
                      <a:pt x="5059" y="0"/>
                      <a:pt x="5006" y="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8" name="Google Shape;184;p26">
                <a:extLst>
                  <a:ext uri="{FF2B5EF4-FFF2-40B4-BE49-F238E27FC236}">
                    <a16:creationId xmlns:a16="http://schemas.microsoft.com/office/drawing/2014/main" id="{D986C9CE-322C-9EEF-3162-7C43542086BB}"/>
                  </a:ext>
                </a:extLst>
              </p:cNvPr>
              <p:cNvSpPr/>
              <p:nvPr/>
            </p:nvSpPr>
            <p:spPr>
              <a:xfrm>
                <a:off x="3539555" y="4279398"/>
                <a:ext cx="159169" cy="279248"/>
              </a:xfrm>
              <a:custGeom>
                <a:avLst/>
                <a:gdLst/>
                <a:ahLst/>
                <a:cxnLst/>
                <a:rect l="l" t="t" r="r" b="b"/>
                <a:pathLst>
                  <a:path w="3628" h="6365" extrusionOk="0">
                    <a:moveTo>
                      <a:pt x="125" y="1"/>
                    </a:moveTo>
                    <a:cubicBezTo>
                      <a:pt x="44" y="1"/>
                      <a:pt x="0" y="4"/>
                      <a:pt x="0" y="9"/>
                    </a:cubicBezTo>
                    <a:cubicBezTo>
                      <a:pt x="0" y="19"/>
                      <a:pt x="114" y="36"/>
                      <a:pt x="315" y="54"/>
                    </a:cubicBezTo>
                    <a:cubicBezTo>
                      <a:pt x="511" y="84"/>
                      <a:pt x="799" y="145"/>
                      <a:pt x="1124" y="307"/>
                    </a:cubicBezTo>
                    <a:cubicBezTo>
                      <a:pt x="1442" y="459"/>
                      <a:pt x="1787" y="731"/>
                      <a:pt x="2080" y="1102"/>
                    </a:cubicBezTo>
                    <a:cubicBezTo>
                      <a:pt x="2378" y="1474"/>
                      <a:pt x="2631" y="1937"/>
                      <a:pt x="2840" y="2448"/>
                    </a:cubicBezTo>
                    <a:cubicBezTo>
                      <a:pt x="3042" y="2960"/>
                      <a:pt x="3199" y="3466"/>
                      <a:pt x="3300" y="3934"/>
                    </a:cubicBezTo>
                    <a:cubicBezTo>
                      <a:pt x="3395" y="4402"/>
                      <a:pt x="3453" y="4830"/>
                      <a:pt x="3492" y="5193"/>
                    </a:cubicBezTo>
                    <a:cubicBezTo>
                      <a:pt x="3522" y="5534"/>
                      <a:pt x="3553" y="5822"/>
                      <a:pt x="3575" y="6050"/>
                    </a:cubicBezTo>
                    <a:cubicBezTo>
                      <a:pt x="3592" y="6254"/>
                      <a:pt x="3610" y="6364"/>
                      <a:pt x="3619" y="6364"/>
                    </a:cubicBezTo>
                    <a:cubicBezTo>
                      <a:pt x="3627" y="6364"/>
                      <a:pt x="3627" y="6250"/>
                      <a:pt x="3623" y="6044"/>
                    </a:cubicBezTo>
                    <a:cubicBezTo>
                      <a:pt x="3619" y="5844"/>
                      <a:pt x="3610" y="5546"/>
                      <a:pt x="3584" y="5184"/>
                    </a:cubicBezTo>
                    <a:cubicBezTo>
                      <a:pt x="3553" y="4822"/>
                      <a:pt x="3510" y="4384"/>
                      <a:pt x="3413" y="3908"/>
                    </a:cubicBezTo>
                    <a:cubicBezTo>
                      <a:pt x="3317" y="3432"/>
                      <a:pt x="3165" y="2920"/>
                      <a:pt x="2959" y="2400"/>
                    </a:cubicBezTo>
                    <a:cubicBezTo>
                      <a:pt x="2749" y="1881"/>
                      <a:pt x="2487" y="1409"/>
                      <a:pt x="2172" y="1028"/>
                    </a:cubicBezTo>
                    <a:cubicBezTo>
                      <a:pt x="1866" y="648"/>
                      <a:pt x="1503" y="372"/>
                      <a:pt x="1162" y="223"/>
                    </a:cubicBezTo>
                    <a:cubicBezTo>
                      <a:pt x="826" y="71"/>
                      <a:pt x="525" y="19"/>
                      <a:pt x="319" y="5"/>
                    </a:cubicBezTo>
                    <a:cubicBezTo>
                      <a:pt x="241" y="2"/>
                      <a:pt x="176" y="1"/>
                      <a:pt x="125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9" name="Google Shape;185;p26">
                <a:extLst>
                  <a:ext uri="{FF2B5EF4-FFF2-40B4-BE49-F238E27FC236}">
                    <a16:creationId xmlns:a16="http://schemas.microsoft.com/office/drawing/2014/main" id="{A3B59B1C-C0CF-EA2B-2105-2709458A9191}"/>
                  </a:ext>
                </a:extLst>
              </p:cNvPr>
              <p:cNvSpPr/>
              <p:nvPr/>
            </p:nvSpPr>
            <p:spPr>
              <a:xfrm>
                <a:off x="3625017" y="3907278"/>
                <a:ext cx="73881" cy="622375"/>
              </a:xfrm>
              <a:custGeom>
                <a:avLst/>
                <a:gdLst/>
                <a:ahLst/>
                <a:cxnLst/>
                <a:rect l="l" t="t" r="r" b="b"/>
                <a:pathLst>
                  <a:path w="1684" h="14186" extrusionOk="0">
                    <a:moveTo>
                      <a:pt x="5" y="0"/>
                    </a:moveTo>
                    <a:lnTo>
                      <a:pt x="5" y="0"/>
                    </a:lnTo>
                    <a:cubicBezTo>
                      <a:pt x="1" y="0"/>
                      <a:pt x="10" y="53"/>
                      <a:pt x="31" y="145"/>
                    </a:cubicBezTo>
                    <a:cubicBezTo>
                      <a:pt x="53" y="250"/>
                      <a:pt x="89" y="385"/>
                      <a:pt x="128" y="551"/>
                    </a:cubicBezTo>
                    <a:cubicBezTo>
                      <a:pt x="172" y="726"/>
                      <a:pt x="220" y="940"/>
                      <a:pt x="277" y="1194"/>
                    </a:cubicBezTo>
                    <a:cubicBezTo>
                      <a:pt x="338" y="1442"/>
                      <a:pt x="398" y="1731"/>
                      <a:pt x="460" y="2045"/>
                    </a:cubicBezTo>
                    <a:cubicBezTo>
                      <a:pt x="723" y="3313"/>
                      <a:pt x="1011" y="5083"/>
                      <a:pt x="1225" y="7045"/>
                    </a:cubicBezTo>
                    <a:cubicBezTo>
                      <a:pt x="1443" y="9007"/>
                      <a:pt x="1552" y="10795"/>
                      <a:pt x="1584" y="12088"/>
                    </a:cubicBezTo>
                    <a:cubicBezTo>
                      <a:pt x="1605" y="12735"/>
                      <a:pt x="1605" y="13259"/>
                      <a:pt x="1605" y="13622"/>
                    </a:cubicBezTo>
                    <a:cubicBezTo>
                      <a:pt x="1605" y="13792"/>
                      <a:pt x="1600" y="13933"/>
                      <a:pt x="1600" y="14042"/>
                    </a:cubicBezTo>
                    <a:cubicBezTo>
                      <a:pt x="1605" y="14133"/>
                      <a:pt x="1605" y="14186"/>
                      <a:pt x="1610" y="14186"/>
                    </a:cubicBezTo>
                    <a:cubicBezTo>
                      <a:pt x="1614" y="14186"/>
                      <a:pt x="1622" y="14138"/>
                      <a:pt x="1627" y="14042"/>
                    </a:cubicBezTo>
                    <a:cubicBezTo>
                      <a:pt x="1636" y="13933"/>
                      <a:pt x="1644" y="13792"/>
                      <a:pt x="1653" y="13622"/>
                    </a:cubicBezTo>
                    <a:cubicBezTo>
                      <a:pt x="1671" y="13264"/>
                      <a:pt x="1683" y="12735"/>
                      <a:pt x="1675" y="12088"/>
                    </a:cubicBezTo>
                    <a:cubicBezTo>
                      <a:pt x="1667" y="10791"/>
                      <a:pt x="1570" y="8999"/>
                      <a:pt x="1356" y="7033"/>
                    </a:cubicBezTo>
                    <a:cubicBezTo>
                      <a:pt x="1138" y="5061"/>
                      <a:pt x="836" y="3296"/>
                      <a:pt x="552" y="2029"/>
                    </a:cubicBezTo>
                    <a:cubicBezTo>
                      <a:pt x="482" y="1710"/>
                      <a:pt x="412" y="1425"/>
                      <a:pt x="346" y="1176"/>
                    </a:cubicBezTo>
                    <a:cubicBezTo>
                      <a:pt x="285" y="927"/>
                      <a:pt x="229" y="713"/>
                      <a:pt x="176" y="538"/>
                    </a:cubicBezTo>
                    <a:cubicBezTo>
                      <a:pt x="128" y="377"/>
                      <a:pt x="89" y="241"/>
                      <a:pt x="53" y="136"/>
                    </a:cubicBezTo>
                    <a:cubicBezTo>
                      <a:pt x="27" y="48"/>
                      <a:pt x="10" y="0"/>
                      <a:pt x="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0" name="Google Shape;186;p26">
                <a:extLst>
                  <a:ext uri="{FF2B5EF4-FFF2-40B4-BE49-F238E27FC236}">
                    <a16:creationId xmlns:a16="http://schemas.microsoft.com/office/drawing/2014/main" id="{9F8E58E3-BFE9-A659-DD6D-76ECE59BDA8C}"/>
                  </a:ext>
                </a:extLst>
              </p:cNvPr>
              <p:cNvSpPr/>
              <p:nvPr/>
            </p:nvSpPr>
            <p:spPr>
              <a:xfrm>
                <a:off x="3694861" y="3953650"/>
                <a:ext cx="204183" cy="424379"/>
              </a:xfrm>
              <a:custGeom>
                <a:avLst/>
                <a:gdLst/>
                <a:ahLst/>
                <a:cxnLst/>
                <a:rect l="l" t="t" r="r" b="b"/>
                <a:pathLst>
                  <a:path w="4654" h="9673" extrusionOk="0">
                    <a:moveTo>
                      <a:pt x="4631" y="1"/>
                    </a:moveTo>
                    <a:cubicBezTo>
                      <a:pt x="4614" y="1"/>
                      <a:pt x="4485" y="84"/>
                      <a:pt x="4266" y="237"/>
                    </a:cubicBezTo>
                    <a:cubicBezTo>
                      <a:pt x="4204" y="276"/>
                      <a:pt x="4143" y="320"/>
                      <a:pt x="4073" y="368"/>
                    </a:cubicBezTo>
                    <a:cubicBezTo>
                      <a:pt x="4003" y="421"/>
                      <a:pt x="3937" y="486"/>
                      <a:pt x="3859" y="548"/>
                    </a:cubicBezTo>
                    <a:cubicBezTo>
                      <a:pt x="3715" y="683"/>
                      <a:pt x="3526" y="818"/>
                      <a:pt x="3365" y="1010"/>
                    </a:cubicBezTo>
                    <a:cubicBezTo>
                      <a:pt x="2657" y="1728"/>
                      <a:pt x="1848" y="2886"/>
                      <a:pt x="1250" y="4302"/>
                    </a:cubicBezTo>
                    <a:cubicBezTo>
                      <a:pt x="944" y="5005"/>
                      <a:pt x="704" y="5695"/>
                      <a:pt x="529" y="6337"/>
                    </a:cubicBezTo>
                    <a:cubicBezTo>
                      <a:pt x="345" y="6976"/>
                      <a:pt x="232" y="7561"/>
                      <a:pt x="149" y="8055"/>
                    </a:cubicBezTo>
                    <a:cubicBezTo>
                      <a:pt x="70" y="8554"/>
                      <a:pt x="30" y="8955"/>
                      <a:pt x="13" y="9240"/>
                    </a:cubicBezTo>
                    <a:cubicBezTo>
                      <a:pt x="4" y="9520"/>
                      <a:pt x="0" y="9673"/>
                      <a:pt x="8" y="9673"/>
                    </a:cubicBezTo>
                    <a:cubicBezTo>
                      <a:pt x="18" y="9673"/>
                      <a:pt x="39" y="9520"/>
                      <a:pt x="65" y="9244"/>
                    </a:cubicBezTo>
                    <a:cubicBezTo>
                      <a:pt x="97" y="8965"/>
                      <a:pt x="149" y="8562"/>
                      <a:pt x="236" y="8073"/>
                    </a:cubicBezTo>
                    <a:cubicBezTo>
                      <a:pt x="333" y="7583"/>
                      <a:pt x="458" y="7002"/>
                      <a:pt x="647" y="6369"/>
                    </a:cubicBezTo>
                    <a:cubicBezTo>
                      <a:pt x="825" y="5734"/>
                      <a:pt x="1067" y="5048"/>
                      <a:pt x="1368" y="4354"/>
                    </a:cubicBezTo>
                    <a:cubicBezTo>
                      <a:pt x="1962" y="2946"/>
                      <a:pt x="2749" y="1797"/>
                      <a:pt x="3431" y="1076"/>
                    </a:cubicBezTo>
                    <a:cubicBezTo>
                      <a:pt x="4113" y="346"/>
                      <a:pt x="4654" y="28"/>
                      <a:pt x="4633" y="1"/>
                    </a:cubicBezTo>
                    <a:cubicBezTo>
                      <a:pt x="4632" y="1"/>
                      <a:pt x="4632" y="1"/>
                      <a:pt x="4631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4" name="Google Shape;187;p26">
              <a:extLst>
                <a:ext uri="{FF2B5EF4-FFF2-40B4-BE49-F238E27FC236}">
                  <a16:creationId xmlns:a16="http://schemas.microsoft.com/office/drawing/2014/main" id="{AD8A016D-849C-273C-06CC-FEEB67226C0C}"/>
                </a:ext>
              </a:extLst>
            </p:cNvPr>
            <p:cNvSpPr/>
            <p:nvPr/>
          </p:nvSpPr>
          <p:spPr>
            <a:xfrm>
              <a:off x="6241693" y="1996627"/>
              <a:ext cx="21498" cy="21322"/>
            </a:xfrm>
            <a:custGeom>
              <a:avLst/>
              <a:gdLst/>
              <a:ahLst/>
              <a:cxnLst/>
              <a:rect l="l" t="t" r="r" b="b"/>
              <a:pathLst>
                <a:path w="490" h="486" extrusionOk="0">
                  <a:moveTo>
                    <a:pt x="245" y="1"/>
                  </a:moveTo>
                  <a:cubicBezTo>
                    <a:pt x="110" y="1"/>
                    <a:pt x="1" y="110"/>
                    <a:pt x="1" y="241"/>
                  </a:cubicBezTo>
                  <a:cubicBezTo>
                    <a:pt x="1" y="376"/>
                    <a:pt x="110" y="485"/>
                    <a:pt x="245" y="485"/>
                  </a:cubicBezTo>
                  <a:cubicBezTo>
                    <a:pt x="380" y="485"/>
                    <a:pt x="489" y="376"/>
                    <a:pt x="489" y="241"/>
                  </a:cubicBezTo>
                  <a:cubicBezTo>
                    <a:pt x="489" y="110"/>
                    <a:pt x="380" y="1"/>
                    <a:pt x="24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88;p26">
              <a:extLst>
                <a:ext uri="{FF2B5EF4-FFF2-40B4-BE49-F238E27FC236}">
                  <a16:creationId xmlns:a16="http://schemas.microsoft.com/office/drawing/2014/main" id="{C457477C-2381-804F-3418-FD02F85080EF}"/>
                </a:ext>
              </a:extLst>
            </p:cNvPr>
            <p:cNvSpPr/>
            <p:nvPr/>
          </p:nvSpPr>
          <p:spPr>
            <a:xfrm>
              <a:off x="7105967" y="2325226"/>
              <a:ext cx="21541" cy="21541"/>
            </a:xfrm>
            <a:custGeom>
              <a:avLst/>
              <a:gdLst/>
              <a:ahLst/>
              <a:cxnLst/>
              <a:rect l="l" t="t" r="r" b="b"/>
              <a:pathLst>
                <a:path w="491" h="491" extrusionOk="0">
                  <a:moveTo>
                    <a:pt x="245" y="1"/>
                  </a:moveTo>
                  <a:cubicBezTo>
                    <a:pt x="110" y="1"/>
                    <a:pt x="1" y="111"/>
                    <a:pt x="1" y="246"/>
                  </a:cubicBezTo>
                  <a:cubicBezTo>
                    <a:pt x="1" y="381"/>
                    <a:pt x="110" y="490"/>
                    <a:pt x="245" y="490"/>
                  </a:cubicBezTo>
                  <a:cubicBezTo>
                    <a:pt x="381" y="490"/>
                    <a:pt x="491" y="381"/>
                    <a:pt x="491" y="246"/>
                  </a:cubicBezTo>
                  <a:cubicBezTo>
                    <a:pt x="491" y="111"/>
                    <a:pt x="381" y="1"/>
                    <a:pt x="245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189;p26">
              <a:extLst>
                <a:ext uri="{FF2B5EF4-FFF2-40B4-BE49-F238E27FC236}">
                  <a16:creationId xmlns:a16="http://schemas.microsoft.com/office/drawing/2014/main" id="{B3FB982E-285E-E449-2129-D789614A1A0C}"/>
                </a:ext>
              </a:extLst>
            </p:cNvPr>
            <p:cNvSpPr/>
            <p:nvPr/>
          </p:nvSpPr>
          <p:spPr>
            <a:xfrm>
              <a:off x="6948775" y="3888553"/>
              <a:ext cx="69055" cy="15619"/>
            </a:xfrm>
            <a:custGeom>
              <a:avLst/>
              <a:gdLst/>
              <a:ahLst/>
              <a:cxnLst/>
              <a:rect l="l" t="t" r="r" b="b"/>
              <a:pathLst>
                <a:path w="1574" h="356" extrusionOk="0">
                  <a:moveTo>
                    <a:pt x="0" y="1"/>
                  </a:moveTo>
                  <a:lnTo>
                    <a:pt x="0" y="355"/>
                  </a:lnTo>
                  <a:lnTo>
                    <a:pt x="1573" y="355"/>
                  </a:lnTo>
                  <a:lnTo>
                    <a:pt x="157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90;p26">
              <a:extLst>
                <a:ext uri="{FF2B5EF4-FFF2-40B4-BE49-F238E27FC236}">
                  <a16:creationId xmlns:a16="http://schemas.microsoft.com/office/drawing/2014/main" id="{245C1A4D-94B5-9A94-EBAF-A1C9D8280CB3}"/>
                </a:ext>
              </a:extLst>
            </p:cNvPr>
            <p:cNvSpPr/>
            <p:nvPr/>
          </p:nvSpPr>
          <p:spPr>
            <a:xfrm>
              <a:off x="7189192" y="3888553"/>
              <a:ext cx="69231" cy="15619"/>
            </a:xfrm>
            <a:custGeom>
              <a:avLst/>
              <a:gdLst/>
              <a:ahLst/>
              <a:cxnLst/>
              <a:rect l="l" t="t" r="r" b="b"/>
              <a:pathLst>
                <a:path w="1578" h="356" extrusionOk="0">
                  <a:moveTo>
                    <a:pt x="0" y="1"/>
                  </a:moveTo>
                  <a:lnTo>
                    <a:pt x="0" y="355"/>
                  </a:lnTo>
                  <a:lnTo>
                    <a:pt x="1578" y="355"/>
                  </a:lnTo>
                  <a:lnTo>
                    <a:pt x="1578" y="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91;p26">
              <a:extLst>
                <a:ext uri="{FF2B5EF4-FFF2-40B4-BE49-F238E27FC236}">
                  <a16:creationId xmlns:a16="http://schemas.microsoft.com/office/drawing/2014/main" id="{C1B0D202-221D-22A1-98D9-1B77B3EA719D}"/>
                </a:ext>
              </a:extLst>
            </p:cNvPr>
            <p:cNvSpPr/>
            <p:nvPr/>
          </p:nvSpPr>
          <p:spPr>
            <a:xfrm>
              <a:off x="7429785" y="3888553"/>
              <a:ext cx="69275" cy="15619"/>
            </a:xfrm>
            <a:custGeom>
              <a:avLst/>
              <a:gdLst/>
              <a:ahLst/>
              <a:cxnLst/>
              <a:rect l="l" t="t" r="r" b="b"/>
              <a:pathLst>
                <a:path w="1579" h="356" extrusionOk="0">
                  <a:moveTo>
                    <a:pt x="1" y="1"/>
                  </a:moveTo>
                  <a:lnTo>
                    <a:pt x="1" y="355"/>
                  </a:lnTo>
                  <a:lnTo>
                    <a:pt x="1579" y="355"/>
                  </a:lnTo>
                  <a:lnTo>
                    <a:pt x="1579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2;p26">
              <a:extLst>
                <a:ext uri="{FF2B5EF4-FFF2-40B4-BE49-F238E27FC236}">
                  <a16:creationId xmlns:a16="http://schemas.microsoft.com/office/drawing/2014/main" id="{A2E636A9-2B76-9DD3-B6F7-70DF97B8B6FD}"/>
                </a:ext>
              </a:extLst>
            </p:cNvPr>
            <p:cNvSpPr/>
            <p:nvPr/>
          </p:nvSpPr>
          <p:spPr>
            <a:xfrm>
              <a:off x="7670422" y="3888553"/>
              <a:ext cx="69275" cy="15619"/>
            </a:xfrm>
            <a:custGeom>
              <a:avLst/>
              <a:gdLst/>
              <a:ahLst/>
              <a:cxnLst/>
              <a:rect l="l" t="t" r="r" b="b"/>
              <a:pathLst>
                <a:path w="1579" h="356" extrusionOk="0">
                  <a:moveTo>
                    <a:pt x="1" y="1"/>
                  </a:moveTo>
                  <a:lnTo>
                    <a:pt x="1" y="355"/>
                  </a:lnTo>
                  <a:lnTo>
                    <a:pt x="1578" y="355"/>
                  </a:lnTo>
                  <a:lnTo>
                    <a:pt x="157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93;p26">
              <a:extLst>
                <a:ext uri="{FF2B5EF4-FFF2-40B4-BE49-F238E27FC236}">
                  <a16:creationId xmlns:a16="http://schemas.microsoft.com/office/drawing/2014/main" id="{E9F14E3F-8A24-EC96-1A23-8F1B97D0531A}"/>
                </a:ext>
              </a:extLst>
            </p:cNvPr>
            <p:cNvSpPr/>
            <p:nvPr/>
          </p:nvSpPr>
          <p:spPr>
            <a:xfrm>
              <a:off x="7103072" y="3160632"/>
              <a:ext cx="24437" cy="23384"/>
            </a:xfrm>
            <a:custGeom>
              <a:avLst/>
              <a:gdLst/>
              <a:ahLst/>
              <a:cxnLst/>
              <a:rect l="l" t="t" r="r" b="b"/>
              <a:pathLst>
                <a:path w="557" h="533" extrusionOk="0">
                  <a:moveTo>
                    <a:pt x="277" y="0"/>
                  </a:moveTo>
                  <a:cubicBezTo>
                    <a:pt x="124" y="0"/>
                    <a:pt x="1" y="118"/>
                    <a:pt x="1" y="267"/>
                  </a:cubicBezTo>
                  <a:cubicBezTo>
                    <a:pt x="1" y="414"/>
                    <a:pt x="124" y="533"/>
                    <a:pt x="277" y="533"/>
                  </a:cubicBezTo>
                  <a:cubicBezTo>
                    <a:pt x="434" y="533"/>
                    <a:pt x="557" y="414"/>
                    <a:pt x="557" y="267"/>
                  </a:cubicBezTo>
                  <a:cubicBezTo>
                    <a:pt x="557" y="118"/>
                    <a:pt x="434" y="0"/>
                    <a:pt x="27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94;p26">
              <a:extLst>
                <a:ext uri="{FF2B5EF4-FFF2-40B4-BE49-F238E27FC236}">
                  <a16:creationId xmlns:a16="http://schemas.microsoft.com/office/drawing/2014/main" id="{EE77BEB1-DAD5-C6E8-EA80-EBD8B20DFE89}"/>
                </a:ext>
              </a:extLst>
            </p:cNvPr>
            <p:cNvSpPr/>
            <p:nvPr/>
          </p:nvSpPr>
          <p:spPr>
            <a:xfrm>
              <a:off x="6276325" y="2796625"/>
              <a:ext cx="1613430" cy="1461858"/>
            </a:xfrm>
            <a:custGeom>
              <a:avLst/>
              <a:gdLst/>
              <a:ahLst/>
              <a:cxnLst/>
              <a:rect l="l" t="t" r="r" b="b"/>
              <a:pathLst>
                <a:path w="35998" h="15301" extrusionOk="0">
                  <a:moveTo>
                    <a:pt x="888" y="1"/>
                  </a:moveTo>
                  <a:cubicBezTo>
                    <a:pt x="398" y="1"/>
                    <a:pt x="1" y="398"/>
                    <a:pt x="1" y="887"/>
                  </a:cubicBezTo>
                  <a:lnTo>
                    <a:pt x="1" y="14413"/>
                  </a:lnTo>
                  <a:cubicBezTo>
                    <a:pt x="1" y="14903"/>
                    <a:pt x="398" y="15300"/>
                    <a:pt x="888" y="15300"/>
                  </a:cubicBezTo>
                  <a:lnTo>
                    <a:pt x="35110" y="15300"/>
                  </a:lnTo>
                  <a:cubicBezTo>
                    <a:pt x="35600" y="15300"/>
                    <a:pt x="35998" y="14903"/>
                    <a:pt x="35998" y="14413"/>
                  </a:cubicBezTo>
                  <a:lnTo>
                    <a:pt x="35998" y="887"/>
                  </a:lnTo>
                  <a:cubicBezTo>
                    <a:pt x="35998" y="398"/>
                    <a:pt x="35600" y="1"/>
                    <a:pt x="35110" y="1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95;p26">
              <a:extLst>
                <a:ext uri="{FF2B5EF4-FFF2-40B4-BE49-F238E27FC236}">
                  <a16:creationId xmlns:a16="http://schemas.microsoft.com/office/drawing/2014/main" id="{E26E0FB4-D49B-B753-A816-7D68A6DBFCD8}"/>
                </a:ext>
              </a:extLst>
            </p:cNvPr>
            <p:cNvSpPr/>
            <p:nvPr/>
          </p:nvSpPr>
          <p:spPr>
            <a:xfrm>
              <a:off x="7388589" y="3109215"/>
              <a:ext cx="24393" cy="23603"/>
            </a:xfrm>
            <a:custGeom>
              <a:avLst/>
              <a:gdLst/>
              <a:ahLst/>
              <a:cxnLst/>
              <a:rect l="l" t="t" r="r" b="b"/>
              <a:pathLst>
                <a:path w="556" h="538" extrusionOk="0">
                  <a:moveTo>
                    <a:pt x="276" y="1"/>
                  </a:moveTo>
                  <a:cubicBezTo>
                    <a:pt x="122" y="1"/>
                    <a:pt x="1" y="123"/>
                    <a:pt x="1" y="267"/>
                  </a:cubicBezTo>
                  <a:cubicBezTo>
                    <a:pt x="1" y="416"/>
                    <a:pt x="122" y="538"/>
                    <a:pt x="276" y="538"/>
                  </a:cubicBezTo>
                  <a:cubicBezTo>
                    <a:pt x="429" y="538"/>
                    <a:pt x="556" y="416"/>
                    <a:pt x="556" y="267"/>
                  </a:cubicBezTo>
                  <a:cubicBezTo>
                    <a:pt x="556" y="123"/>
                    <a:pt x="429" y="1"/>
                    <a:pt x="27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23" name="Google Shape;196;p26">
              <a:extLst>
                <a:ext uri="{FF2B5EF4-FFF2-40B4-BE49-F238E27FC236}">
                  <a16:creationId xmlns:a16="http://schemas.microsoft.com/office/drawing/2014/main" id="{75A79944-CFDB-E546-9F3D-902CE5475DF2}"/>
                </a:ext>
              </a:extLst>
            </p:cNvPr>
            <p:cNvGrpSpPr/>
            <p:nvPr/>
          </p:nvGrpSpPr>
          <p:grpSpPr>
            <a:xfrm>
              <a:off x="6345231" y="2886609"/>
              <a:ext cx="1407691" cy="1286147"/>
              <a:chOff x="6117656" y="2752309"/>
              <a:chExt cx="1407691" cy="1286147"/>
            </a:xfrm>
          </p:grpSpPr>
          <p:sp>
            <p:nvSpPr>
              <p:cNvPr id="227" name="Google Shape;197;p26">
                <a:extLst>
                  <a:ext uri="{FF2B5EF4-FFF2-40B4-BE49-F238E27FC236}">
                    <a16:creationId xmlns:a16="http://schemas.microsoft.com/office/drawing/2014/main" id="{2009BD87-1D25-CB78-9684-0B4BD4250258}"/>
                  </a:ext>
                </a:extLst>
              </p:cNvPr>
              <p:cNvSpPr/>
              <p:nvPr/>
            </p:nvSpPr>
            <p:spPr>
              <a:xfrm>
                <a:off x="6117656" y="3670896"/>
                <a:ext cx="54095" cy="15750"/>
              </a:xfrm>
              <a:custGeom>
                <a:avLst/>
                <a:gdLst/>
                <a:ahLst/>
                <a:cxnLst/>
                <a:rect l="l" t="t" r="r" b="b"/>
                <a:pathLst>
                  <a:path w="1233" h="359" extrusionOk="0">
                    <a:moveTo>
                      <a:pt x="1" y="0"/>
                    </a:moveTo>
                    <a:lnTo>
                      <a:pt x="1" y="359"/>
                    </a:lnTo>
                    <a:lnTo>
                      <a:pt x="1233" y="359"/>
                    </a:lnTo>
                    <a:lnTo>
                      <a:pt x="1233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8" name="Google Shape;198;p26">
                <a:extLst>
                  <a:ext uri="{FF2B5EF4-FFF2-40B4-BE49-F238E27FC236}">
                    <a16:creationId xmlns:a16="http://schemas.microsoft.com/office/drawing/2014/main" id="{5B794243-A22E-CDBF-4A96-8E5DD6C72F06}"/>
                  </a:ext>
                </a:extLst>
              </p:cNvPr>
              <p:cNvSpPr/>
              <p:nvPr/>
            </p:nvSpPr>
            <p:spPr>
              <a:xfrm>
                <a:off x="6239970" y="3754253"/>
                <a:ext cx="69055" cy="15619"/>
              </a:xfrm>
              <a:custGeom>
                <a:avLst/>
                <a:gdLst/>
                <a:ahLst/>
                <a:cxnLst/>
                <a:rect l="l" t="t" r="r" b="b"/>
                <a:pathLst>
                  <a:path w="1574" h="356" extrusionOk="0">
                    <a:moveTo>
                      <a:pt x="0" y="1"/>
                    </a:moveTo>
                    <a:lnTo>
                      <a:pt x="0" y="355"/>
                    </a:lnTo>
                    <a:lnTo>
                      <a:pt x="1574" y="355"/>
                    </a:lnTo>
                    <a:lnTo>
                      <a:pt x="1574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9" name="Google Shape;199;p26">
                <a:extLst>
                  <a:ext uri="{FF2B5EF4-FFF2-40B4-BE49-F238E27FC236}">
                    <a16:creationId xmlns:a16="http://schemas.microsoft.com/office/drawing/2014/main" id="{6820A67E-00F1-C25F-C187-4DF663CDCC13}"/>
                  </a:ext>
                </a:extLst>
              </p:cNvPr>
              <p:cNvSpPr/>
              <p:nvPr/>
            </p:nvSpPr>
            <p:spPr>
              <a:xfrm>
                <a:off x="6480563" y="3754253"/>
                <a:ext cx="69055" cy="15619"/>
              </a:xfrm>
              <a:custGeom>
                <a:avLst/>
                <a:gdLst/>
                <a:ahLst/>
                <a:cxnLst/>
                <a:rect l="l" t="t" r="r" b="b"/>
                <a:pathLst>
                  <a:path w="1574" h="356" extrusionOk="0">
                    <a:moveTo>
                      <a:pt x="1" y="1"/>
                    </a:moveTo>
                    <a:lnTo>
                      <a:pt x="1" y="355"/>
                    </a:lnTo>
                    <a:lnTo>
                      <a:pt x="1574" y="355"/>
                    </a:lnTo>
                    <a:lnTo>
                      <a:pt x="1574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0" name="Google Shape;200;p26">
                <a:extLst>
                  <a:ext uri="{FF2B5EF4-FFF2-40B4-BE49-F238E27FC236}">
                    <a16:creationId xmlns:a16="http://schemas.microsoft.com/office/drawing/2014/main" id="{19C4E9DB-8CC8-46B3-CA85-8FB2891497FF}"/>
                  </a:ext>
                </a:extLst>
              </p:cNvPr>
              <p:cNvSpPr/>
              <p:nvPr/>
            </p:nvSpPr>
            <p:spPr>
              <a:xfrm>
                <a:off x="6117656" y="3463032"/>
                <a:ext cx="54095" cy="15619"/>
              </a:xfrm>
              <a:custGeom>
                <a:avLst/>
                <a:gdLst/>
                <a:ahLst/>
                <a:cxnLst/>
                <a:rect l="l" t="t" r="r" b="b"/>
                <a:pathLst>
                  <a:path w="1233" h="356" extrusionOk="0">
                    <a:moveTo>
                      <a:pt x="1" y="1"/>
                    </a:moveTo>
                    <a:lnTo>
                      <a:pt x="1" y="355"/>
                    </a:lnTo>
                    <a:lnTo>
                      <a:pt x="1233" y="355"/>
                    </a:lnTo>
                    <a:lnTo>
                      <a:pt x="1233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1" name="Google Shape;201;p26">
                <a:extLst>
                  <a:ext uri="{FF2B5EF4-FFF2-40B4-BE49-F238E27FC236}">
                    <a16:creationId xmlns:a16="http://schemas.microsoft.com/office/drawing/2014/main" id="{1C5A514E-8E99-D344-94FA-A2EBAF33DBCA}"/>
                  </a:ext>
                </a:extLst>
              </p:cNvPr>
              <p:cNvSpPr/>
              <p:nvPr/>
            </p:nvSpPr>
            <p:spPr>
              <a:xfrm>
                <a:off x="6117656" y="3071564"/>
                <a:ext cx="54095" cy="15531"/>
              </a:xfrm>
              <a:custGeom>
                <a:avLst/>
                <a:gdLst/>
                <a:ahLst/>
                <a:cxnLst/>
                <a:rect l="l" t="t" r="r" b="b"/>
                <a:pathLst>
                  <a:path w="1233" h="354" extrusionOk="0">
                    <a:moveTo>
                      <a:pt x="1" y="0"/>
                    </a:moveTo>
                    <a:lnTo>
                      <a:pt x="1" y="354"/>
                    </a:lnTo>
                    <a:lnTo>
                      <a:pt x="1233" y="354"/>
                    </a:lnTo>
                    <a:lnTo>
                      <a:pt x="1233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2" name="Google Shape;202;p26">
                <a:extLst>
                  <a:ext uri="{FF2B5EF4-FFF2-40B4-BE49-F238E27FC236}">
                    <a16:creationId xmlns:a16="http://schemas.microsoft.com/office/drawing/2014/main" id="{B7B975B0-7B27-9F61-941F-0EF116083020}"/>
                  </a:ext>
                </a:extLst>
              </p:cNvPr>
              <p:cNvSpPr/>
              <p:nvPr/>
            </p:nvSpPr>
            <p:spPr>
              <a:xfrm>
                <a:off x="6117656" y="2874843"/>
                <a:ext cx="54095" cy="15531"/>
              </a:xfrm>
              <a:custGeom>
                <a:avLst/>
                <a:gdLst/>
                <a:ahLst/>
                <a:cxnLst/>
                <a:rect l="l" t="t" r="r" b="b"/>
                <a:pathLst>
                  <a:path w="1233" h="354" extrusionOk="0">
                    <a:moveTo>
                      <a:pt x="1" y="0"/>
                    </a:moveTo>
                    <a:lnTo>
                      <a:pt x="1" y="354"/>
                    </a:lnTo>
                    <a:lnTo>
                      <a:pt x="1233" y="354"/>
                    </a:lnTo>
                    <a:lnTo>
                      <a:pt x="1233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3" name="Google Shape;203;p26">
                <a:extLst>
                  <a:ext uri="{FF2B5EF4-FFF2-40B4-BE49-F238E27FC236}">
                    <a16:creationId xmlns:a16="http://schemas.microsoft.com/office/drawing/2014/main" id="{C73A2863-3D0C-D157-7BD0-D0F9824A49CD}"/>
                  </a:ext>
                </a:extLst>
              </p:cNvPr>
              <p:cNvSpPr/>
              <p:nvPr/>
            </p:nvSpPr>
            <p:spPr>
              <a:xfrm>
                <a:off x="6120332" y="3267276"/>
                <a:ext cx="54095" cy="15619"/>
              </a:xfrm>
              <a:custGeom>
                <a:avLst/>
                <a:gdLst/>
                <a:ahLst/>
                <a:cxnLst/>
                <a:rect l="l" t="t" r="r" b="b"/>
                <a:pathLst>
                  <a:path w="1233" h="356" extrusionOk="0">
                    <a:moveTo>
                      <a:pt x="0" y="1"/>
                    </a:moveTo>
                    <a:lnTo>
                      <a:pt x="0" y="355"/>
                    </a:lnTo>
                    <a:lnTo>
                      <a:pt x="1233" y="355"/>
                    </a:lnTo>
                    <a:lnTo>
                      <a:pt x="1233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4" name="Google Shape;204;p26">
                <a:extLst>
                  <a:ext uri="{FF2B5EF4-FFF2-40B4-BE49-F238E27FC236}">
                    <a16:creationId xmlns:a16="http://schemas.microsoft.com/office/drawing/2014/main" id="{CA9F6FA7-3880-5157-4AA4-004802D2D54F}"/>
                  </a:ext>
                </a:extLst>
              </p:cNvPr>
              <p:cNvSpPr/>
              <p:nvPr/>
            </p:nvSpPr>
            <p:spPr>
              <a:xfrm>
                <a:off x="6197415" y="2752309"/>
                <a:ext cx="1312797" cy="936853"/>
              </a:xfrm>
              <a:custGeom>
                <a:avLst/>
                <a:gdLst/>
                <a:ahLst/>
                <a:cxnLst/>
                <a:rect l="l" t="t" r="r" b="b"/>
                <a:pathLst>
                  <a:path w="29923" h="21354" extrusionOk="0">
                    <a:moveTo>
                      <a:pt x="57" y="0"/>
                    </a:moveTo>
                    <a:cubicBezTo>
                      <a:pt x="57" y="0"/>
                      <a:pt x="53" y="36"/>
                      <a:pt x="53" y="105"/>
                    </a:cubicBezTo>
                    <a:cubicBezTo>
                      <a:pt x="48" y="180"/>
                      <a:pt x="48" y="285"/>
                      <a:pt x="48" y="420"/>
                    </a:cubicBezTo>
                    <a:cubicBezTo>
                      <a:pt x="44" y="700"/>
                      <a:pt x="39" y="1102"/>
                      <a:pt x="35" y="1626"/>
                    </a:cubicBezTo>
                    <a:cubicBezTo>
                      <a:pt x="31" y="2680"/>
                      <a:pt x="26" y="4209"/>
                      <a:pt x="18" y="6110"/>
                    </a:cubicBezTo>
                    <a:cubicBezTo>
                      <a:pt x="13" y="9925"/>
                      <a:pt x="9" y="15248"/>
                      <a:pt x="0" y="21297"/>
                    </a:cubicBezTo>
                    <a:lnTo>
                      <a:pt x="0" y="21354"/>
                    </a:lnTo>
                    <a:lnTo>
                      <a:pt x="4344" y="21354"/>
                    </a:lnTo>
                    <a:cubicBezTo>
                      <a:pt x="11402" y="21344"/>
                      <a:pt x="17796" y="21340"/>
                      <a:pt x="22427" y="21336"/>
                    </a:cubicBezTo>
                    <a:cubicBezTo>
                      <a:pt x="24739" y="21327"/>
                      <a:pt x="26610" y="21323"/>
                      <a:pt x="27912" y="21318"/>
                    </a:cubicBezTo>
                    <a:cubicBezTo>
                      <a:pt x="28555" y="21314"/>
                      <a:pt x="29057" y="21310"/>
                      <a:pt x="29402" y="21305"/>
                    </a:cubicBezTo>
                    <a:cubicBezTo>
                      <a:pt x="29569" y="21305"/>
                      <a:pt x="29695" y="21301"/>
                      <a:pt x="29787" y="21301"/>
                    </a:cubicBezTo>
                    <a:cubicBezTo>
                      <a:pt x="29874" y="21301"/>
                      <a:pt x="29922" y="21297"/>
                      <a:pt x="29922" y="21297"/>
                    </a:cubicBezTo>
                    <a:cubicBezTo>
                      <a:pt x="29922" y="21297"/>
                      <a:pt x="29874" y="21292"/>
                      <a:pt x="29787" y="21287"/>
                    </a:cubicBezTo>
                    <a:cubicBezTo>
                      <a:pt x="29695" y="21287"/>
                      <a:pt x="29569" y="21283"/>
                      <a:pt x="29402" y="21283"/>
                    </a:cubicBezTo>
                    <a:cubicBezTo>
                      <a:pt x="29057" y="21279"/>
                      <a:pt x="28555" y="21275"/>
                      <a:pt x="27912" y="21271"/>
                    </a:cubicBezTo>
                    <a:cubicBezTo>
                      <a:pt x="26610" y="21265"/>
                      <a:pt x="24739" y="21261"/>
                      <a:pt x="22427" y="21253"/>
                    </a:cubicBezTo>
                    <a:cubicBezTo>
                      <a:pt x="17796" y="21249"/>
                      <a:pt x="11402" y="21244"/>
                      <a:pt x="4344" y="21235"/>
                    </a:cubicBezTo>
                    <a:lnTo>
                      <a:pt x="113" y="21235"/>
                    </a:lnTo>
                    <a:cubicBezTo>
                      <a:pt x="105" y="15212"/>
                      <a:pt x="101" y="9912"/>
                      <a:pt x="97" y="6110"/>
                    </a:cubicBezTo>
                    <a:cubicBezTo>
                      <a:pt x="87" y="4209"/>
                      <a:pt x="83" y="2680"/>
                      <a:pt x="79" y="1626"/>
                    </a:cubicBezTo>
                    <a:cubicBezTo>
                      <a:pt x="75" y="1102"/>
                      <a:pt x="70" y="700"/>
                      <a:pt x="65" y="420"/>
                    </a:cubicBezTo>
                    <a:cubicBezTo>
                      <a:pt x="65" y="285"/>
                      <a:pt x="61" y="180"/>
                      <a:pt x="61" y="105"/>
                    </a:cubicBezTo>
                    <a:cubicBezTo>
                      <a:pt x="61" y="36"/>
                      <a:pt x="57" y="0"/>
                      <a:pt x="57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5" name="Google Shape;205;p26">
                <a:extLst>
                  <a:ext uri="{FF2B5EF4-FFF2-40B4-BE49-F238E27FC236}">
                    <a16:creationId xmlns:a16="http://schemas.microsoft.com/office/drawing/2014/main" id="{E4A1D788-F93F-1D22-ECB9-AD6D8386A8F5}"/>
                  </a:ext>
                </a:extLst>
              </p:cNvPr>
              <p:cNvSpPr/>
              <p:nvPr/>
            </p:nvSpPr>
            <p:spPr>
              <a:xfrm>
                <a:off x="6267425" y="3272494"/>
                <a:ext cx="1244945" cy="5177"/>
              </a:xfrm>
              <a:custGeom>
                <a:avLst/>
                <a:gdLst/>
                <a:ahLst/>
                <a:cxnLst/>
                <a:rect l="l" t="t" r="r" b="b"/>
                <a:pathLst>
                  <a:path w="29018" h="118" extrusionOk="0">
                    <a:moveTo>
                      <a:pt x="14509" y="0"/>
                    </a:moveTo>
                    <a:cubicBezTo>
                      <a:pt x="6494" y="0"/>
                      <a:pt x="0" y="27"/>
                      <a:pt x="0" y="57"/>
                    </a:cubicBezTo>
                    <a:cubicBezTo>
                      <a:pt x="0" y="92"/>
                      <a:pt x="6494" y="118"/>
                      <a:pt x="14509" y="118"/>
                    </a:cubicBezTo>
                    <a:cubicBezTo>
                      <a:pt x="22519" y="118"/>
                      <a:pt x="29017" y="92"/>
                      <a:pt x="29017" y="57"/>
                    </a:cubicBezTo>
                    <a:cubicBezTo>
                      <a:pt x="29017" y="27"/>
                      <a:pt x="22519" y="0"/>
                      <a:pt x="14509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6" name="Google Shape;206;p26">
                <a:extLst>
                  <a:ext uri="{FF2B5EF4-FFF2-40B4-BE49-F238E27FC236}">
                    <a16:creationId xmlns:a16="http://schemas.microsoft.com/office/drawing/2014/main" id="{6D5CC6BE-CEA3-D584-9F84-1992600AEA66}"/>
                  </a:ext>
                </a:extLst>
              </p:cNvPr>
              <p:cNvSpPr/>
              <p:nvPr/>
            </p:nvSpPr>
            <p:spPr>
              <a:xfrm>
                <a:off x="6267425" y="3076695"/>
                <a:ext cx="1244945" cy="5265"/>
              </a:xfrm>
              <a:custGeom>
                <a:avLst/>
                <a:gdLst/>
                <a:ahLst/>
                <a:cxnLst/>
                <a:rect l="l" t="t" r="r" b="b"/>
                <a:pathLst>
                  <a:path w="29018" h="120" extrusionOk="0">
                    <a:moveTo>
                      <a:pt x="14509" y="1"/>
                    </a:moveTo>
                    <a:cubicBezTo>
                      <a:pt x="6494" y="1"/>
                      <a:pt x="0" y="27"/>
                      <a:pt x="0" y="58"/>
                    </a:cubicBezTo>
                    <a:cubicBezTo>
                      <a:pt x="0" y="93"/>
                      <a:pt x="6494" y="119"/>
                      <a:pt x="14509" y="119"/>
                    </a:cubicBezTo>
                    <a:cubicBezTo>
                      <a:pt x="22519" y="119"/>
                      <a:pt x="29017" y="93"/>
                      <a:pt x="29017" y="58"/>
                    </a:cubicBezTo>
                    <a:cubicBezTo>
                      <a:pt x="29017" y="27"/>
                      <a:pt x="22519" y="1"/>
                      <a:pt x="14509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7" name="Google Shape;207;p26">
                <a:extLst>
                  <a:ext uri="{FF2B5EF4-FFF2-40B4-BE49-F238E27FC236}">
                    <a16:creationId xmlns:a16="http://schemas.microsoft.com/office/drawing/2014/main" id="{79036F13-5408-014E-2F3A-486DC65AAF2C}"/>
                  </a:ext>
                </a:extLst>
              </p:cNvPr>
              <p:cNvSpPr/>
              <p:nvPr/>
            </p:nvSpPr>
            <p:spPr>
              <a:xfrm>
                <a:off x="6267425" y="2879975"/>
                <a:ext cx="1244945" cy="5265"/>
              </a:xfrm>
              <a:custGeom>
                <a:avLst/>
                <a:gdLst/>
                <a:ahLst/>
                <a:cxnLst/>
                <a:rect l="l" t="t" r="r" b="b"/>
                <a:pathLst>
                  <a:path w="29018" h="120" extrusionOk="0">
                    <a:moveTo>
                      <a:pt x="14509" y="1"/>
                    </a:moveTo>
                    <a:cubicBezTo>
                      <a:pt x="6494" y="1"/>
                      <a:pt x="0" y="27"/>
                      <a:pt x="0" y="59"/>
                    </a:cubicBezTo>
                    <a:cubicBezTo>
                      <a:pt x="0" y="93"/>
                      <a:pt x="6494" y="119"/>
                      <a:pt x="14509" y="119"/>
                    </a:cubicBezTo>
                    <a:cubicBezTo>
                      <a:pt x="22519" y="119"/>
                      <a:pt x="29017" y="93"/>
                      <a:pt x="29017" y="59"/>
                    </a:cubicBezTo>
                    <a:cubicBezTo>
                      <a:pt x="29017" y="27"/>
                      <a:pt x="22519" y="1"/>
                      <a:pt x="14509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8" name="Google Shape;208;p26">
                <a:extLst>
                  <a:ext uri="{FF2B5EF4-FFF2-40B4-BE49-F238E27FC236}">
                    <a16:creationId xmlns:a16="http://schemas.microsoft.com/office/drawing/2014/main" id="{BC6C1DCE-E2E1-97F9-DB9B-8E148FA837A6}"/>
                  </a:ext>
                </a:extLst>
              </p:cNvPr>
              <p:cNvSpPr/>
              <p:nvPr/>
            </p:nvSpPr>
            <p:spPr>
              <a:xfrm>
                <a:off x="6267425" y="3468249"/>
                <a:ext cx="1244945" cy="5001"/>
              </a:xfrm>
              <a:custGeom>
                <a:avLst/>
                <a:gdLst/>
                <a:ahLst/>
                <a:cxnLst/>
                <a:rect l="l" t="t" r="r" b="b"/>
                <a:pathLst>
                  <a:path w="29018" h="114" extrusionOk="0">
                    <a:moveTo>
                      <a:pt x="14509" y="0"/>
                    </a:moveTo>
                    <a:cubicBezTo>
                      <a:pt x="6494" y="0"/>
                      <a:pt x="0" y="26"/>
                      <a:pt x="0" y="57"/>
                    </a:cubicBezTo>
                    <a:cubicBezTo>
                      <a:pt x="0" y="87"/>
                      <a:pt x="6494" y="113"/>
                      <a:pt x="14509" y="113"/>
                    </a:cubicBezTo>
                    <a:cubicBezTo>
                      <a:pt x="22519" y="113"/>
                      <a:pt x="29017" y="87"/>
                      <a:pt x="29017" y="57"/>
                    </a:cubicBezTo>
                    <a:cubicBezTo>
                      <a:pt x="29017" y="26"/>
                      <a:pt x="22519" y="0"/>
                      <a:pt x="1450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9" name="Google Shape;209;p26">
                <a:extLst>
                  <a:ext uri="{FF2B5EF4-FFF2-40B4-BE49-F238E27FC236}">
                    <a16:creationId xmlns:a16="http://schemas.microsoft.com/office/drawing/2014/main" id="{E30D1FC6-460A-43CB-2E40-520B6ACF973F}"/>
                  </a:ext>
                </a:extLst>
              </p:cNvPr>
              <p:cNvSpPr/>
              <p:nvPr/>
            </p:nvSpPr>
            <p:spPr>
              <a:xfrm>
                <a:off x="6265284" y="2766699"/>
                <a:ext cx="1244926" cy="877801"/>
              </a:xfrm>
              <a:custGeom>
                <a:avLst/>
                <a:gdLst/>
                <a:ahLst/>
                <a:cxnLst/>
                <a:rect l="l" t="t" r="r" b="b"/>
                <a:pathLst>
                  <a:path w="28376" h="20008" extrusionOk="0">
                    <a:moveTo>
                      <a:pt x="18153" y="1"/>
                    </a:moveTo>
                    <a:lnTo>
                      <a:pt x="14714" y="6534"/>
                    </a:lnTo>
                    <a:lnTo>
                      <a:pt x="12425" y="4668"/>
                    </a:lnTo>
                    <a:lnTo>
                      <a:pt x="9605" y="9593"/>
                    </a:lnTo>
                    <a:lnTo>
                      <a:pt x="7578" y="8164"/>
                    </a:lnTo>
                    <a:lnTo>
                      <a:pt x="4143" y="13504"/>
                    </a:lnTo>
                    <a:lnTo>
                      <a:pt x="2469" y="12220"/>
                    </a:lnTo>
                    <a:lnTo>
                      <a:pt x="0" y="16048"/>
                    </a:lnTo>
                    <a:lnTo>
                      <a:pt x="0" y="20007"/>
                    </a:lnTo>
                    <a:lnTo>
                      <a:pt x="28375" y="20007"/>
                    </a:lnTo>
                    <a:lnTo>
                      <a:pt x="28375" y="2641"/>
                    </a:lnTo>
                    <a:lnTo>
                      <a:pt x="24849" y="3649"/>
                    </a:lnTo>
                    <a:lnTo>
                      <a:pt x="21855" y="7303"/>
                    </a:lnTo>
                    <a:lnTo>
                      <a:pt x="18153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0" name="Google Shape;210;p26">
                <a:extLst>
                  <a:ext uri="{FF2B5EF4-FFF2-40B4-BE49-F238E27FC236}">
                    <a16:creationId xmlns:a16="http://schemas.microsoft.com/office/drawing/2014/main" id="{FD036CE7-AA2B-FF9E-8F30-E26C3DCADFB9}"/>
                  </a:ext>
                </a:extLst>
              </p:cNvPr>
              <p:cNvSpPr/>
              <p:nvPr/>
            </p:nvSpPr>
            <p:spPr>
              <a:xfrm>
                <a:off x="6265284" y="2819433"/>
                <a:ext cx="1260062" cy="709243"/>
              </a:xfrm>
              <a:custGeom>
                <a:avLst/>
                <a:gdLst/>
                <a:ahLst/>
                <a:cxnLst/>
                <a:rect l="l" t="t" r="r" b="b"/>
                <a:pathLst>
                  <a:path w="28721" h="16166" extrusionOk="0">
                    <a:moveTo>
                      <a:pt x="25041" y="1"/>
                    </a:moveTo>
                    <a:lnTo>
                      <a:pt x="25027" y="13"/>
                    </a:lnTo>
                    <a:cubicBezTo>
                      <a:pt x="24240" y="1036"/>
                      <a:pt x="23252" y="2306"/>
                      <a:pt x="22122" y="3767"/>
                    </a:cubicBezTo>
                    <a:lnTo>
                      <a:pt x="22122" y="3767"/>
                    </a:lnTo>
                    <a:cubicBezTo>
                      <a:pt x="20021" y="3763"/>
                      <a:pt x="17561" y="3759"/>
                      <a:pt x="14889" y="3759"/>
                    </a:cubicBezTo>
                    <a:lnTo>
                      <a:pt x="14859" y="3759"/>
                    </a:lnTo>
                    <a:lnTo>
                      <a:pt x="14841" y="3785"/>
                    </a:lnTo>
                    <a:cubicBezTo>
                      <a:pt x="13884" y="5376"/>
                      <a:pt x="12853" y="7089"/>
                      <a:pt x="11786" y="8863"/>
                    </a:cubicBezTo>
                    <a:cubicBezTo>
                      <a:pt x="10766" y="10563"/>
                      <a:pt x="9777" y="12212"/>
                      <a:pt x="8840" y="13769"/>
                    </a:cubicBezTo>
                    <a:lnTo>
                      <a:pt x="8840" y="13769"/>
                    </a:lnTo>
                    <a:cubicBezTo>
                      <a:pt x="7421" y="11828"/>
                      <a:pt x="6105" y="10033"/>
                      <a:pt x="4942" y="8444"/>
                    </a:cubicBezTo>
                    <a:lnTo>
                      <a:pt x="4903" y="8387"/>
                    </a:lnTo>
                    <a:lnTo>
                      <a:pt x="4864" y="8444"/>
                    </a:lnTo>
                    <a:cubicBezTo>
                      <a:pt x="3387" y="10782"/>
                      <a:pt x="2168" y="12704"/>
                      <a:pt x="1315" y="14055"/>
                    </a:cubicBezTo>
                    <a:cubicBezTo>
                      <a:pt x="896" y="14723"/>
                      <a:pt x="563" y="15247"/>
                      <a:pt x="337" y="15610"/>
                    </a:cubicBezTo>
                    <a:cubicBezTo>
                      <a:pt x="228" y="15790"/>
                      <a:pt x="144" y="15925"/>
                      <a:pt x="83" y="16022"/>
                    </a:cubicBezTo>
                    <a:cubicBezTo>
                      <a:pt x="26" y="16117"/>
                      <a:pt x="0" y="16165"/>
                      <a:pt x="0" y="16165"/>
                    </a:cubicBezTo>
                    <a:cubicBezTo>
                      <a:pt x="0" y="16165"/>
                      <a:pt x="35" y="16122"/>
                      <a:pt x="97" y="16030"/>
                    </a:cubicBezTo>
                    <a:cubicBezTo>
                      <a:pt x="158" y="15933"/>
                      <a:pt x="245" y="15798"/>
                      <a:pt x="359" y="15628"/>
                    </a:cubicBezTo>
                    <a:cubicBezTo>
                      <a:pt x="595" y="15265"/>
                      <a:pt x="931" y="14745"/>
                      <a:pt x="1359" y="14081"/>
                    </a:cubicBezTo>
                    <a:cubicBezTo>
                      <a:pt x="2213" y="12751"/>
                      <a:pt x="3432" y="10853"/>
                      <a:pt x="4909" y="8556"/>
                    </a:cubicBezTo>
                    <a:lnTo>
                      <a:pt x="4909" y="8556"/>
                    </a:lnTo>
                    <a:cubicBezTo>
                      <a:pt x="6070" y="10150"/>
                      <a:pt x="7380" y="11954"/>
                      <a:pt x="8797" y="13902"/>
                    </a:cubicBezTo>
                    <a:lnTo>
                      <a:pt x="8849" y="13972"/>
                    </a:lnTo>
                    <a:lnTo>
                      <a:pt x="8893" y="13898"/>
                    </a:lnTo>
                    <a:cubicBezTo>
                      <a:pt x="9841" y="12320"/>
                      <a:pt x="10847" y="10650"/>
                      <a:pt x="11887" y="8920"/>
                    </a:cubicBezTo>
                    <a:cubicBezTo>
                      <a:pt x="12947" y="7155"/>
                      <a:pt x="13973" y="5451"/>
                      <a:pt x="14922" y="3868"/>
                    </a:cubicBezTo>
                    <a:lnTo>
                      <a:pt x="14922" y="3868"/>
                    </a:lnTo>
                    <a:cubicBezTo>
                      <a:pt x="17592" y="3863"/>
                      <a:pt x="20050" y="3863"/>
                      <a:pt x="22148" y="3859"/>
                    </a:cubicBezTo>
                    <a:lnTo>
                      <a:pt x="22169" y="3859"/>
                    </a:lnTo>
                    <a:lnTo>
                      <a:pt x="22183" y="3841"/>
                    </a:lnTo>
                    <a:cubicBezTo>
                      <a:pt x="23306" y="2371"/>
                      <a:pt x="24285" y="1094"/>
                      <a:pt x="25070" y="65"/>
                    </a:cubicBezTo>
                    <a:lnTo>
                      <a:pt x="25070" y="65"/>
                    </a:lnTo>
                    <a:cubicBezTo>
                      <a:pt x="26221" y="57"/>
                      <a:pt x="27133" y="53"/>
                      <a:pt x="27760" y="49"/>
                    </a:cubicBezTo>
                    <a:cubicBezTo>
                      <a:pt x="28069" y="49"/>
                      <a:pt x="28310" y="44"/>
                      <a:pt x="28476" y="44"/>
                    </a:cubicBezTo>
                    <a:cubicBezTo>
                      <a:pt x="28555" y="39"/>
                      <a:pt x="28611" y="39"/>
                      <a:pt x="28660" y="39"/>
                    </a:cubicBezTo>
                    <a:cubicBezTo>
                      <a:pt x="28698" y="35"/>
                      <a:pt x="28720" y="35"/>
                      <a:pt x="28720" y="35"/>
                    </a:cubicBezTo>
                    <a:cubicBezTo>
                      <a:pt x="28720" y="31"/>
                      <a:pt x="28698" y="31"/>
                      <a:pt x="28660" y="31"/>
                    </a:cubicBezTo>
                    <a:cubicBezTo>
                      <a:pt x="28611" y="27"/>
                      <a:pt x="28555" y="27"/>
                      <a:pt x="28476" y="27"/>
                    </a:cubicBezTo>
                    <a:cubicBezTo>
                      <a:pt x="28310" y="23"/>
                      <a:pt x="28069" y="17"/>
                      <a:pt x="27760" y="17"/>
                    </a:cubicBezTo>
                    <a:cubicBezTo>
                      <a:pt x="27130" y="13"/>
                      <a:pt x="26213" y="9"/>
                      <a:pt x="25054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1" name="Google Shape;211;p26">
                <a:extLst>
                  <a:ext uri="{FF2B5EF4-FFF2-40B4-BE49-F238E27FC236}">
                    <a16:creationId xmlns:a16="http://schemas.microsoft.com/office/drawing/2014/main" id="{4B457E1B-3119-55EB-8BC4-41A0D364AC2A}"/>
                  </a:ext>
                </a:extLst>
              </p:cNvPr>
              <p:cNvSpPr/>
              <p:nvPr/>
            </p:nvSpPr>
            <p:spPr>
              <a:xfrm>
                <a:off x="6508159" y="3234899"/>
                <a:ext cx="24569" cy="23603"/>
              </a:xfrm>
              <a:custGeom>
                <a:avLst/>
                <a:gdLst/>
                <a:ahLst/>
                <a:cxnLst/>
                <a:rect l="l" t="t" r="r" b="b"/>
                <a:pathLst>
                  <a:path w="560" h="538" extrusionOk="0">
                    <a:moveTo>
                      <a:pt x="281" y="1"/>
                    </a:moveTo>
                    <a:cubicBezTo>
                      <a:pt x="128" y="1"/>
                      <a:pt x="1" y="123"/>
                      <a:pt x="1" y="271"/>
                    </a:cubicBezTo>
                    <a:cubicBezTo>
                      <a:pt x="1" y="416"/>
                      <a:pt x="128" y="538"/>
                      <a:pt x="281" y="538"/>
                    </a:cubicBezTo>
                    <a:cubicBezTo>
                      <a:pt x="434" y="538"/>
                      <a:pt x="560" y="416"/>
                      <a:pt x="560" y="271"/>
                    </a:cubicBezTo>
                    <a:cubicBezTo>
                      <a:pt x="560" y="123"/>
                      <a:pt x="434" y="1"/>
                      <a:pt x="281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2" name="Google Shape;212;p26">
                <a:extLst>
                  <a:ext uri="{FF2B5EF4-FFF2-40B4-BE49-F238E27FC236}">
                    <a16:creationId xmlns:a16="http://schemas.microsoft.com/office/drawing/2014/main" id="{48024892-AD7F-02EC-B7B9-D5E3BA246F55}"/>
                  </a:ext>
                </a:extLst>
              </p:cNvPr>
              <p:cNvSpPr/>
              <p:nvPr/>
            </p:nvSpPr>
            <p:spPr>
              <a:xfrm>
                <a:off x="6239970" y="3886175"/>
                <a:ext cx="157985" cy="152281"/>
              </a:xfrm>
              <a:custGeom>
                <a:avLst/>
                <a:gdLst/>
                <a:ahLst/>
                <a:cxnLst/>
                <a:rect l="l" t="t" r="r" b="b"/>
                <a:pathLst>
                  <a:path w="3601" h="3471" extrusionOk="0">
                    <a:moveTo>
                      <a:pt x="1801" y="1"/>
                    </a:moveTo>
                    <a:cubicBezTo>
                      <a:pt x="805" y="1"/>
                      <a:pt x="0" y="779"/>
                      <a:pt x="0" y="1735"/>
                    </a:cubicBezTo>
                    <a:cubicBezTo>
                      <a:pt x="0" y="2693"/>
                      <a:pt x="805" y="3470"/>
                      <a:pt x="1801" y="3470"/>
                    </a:cubicBezTo>
                    <a:cubicBezTo>
                      <a:pt x="2792" y="3470"/>
                      <a:pt x="3601" y="2693"/>
                      <a:pt x="3601" y="1735"/>
                    </a:cubicBezTo>
                    <a:cubicBezTo>
                      <a:pt x="3601" y="779"/>
                      <a:pt x="2792" y="1"/>
                      <a:pt x="1801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3" name="Google Shape;213;p26">
                <a:extLst>
                  <a:ext uri="{FF2B5EF4-FFF2-40B4-BE49-F238E27FC236}">
                    <a16:creationId xmlns:a16="http://schemas.microsoft.com/office/drawing/2014/main" id="{24A4A0D2-3919-4E5E-B620-F0D202786684}"/>
                  </a:ext>
                </a:extLst>
              </p:cNvPr>
              <p:cNvSpPr/>
              <p:nvPr/>
            </p:nvSpPr>
            <p:spPr>
              <a:xfrm>
                <a:off x="6515090" y="3911314"/>
                <a:ext cx="927816" cy="28605"/>
              </a:xfrm>
              <a:custGeom>
                <a:avLst/>
                <a:gdLst/>
                <a:ahLst/>
                <a:cxnLst/>
                <a:rect l="l" t="t" r="r" b="b"/>
                <a:pathLst>
                  <a:path w="21148" h="652" extrusionOk="0">
                    <a:moveTo>
                      <a:pt x="0" y="0"/>
                    </a:moveTo>
                    <a:lnTo>
                      <a:pt x="0" y="652"/>
                    </a:lnTo>
                    <a:lnTo>
                      <a:pt x="21148" y="652"/>
                    </a:lnTo>
                    <a:lnTo>
                      <a:pt x="2114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4" name="Google Shape;214;p26">
                <a:extLst>
                  <a:ext uri="{FF2B5EF4-FFF2-40B4-BE49-F238E27FC236}">
                    <a16:creationId xmlns:a16="http://schemas.microsoft.com/office/drawing/2014/main" id="{53B813EB-8412-EE89-917F-F0A2DA3419EE}"/>
                  </a:ext>
                </a:extLst>
              </p:cNvPr>
              <p:cNvSpPr/>
              <p:nvPr/>
            </p:nvSpPr>
            <p:spPr>
              <a:xfrm>
                <a:off x="6515090" y="3982430"/>
                <a:ext cx="385244" cy="28649"/>
              </a:xfrm>
              <a:custGeom>
                <a:avLst/>
                <a:gdLst/>
                <a:ahLst/>
                <a:cxnLst/>
                <a:rect l="l" t="t" r="r" b="b"/>
                <a:pathLst>
                  <a:path w="8781" h="653" extrusionOk="0">
                    <a:moveTo>
                      <a:pt x="0" y="1"/>
                    </a:moveTo>
                    <a:lnTo>
                      <a:pt x="0" y="652"/>
                    </a:lnTo>
                    <a:lnTo>
                      <a:pt x="8780" y="652"/>
                    </a:lnTo>
                    <a:lnTo>
                      <a:pt x="878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4" name="Google Shape;215;p26">
              <a:extLst>
                <a:ext uri="{FF2B5EF4-FFF2-40B4-BE49-F238E27FC236}">
                  <a16:creationId xmlns:a16="http://schemas.microsoft.com/office/drawing/2014/main" id="{FFF734CF-D927-5DA8-5502-69F532B53735}"/>
                </a:ext>
              </a:extLst>
            </p:cNvPr>
            <p:cNvGrpSpPr/>
            <p:nvPr/>
          </p:nvGrpSpPr>
          <p:grpSpPr>
            <a:xfrm>
              <a:off x="4067252" y="1807838"/>
              <a:ext cx="1167405" cy="589573"/>
              <a:chOff x="3940094" y="1807838"/>
              <a:chExt cx="1294564" cy="589573"/>
            </a:xfrm>
          </p:grpSpPr>
          <p:grpSp>
            <p:nvGrpSpPr>
              <p:cNvPr id="218" name="Google Shape;216;p26">
                <a:extLst>
                  <a:ext uri="{FF2B5EF4-FFF2-40B4-BE49-F238E27FC236}">
                    <a16:creationId xmlns:a16="http://schemas.microsoft.com/office/drawing/2014/main" id="{25706C4D-A72E-382F-E932-843CAC406021}"/>
                  </a:ext>
                </a:extLst>
              </p:cNvPr>
              <p:cNvGrpSpPr/>
              <p:nvPr/>
            </p:nvGrpSpPr>
            <p:grpSpPr>
              <a:xfrm>
                <a:off x="3940094" y="1807838"/>
                <a:ext cx="1294564" cy="589573"/>
                <a:chOff x="3543907" y="2562740"/>
                <a:chExt cx="1294564" cy="381675"/>
              </a:xfrm>
            </p:grpSpPr>
            <p:sp>
              <p:nvSpPr>
                <p:cNvPr id="225" name="Google Shape;217;p26">
                  <a:extLst>
                    <a:ext uri="{FF2B5EF4-FFF2-40B4-BE49-F238E27FC236}">
                      <a16:creationId xmlns:a16="http://schemas.microsoft.com/office/drawing/2014/main" id="{EF517B2D-2F2B-7F4E-F83B-BC82783940AC}"/>
                    </a:ext>
                  </a:extLst>
                </p:cNvPr>
                <p:cNvSpPr/>
                <p:nvPr/>
              </p:nvSpPr>
              <p:spPr>
                <a:xfrm>
                  <a:off x="3597011" y="2562740"/>
                  <a:ext cx="1241460" cy="3481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297" h="7936" extrusionOk="0">
                      <a:moveTo>
                        <a:pt x="722" y="0"/>
                      </a:moveTo>
                      <a:cubicBezTo>
                        <a:pt x="324" y="0"/>
                        <a:pt x="0" y="323"/>
                        <a:pt x="0" y="725"/>
                      </a:cubicBezTo>
                      <a:lnTo>
                        <a:pt x="0" y="7211"/>
                      </a:lnTo>
                      <a:cubicBezTo>
                        <a:pt x="0" y="7613"/>
                        <a:pt x="324" y="7936"/>
                        <a:pt x="722" y="7936"/>
                      </a:cubicBezTo>
                      <a:lnTo>
                        <a:pt x="27576" y="7936"/>
                      </a:lnTo>
                      <a:cubicBezTo>
                        <a:pt x="27973" y="7936"/>
                        <a:pt x="28296" y="7613"/>
                        <a:pt x="28296" y="7211"/>
                      </a:cubicBezTo>
                      <a:lnTo>
                        <a:pt x="28296" y="725"/>
                      </a:lnTo>
                      <a:cubicBezTo>
                        <a:pt x="28296" y="323"/>
                        <a:pt x="27973" y="0"/>
                        <a:pt x="27576" y="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26" name="Google Shape;218;p26">
                  <a:extLst>
                    <a:ext uri="{FF2B5EF4-FFF2-40B4-BE49-F238E27FC236}">
                      <a16:creationId xmlns:a16="http://schemas.microsoft.com/office/drawing/2014/main" id="{F3944604-8AB0-CAE8-28D7-115CD7C13B48}"/>
                    </a:ext>
                  </a:extLst>
                </p:cNvPr>
                <p:cNvSpPr/>
                <p:nvPr/>
              </p:nvSpPr>
              <p:spPr>
                <a:xfrm>
                  <a:off x="3543907" y="2596242"/>
                  <a:ext cx="1241460" cy="3481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297" h="7936" extrusionOk="0">
                      <a:moveTo>
                        <a:pt x="722" y="0"/>
                      </a:moveTo>
                      <a:cubicBezTo>
                        <a:pt x="324" y="0"/>
                        <a:pt x="0" y="323"/>
                        <a:pt x="0" y="725"/>
                      </a:cubicBezTo>
                      <a:lnTo>
                        <a:pt x="0" y="7211"/>
                      </a:lnTo>
                      <a:cubicBezTo>
                        <a:pt x="0" y="7613"/>
                        <a:pt x="324" y="7936"/>
                        <a:pt x="722" y="7936"/>
                      </a:cubicBezTo>
                      <a:lnTo>
                        <a:pt x="27576" y="7936"/>
                      </a:lnTo>
                      <a:cubicBezTo>
                        <a:pt x="27973" y="7936"/>
                        <a:pt x="28296" y="7613"/>
                        <a:pt x="28296" y="7211"/>
                      </a:cubicBezTo>
                      <a:lnTo>
                        <a:pt x="28296" y="725"/>
                      </a:lnTo>
                      <a:cubicBezTo>
                        <a:pt x="28296" y="323"/>
                        <a:pt x="27973" y="0"/>
                        <a:pt x="2757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chemeClr val="lt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219" name="Google Shape;219;p26">
                <a:extLst>
                  <a:ext uri="{FF2B5EF4-FFF2-40B4-BE49-F238E27FC236}">
                    <a16:creationId xmlns:a16="http://schemas.microsoft.com/office/drawing/2014/main" id="{0643DBB1-59B2-0AAD-3E36-8B2D46F580BA}"/>
                  </a:ext>
                </a:extLst>
              </p:cNvPr>
              <p:cNvSpPr/>
              <p:nvPr/>
            </p:nvSpPr>
            <p:spPr>
              <a:xfrm>
                <a:off x="4099654" y="1961924"/>
                <a:ext cx="114112" cy="114156"/>
              </a:xfrm>
              <a:custGeom>
                <a:avLst/>
                <a:gdLst/>
                <a:ahLst/>
                <a:cxnLst/>
                <a:rect l="l" t="t" r="r" b="b"/>
                <a:pathLst>
                  <a:path w="2601" h="2602" extrusionOk="0">
                    <a:moveTo>
                      <a:pt x="1302" y="1"/>
                    </a:moveTo>
                    <a:cubicBezTo>
                      <a:pt x="582" y="1"/>
                      <a:pt x="1" y="582"/>
                      <a:pt x="1" y="1298"/>
                    </a:cubicBezTo>
                    <a:cubicBezTo>
                      <a:pt x="1" y="2020"/>
                      <a:pt x="582" y="2601"/>
                      <a:pt x="1302" y="2601"/>
                    </a:cubicBezTo>
                    <a:cubicBezTo>
                      <a:pt x="2020" y="2601"/>
                      <a:pt x="2601" y="2020"/>
                      <a:pt x="2601" y="1298"/>
                    </a:cubicBezTo>
                    <a:cubicBezTo>
                      <a:pt x="2601" y="582"/>
                      <a:pt x="2020" y="1"/>
                      <a:pt x="1302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0" name="Google Shape;220;p26">
                <a:extLst>
                  <a:ext uri="{FF2B5EF4-FFF2-40B4-BE49-F238E27FC236}">
                    <a16:creationId xmlns:a16="http://schemas.microsoft.com/office/drawing/2014/main" id="{EDC6F9AC-A39A-E3F6-589E-6485F46D5939}"/>
                  </a:ext>
                </a:extLst>
              </p:cNvPr>
              <p:cNvSpPr/>
              <p:nvPr/>
            </p:nvSpPr>
            <p:spPr>
              <a:xfrm>
                <a:off x="4270842" y="1979561"/>
                <a:ext cx="397704" cy="22112"/>
              </a:xfrm>
              <a:custGeom>
                <a:avLst/>
                <a:gdLst/>
                <a:ahLst/>
                <a:cxnLst/>
                <a:rect l="l" t="t" r="r" b="b"/>
                <a:pathLst>
                  <a:path w="9065" h="504" extrusionOk="0">
                    <a:moveTo>
                      <a:pt x="0" y="1"/>
                    </a:moveTo>
                    <a:lnTo>
                      <a:pt x="0" y="503"/>
                    </a:lnTo>
                    <a:lnTo>
                      <a:pt x="9064" y="503"/>
                    </a:lnTo>
                    <a:lnTo>
                      <a:pt x="9064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1" name="Google Shape;221;p26">
                <a:extLst>
                  <a:ext uri="{FF2B5EF4-FFF2-40B4-BE49-F238E27FC236}">
                    <a16:creationId xmlns:a16="http://schemas.microsoft.com/office/drawing/2014/main" id="{6C94D012-114B-E62B-C4F7-2DB2FB5BA83C}"/>
                  </a:ext>
                </a:extLst>
              </p:cNvPr>
              <p:cNvSpPr/>
              <p:nvPr/>
            </p:nvSpPr>
            <p:spPr>
              <a:xfrm>
                <a:off x="4270842" y="2029574"/>
                <a:ext cx="773516" cy="22331"/>
              </a:xfrm>
              <a:custGeom>
                <a:avLst/>
                <a:gdLst/>
                <a:ahLst/>
                <a:cxnLst/>
                <a:rect l="l" t="t" r="r" b="b"/>
                <a:pathLst>
                  <a:path w="17631" h="509" extrusionOk="0">
                    <a:moveTo>
                      <a:pt x="0" y="1"/>
                    </a:moveTo>
                    <a:lnTo>
                      <a:pt x="0" y="508"/>
                    </a:lnTo>
                    <a:lnTo>
                      <a:pt x="17630" y="508"/>
                    </a:lnTo>
                    <a:lnTo>
                      <a:pt x="17630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2" name="Google Shape;222;p26">
                <a:extLst>
                  <a:ext uri="{FF2B5EF4-FFF2-40B4-BE49-F238E27FC236}">
                    <a16:creationId xmlns:a16="http://schemas.microsoft.com/office/drawing/2014/main" id="{247176BD-B4AA-8F1F-E0D9-09C5B71F4246}"/>
                  </a:ext>
                </a:extLst>
              </p:cNvPr>
              <p:cNvSpPr/>
              <p:nvPr/>
            </p:nvSpPr>
            <p:spPr>
              <a:xfrm>
                <a:off x="4099654" y="2137367"/>
                <a:ext cx="114112" cy="114112"/>
              </a:xfrm>
              <a:custGeom>
                <a:avLst/>
                <a:gdLst/>
                <a:ahLst/>
                <a:cxnLst/>
                <a:rect l="l" t="t" r="r" b="b"/>
                <a:pathLst>
                  <a:path w="2601" h="2601" extrusionOk="0">
                    <a:moveTo>
                      <a:pt x="1302" y="0"/>
                    </a:moveTo>
                    <a:cubicBezTo>
                      <a:pt x="582" y="0"/>
                      <a:pt x="1" y="581"/>
                      <a:pt x="1" y="1299"/>
                    </a:cubicBezTo>
                    <a:cubicBezTo>
                      <a:pt x="1" y="2019"/>
                      <a:pt x="582" y="2600"/>
                      <a:pt x="1302" y="2600"/>
                    </a:cubicBezTo>
                    <a:cubicBezTo>
                      <a:pt x="2020" y="2600"/>
                      <a:pt x="2601" y="2019"/>
                      <a:pt x="2601" y="1299"/>
                    </a:cubicBezTo>
                    <a:cubicBezTo>
                      <a:pt x="2601" y="581"/>
                      <a:pt x="2020" y="0"/>
                      <a:pt x="1302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3" name="Google Shape;223;p26">
                <a:extLst>
                  <a:ext uri="{FF2B5EF4-FFF2-40B4-BE49-F238E27FC236}">
                    <a16:creationId xmlns:a16="http://schemas.microsoft.com/office/drawing/2014/main" id="{2B0E1F1A-9A16-77F5-3779-D198ED8C0B5C}"/>
                  </a:ext>
                </a:extLst>
              </p:cNvPr>
              <p:cNvSpPr/>
              <p:nvPr/>
            </p:nvSpPr>
            <p:spPr>
              <a:xfrm>
                <a:off x="4270842" y="2154960"/>
                <a:ext cx="203086" cy="22156"/>
              </a:xfrm>
              <a:custGeom>
                <a:avLst/>
                <a:gdLst/>
                <a:ahLst/>
                <a:cxnLst/>
                <a:rect l="l" t="t" r="r" b="b"/>
                <a:pathLst>
                  <a:path w="4629" h="505" extrusionOk="0">
                    <a:moveTo>
                      <a:pt x="0" y="1"/>
                    </a:moveTo>
                    <a:lnTo>
                      <a:pt x="0" y="504"/>
                    </a:lnTo>
                    <a:lnTo>
                      <a:pt x="4629" y="504"/>
                    </a:lnTo>
                    <a:lnTo>
                      <a:pt x="4629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4" name="Google Shape;224;p26">
                <a:extLst>
                  <a:ext uri="{FF2B5EF4-FFF2-40B4-BE49-F238E27FC236}">
                    <a16:creationId xmlns:a16="http://schemas.microsoft.com/office/drawing/2014/main" id="{2217D2C3-2916-8A2C-0DD0-C485FE7460EB}"/>
                  </a:ext>
                </a:extLst>
              </p:cNvPr>
              <p:cNvSpPr/>
              <p:nvPr/>
            </p:nvSpPr>
            <p:spPr>
              <a:xfrm>
                <a:off x="4270842" y="2205018"/>
                <a:ext cx="773516" cy="22287"/>
              </a:xfrm>
              <a:custGeom>
                <a:avLst/>
                <a:gdLst/>
                <a:ahLst/>
                <a:cxnLst/>
                <a:rect l="l" t="t" r="r" b="b"/>
                <a:pathLst>
                  <a:path w="17631" h="508" extrusionOk="0">
                    <a:moveTo>
                      <a:pt x="0" y="1"/>
                    </a:moveTo>
                    <a:lnTo>
                      <a:pt x="0" y="508"/>
                    </a:lnTo>
                    <a:lnTo>
                      <a:pt x="17630" y="508"/>
                    </a:lnTo>
                    <a:lnTo>
                      <a:pt x="17630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5" name="Google Shape;225;p26">
              <a:extLst>
                <a:ext uri="{FF2B5EF4-FFF2-40B4-BE49-F238E27FC236}">
                  <a16:creationId xmlns:a16="http://schemas.microsoft.com/office/drawing/2014/main" id="{06DFF835-79DB-E4F8-5D11-2ABF372CD21E}"/>
                </a:ext>
              </a:extLst>
            </p:cNvPr>
            <p:cNvGrpSpPr/>
            <p:nvPr/>
          </p:nvGrpSpPr>
          <p:grpSpPr>
            <a:xfrm>
              <a:off x="6193917" y="1459403"/>
              <a:ext cx="906007" cy="136663"/>
              <a:chOff x="5966342" y="1378202"/>
              <a:chExt cx="906007" cy="136663"/>
            </a:xfrm>
          </p:grpSpPr>
          <p:sp>
            <p:nvSpPr>
              <p:cNvPr id="214" name="Google Shape;226;p26">
                <a:extLst>
                  <a:ext uri="{FF2B5EF4-FFF2-40B4-BE49-F238E27FC236}">
                    <a16:creationId xmlns:a16="http://schemas.microsoft.com/office/drawing/2014/main" id="{8B4FA8C6-C0B5-DDD6-6D3E-8BB98D7F0424}"/>
                  </a:ext>
                </a:extLst>
              </p:cNvPr>
              <p:cNvSpPr/>
              <p:nvPr/>
            </p:nvSpPr>
            <p:spPr>
              <a:xfrm>
                <a:off x="5966342" y="1378202"/>
                <a:ext cx="153861" cy="136663"/>
              </a:xfrm>
              <a:custGeom>
                <a:avLst/>
                <a:gdLst/>
                <a:ahLst/>
                <a:cxnLst/>
                <a:rect l="l" t="t" r="r" b="b"/>
                <a:pathLst>
                  <a:path w="3507" h="3115" extrusionOk="0">
                    <a:moveTo>
                      <a:pt x="1755" y="0"/>
                    </a:moveTo>
                    <a:cubicBezTo>
                      <a:pt x="1298" y="0"/>
                      <a:pt x="846" y="200"/>
                      <a:pt x="539" y="582"/>
                    </a:cubicBezTo>
                    <a:cubicBezTo>
                      <a:pt x="1" y="1255"/>
                      <a:pt x="110" y="2234"/>
                      <a:pt x="779" y="2772"/>
                    </a:cubicBezTo>
                    <a:cubicBezTo>
                      <a:pt x="1068" y="3002"/>
                      <a:pt x="1412" y="3115"/>
                      <a:pt x="1754" y="3115"/>
                    </a:cubicBezTo>
                    <a:cubicBezTo>
                      <a:pt x="2210" y="3115"/>
                      <a:pt x="2661" y="2915"/>
                      <a:pt x="2968" y="2531"/>
                    </a:cubicBezTo>
                    <a:cubicBezTo>
                      <a:pt x="3506" y="1863"/>
                      <a:pt x="3401" y="879"/>
                      <a:pt x="2728" y="342"/>
                    </a:cubicBezTo>
                    <a:cubicBezTo>
                      <a:pt x="2440" y="112"/>
                      <a:pt x="2096" y="0"/>
                      <a:pt x="175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5" name="Google Shape;227;p26">
                <a:extLst>
                  <a:ext uri="{FF2B5EF4-FFF2-40B4-BE49-F238E27FC236}">
                    <a16:creationId xmlns:a16="http://schemas.microsoft.com/office/drawing/2014/main" id="{AA30A9D2-11CE-B7CD-D340-6BA0F6F623BC}"/>
                  </a:ext>
                </a:extLst>
              </p:cNvPr>
              <p:cNvSpPr/>
              <p:nvPr/>
            </p:nvSpPr>
            <p:spPr>
              <a:xfrm>
                <a:off x="6003940" y="1423214"/>
                <a:ext cx="78839" cy="50146"/>
              </a:xfrm>
              <a:custGeom>
                <a:avLst/>
                <a:gdLst/>
                <a:ahLst/>
                <a:cxnLst/>
                <a:rect l="l" t="t" r="r" b="b"/>
                <a:pathLst>
                  <a:path w="1797" h="1143" extrusionOk="0">
                    <a:moveTo>
                      <a:pt x="1767" y="1"/>
                    </a:moveTo>
                    <a:cubicBezTo>
                      <a:pt x="1725" y="1"/>
                      <a:pt x="1324" y="360"/>
                      <a:pt x="853" y="819"/>
                    </a:cubicBezTo>
                    <a:cubicBezTo>
                      <a:pt x="797" y="875"/>
                      <a:pt x="741" y="928"/>
                      <a:pt x="686" y="981"/>
                    </a:cubicBezTo>
                    <a:lnTo>
                      <a:pt x="686" y="981"/>
                    </a:lnTo>
                    <a:cubicBezTo>
                      <a:pt x="336" y="636"/>
                      <a:pt x="62" y="394"/>
                      <a:pt x="26" y="394"/>
                    </a:cubicBezTo>
                    <a:cubicBezTo>
                      <a:pt x="25" y="394"/>
                      <a:pt x="24" y="394"/>
                      <a:pt x="23" y="395"/>
                    </a:cubicBezTo>
                    <a:cubicBezTo>
                      <a:pt x="1" y="413"/>
                      <a:pt x="267" y="714"/>
                      <a:pt x="647" y="1099"/>
                    </a:cubicBezTo>
                    <a:lnTo>
                      <a:pt x="687" y="1143"/>
                    </a:lnTo>
                    <a:lnTo>
                      <a:pt x="726" y="1103"/>
                    </a:lnTo>
                    <a:cubicBezTo>
                      <a:pt x="796" y="1038"/>
                      <a:pt x="862" y="972"/>
                      <a:pt x="931" y="902"/>
                    </a:cubicBezTo>
                    <a:cubicBezTo>
                      <a:pt x="1421" y="430"/>
                      <a:pt x="1796" y="28"/>
                      <a:pt x="1770" y="2"/>
                    </a:cubicBezTo>
                    <a:cubicBezTo>
                      <a:pt x="1770" y="1"/>
                      <a:pt x="1769" y="1"/>
                      <a:pt x="1767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6" name="Google Shape;228;p26">
                <a:extLst>
                  <a:ext uri="{FF2B5EF4-FFF2-40B4-BE49-F238E27FC236}">
                    <a16:creationId xmlns:a16="http://schemas.microsoft.com/office/drawing/2014/main" id="{C010CD65-E970-548C-3E88-418503A69AAF}"/>
                  </a:ext>
                </a:extLst>
              </p:cNvPr>
              <p:cNvSpPr/>
              <p:nvPr/>
            </p:nvSpPr>
            <p:spPr>
              <a:xfrm>
                <a:off x="6235364" y="1411237"/>
                <a:ext cx="636985" cy="5177"/>
              </a:xfrm>
              <a:custGeom>
                <a:avLst/>
                <a:gdLst/>
                <a:ahLst/>
                <a:cxnLst/>
                <a:rect l="l" t="t" r="r" b="b"/>
                <a:pathLst>
                  <a:path w="14519" h="118" extrusionOk="0">
                    <a:moveTo>
                      <a:pt x="7259" y="0"/>
                    </a:moveTo>
                    <a:cubicBezTo>
                      <a:pt x="3252" y="0"/>
                      <a:pt x="0" y="26"/>
                      <a:pt x="0" y="61"/>
                    </a:cubicBezTo>
                    <a:cubicBezTo>
                      <a:pt x="0" y="91"/>
                      <a:pt x="3252" y="117"/>
                      <a:pt x="7259" y="117"/>
                    </a:cubicBezTo>
                    <a:cubicBezTo>
                      <a:pt x="11267" y="117"/>
                      <a:pt x="14518" y="91"/>
                      <a:pt x="14518" y="61"/>
                    </a:cubicBezTo>
                    <a:cubicBezTo>
                      <a:pt x="14518" y="26"/>
                      <a:pt x="11267" y="0"/>
                      <a:pt x="7259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7" name="Google Shape;229;p26">
                <a:extLst>
                  <a:ext uri="{FF2B5EF4-FFF2-40B4-BE49-F238E27FC236}">
                    <a16:creationId xmlns:a16="http://schemas.microsoft.com/office/drawing/2014/main" id="{526DB855-DAE5-92E7-BF81-2822E97F54AD}"/>
                  </a:ext>
                </a:extLst>
              </p:cNvPr>
              <p:cNvSpPr/>
              <p:nvPr/>
            </p:nvSpPr>
            <p:spPr>
              <a:xfrm>
                <a:off x="6242822" y="1473535"/>
                <a:ext cx="368178" cy="5001"/>
              </a:xfrm>
              <a:custGeom>
                <a:avLst/>
                <a:gdLst/>
                <a:ahLst/>
                <a:cxnLst/>
                <a:rect l="l" t="t" r="r" b="b"/>
                <a:pathLst>
                  <a:path w="8392" h="114" extrusionOk="0">
                    <a:moveTo>
                      <a:pt x="4196" y="0"/>
                    </a:moveTo>
                    <a:cubicBezTo>
                      <a:pt x="1880" y="0"/>
                      <a:pt x="0" y="22"/>
                      <a:pt x="0" y="57"/>
                    </a:cubicBezTo>
                    <a:cubicBezTo>
                      <a:pt x="0" y="87"/>
                      <a:pt x="1880" y="113"/>
                      <a:pt x="4196" y="113"/>
                    </a:cubicBezTo>
                    <a:cubicBezTo>
                      <a:pt x="6513" y="113"/>
                      <a:pt x="8391" y="87"/>
                      <a:pt x="8391" y="57"/>
                    </a:cubicBezTo>
                    <a:cubicBezTo>
                      <a:pt x="8391" y="22"/>
                      <a:pt x="6513" y="0"/>
                      <a:pt x="4196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6" name="Google Shape;230;p26">
              <a:extLst>
                <a:ext uri="{FF2B5EF4-FFF2-40B4-BE49-F238E27FC236}">
                  <a16:creationId xmlns:a16="http://schemas.microsoft.com/office/drawing/2014/main" id="{69F72F0B-D15C-D84D-1DD8-71BDC15D8773}"/>
                </a:ext>
              </a:extLst>
            </p:cNvPr>
            <p:cNvGrpSpPr/>
            <p:nvPr/>
          </p:nvGrpSpPr>
          <p:grpSpPr>
            <a:xfrm>
              <a:off x="8042062" y="2843136"/>
              <a:ext cx="496812" cy="472595"/>
              <a:chOff x="7814487" y="2708836"/>
              <a:chExt cx="496812" cy="472595"/>
            </a:xfrm>
          </p:grpSpPr>
          <p:sp>
            <p:nvSpPr>
              <p:cNvPr id="212" name="Google Shape;231;p26">
                <a:extLst>
                  <a:ext uri="{FF2B5EF4-FFF2-40B4-BE49-F238E27FC236}">
                    <a16:creationId xmlns:a16="http://schemas.microsoft.com/office/drawing/2014/main" id="{947EC14D-98E9-DD3F-46EA-2AAE00483F61}"/>
                  </a:ext>
                </a:extLst>
              </p:cNvPr>
              <p:cNvSpPr/>
              <p:nvPr/>
            </p:nvSpPr>
            <p:spPr>
              <a:xfrm>
                <a:off x="7814487" y="2708836"/>
                <a:ext cx="496812" cy="472595"/>
              </a:xfrm>
              <a:custGeom>
                <a:avLst/>
                <a:gdLst/>
                <a:ahLst/>
                <a:cxnLst/>
                <a:rect l="l" t="t" r="r" b="b"/>
                <a:pathLst>
                  <a:path w="11324" h="10772" extrusionOk="0">
                    <a:moveTo>
                      <a:pt x="5922" y="1"/>
                    </a:moveTo>
                    <a:cubicBezTo>
                      <a:pt x="5106" y="1"/>
                      <a:pt x="4261" y="192"/>
                      <a:pt x="3483" y="573"/>
                    </a:cubicBezTo>
                    <a:cubicBezTo>
                      <a:pt x="2399" y="1115"/>
                      <a:pt x="1473" y="2063"/>
                      <a:pt x="957" y="3243"/>
                    </a:cubicBezTo>
                    <a:cubicBezTo>
                      <a:pt x="555" y="4152"/>
                      <a:pt x="442" y="5153"/>
                      <a:pt x="555" y="6088"/>
                    </a:cubicBezTo>
                    <a:cubicBezTo>
                      <a:pt x="621" y="6556"/>
                      <a:pt x="743" y="7006"/>
                      <a:pt x="910" y="7430"/>
                    </a:cubicBezTo>
                    <a:cubicBezTo>
                      <a:pt x="1077" y="7838"/>
                      <a:pt x="1295" y="8215"/>
                      <a:pt x="1542" y="8563"/>
                    </a:cubicBezTo>
                    <a:lnTo>
                      <a:pt x="1542" y="8563"/>
                    </a:lnTo>
                    <a:cubicBezTo>
                      <a:pt x="1044" y="9137"/>
                      <a:pt x="560" y="9694"/>
                      <a:pt x="101" y="10223"/>
                    </a:cubicBezTo>
                    <a:lnTo>
                      <a:pt x="0" y="10336"/>
                    </a:lnTo>
                    <a:lnTo>
                      <a:pt x="0" y="10336"/>
                    </a:lnTo>
                    <a:lnTo>
                      <a:pt x="153" y="10306"/>
                    </a:lnTo>
                    <a:cubicBezTo>
                      <a:pt x="1085" y="10128"/>
                      <a:pt x="1978" y="9954"/>
                      <a:pt x="2797" y="9798"/>
                    </a:cubicBezTo>
                    <a:lnTo>
                      <a:pt x="2797" y="9798"/>
                    </a:lnTo>
                    <a:cubicBezTo>
                      <a:pt x="3776" y="10473"/>
                      <a:pt x="4868" y="10768"/>
                      <a:pt x="5822" y="10768"/>
                    </a:cubicBezTo>
                    <a:cubicBezTo>
                      <a:pt x="5831" y="10768"/>
                      <a:pt x="5839" y="10768"/>
                      <a:pt x="5847" y="10768"/>
                    </a:cubicBezTo>
                    <a:cubicBezTo>
                      <a:pt x="5892" y="10770"/>
                      <a:pt x="5938" y="10771"/>
                      <a:pt x="5984" y="10771"/>
                    </a:cubicBezTo>
                    <a:cubicBezTo>
                      <a:pt x="6057" y="10771"/>
                      <a:pt x="6131" y="10768"/>
                      <a:pt x="6201" y="10760"/>
                    </a:cubicBezTo>
                    <a:cubicBezTo>
                      <a:pt x="6319" y="10751"/>
                      <a:pt x="6433" y="10747"/>
                      <a:pt x="6547" y="10734"/>
                    </a:cubicBezTo>
                    <a:cubicBezTo>
                      <a:pt x="6769" y="10695"/>
                      <a:pt x="6983" y="10673"/>
                      <a:pt x="7185" y="10611"/>
                    </a:cubicBezTo>
                    <a:cubicBezTo>
                      <a:pt x="7285" y="10585"/>
                      <a:pt x="7386" y="10558"/>
                      <a:pt x="7481" y="10532"/>
                    </a:cubicBezTo>
                    <a:cubicBezTo>
                      <a:pt x="7574" y="10498"/>
                      <a:pt x="7665" y="10467"/>
                      <a:pt x="7757" y="10432"/>
                    </a:cubicBezTo>
                    <a:cubicBezTo>
                      <a:pt x="7941" y="10375"/>
                      <a:pt x="8098" y="10288"/>
                      <a:pt x="8256" y="10217"/>
                    </a:cubicBezTo>
                    <a:cubicBezTo>
                      <a:pt x="8875" y="9912"/>
                      <a:pt x="9287" y="9558"/>
                      <a:pt x="9557" y="9313"/>
                    </a:cubicBezTo>
                    <a:cubicBezTo>
                      <a:pt x="9688" y="9186"/>
                      <a:pt x="9776" y="9077"/>
                      <a:pt x="9841" y="9011"/>
                    </a:cubicBezTo>
                    <a:cubicBezTo>
                      <a:pt x="9907" y="8942"/>
                      <a:pt x="9934" y="8902"/>
                      <a:pt x="9934" y="8902"/>
                    </a:cubicBezTo>
                    <a:lnTo>
                      <a:pt x="9934" y="8902"/>
                    </a:lnTo>
                    <a:cubicBezTo>
                      <a:pt x="9934" y="8902"/>
                      <a:pt x="9898" y="8933"/>
                      <a:pt x="9833" y="8999"/>
                    </a:cubicBezTo>
                    <a:cubicBezTo>
                      <a:pt x="9763" y="9064"/>
                      <a:pt x="9671" y="9169"/>
                      <a:pt x="9536" y="9291"/>
                    </a:cubicBezTo>
                    <a:cubicBezTo>
                      <a:pt x="9265" y="9527"/>
                      <a:pt x="8849" y="9872"/>
                      <a:pt x="8234" y="10170"/>
                    </a:cubicBezTo>
                    <a:cubicBezTo>
                      <a:pt x="8076" y="10240"/>
                      <a:pt x="7915" y="10322"/>
                      <a:pt x="7735" y="10375"/>
                    </a:cubicBezTo>
                    <a:cubicBezTo>
                      <a:pt x="7648" y="10406"/>
                      <a:pt x="7556" y="10441"/>
                      <a:pt x="7465" y="10471"/>
                    </a:cubicBezTo>
                    <a:cubicBezTo>
                      <a:pt x="7368" y="10498"/>
                      <a:pt x="7268" y="10520"/>
                      <a:pt x="7171" y="10546"/>
                    </a:cubicBezTo>
                    <a:cubicBezTo>
                      <a:pt x="6971" y="10602"/>
                      <a:pt x="6757" y="10624"/>
                      <a:pt x="6538" y="10663"/>
                    </a:cubicBezTo>
                    <a:cubicBezTo>
                      <a:pt x="6428" y="10673"/>
                      <a:pt x="6315" y="10677"/>
                      <a:pt x="6197" y="10685"/>
                    </a:cubicBezTo>
                    <a:cubicBezTo>
                      <a:pt x="6135" y="10693"/>
                      <a:pt x="6071" y="10696"/>
                      <a:pt x="6008" y="10696"/>
                    </a:cubicBezTo>
                    <a:cubicBezTo>
                      <a:pt x="5954" y="10696"/>
                      <a:pt x="5901" y="10694"/>
                      <a:pt x="5847" y="10689"/>
                    </a:cubicBezTo>
                    <a:cubicBezTo>
                      <a:pt x="4895" y="10689"/>
                      <a:pt x="3806" y="10388"/>
                      <a:pt x="2836" y="9707"/>
                    </a:cubicBezTo>
                    <a:lnTo>
                      <a:pt x="2818" y="9693"/>
                    </a:lnTo>
                    <a:lnTo>
                      <a:pt x="2802" y="9698"/>
                    </a:lnTo>
                    <a:cubicBezTo>
                      <a:pt x="2019" y="9847"/>
                      <a:pt x="1171" y="10008"/>
                      <a:pt x="281" y="10176"/>
                    </a:cubicBezTo>
                    <a:lnTo>
                      <a:pt x="281" y="10176"/>
                    </a:lnTo>
                    <a:cubicBezTo>
                      <a:pt x="720" y="9676"/>
                      <a:pt x="1181" y="9146"/>
                      <a:pt x="1652" y="8605"/>
                    </a:cubicBezTo>
                    <a:lnTo>
                      <a:pt x="1682" y="8571"/>
                    </a:lnTo>
                    <a:lnTo>
                      <a:pt x="1656" y="8535"/>
                    </a:lnTo>
                    <a:cubicBezTo>
                      <a:pt x="1408" y="8182"/>
                      <a:pt x="1184" y="7801"/>
                      <a:pt x="1014" y="7391"/>
                    </a:cubicBezTo>
                    <a:cubicBezTo>
                      <a:pt x="852" y="6971"/>
                      <a:pt x="734" y="6530"/>
                      <a:pt x="668" y="6070"/>
                    </a:cubicBezTo>
                    <a:cubicBezTo>
                      <a:pt x="559" y="5157"/>
                      <a:pt x="668" y="4178"/>
                      <a:pt x="1067" y="3291"/>
                    </a:cubicBezTo>
                    <a:cubicBezTo>
                      <a:pt x="1569" y="2137"/>
                      <a:pt x="2478" y="1207"/>
                      <a:pt x="3536" y="673"/>
                    </a:cubicBezTo>
                    <a:cubicBezTo>
                      <a:pt x="4296" y="301"/>
                      <a:pt x="5124" y="110"/>
                      <a:pt x="5925" y="110"/>
                    </a:cubicBezTo>
                    <a:cubicBezTo>
                      <a:pt x="6244" y="110"/>
                      <a:pt x="6558" y="140"/>
                      <a:pt x="6862" y="201"/>
                    </a:cubicBezTo>
                    <a:cubicBezTo>
                      <a:pt x="7394" y="302"/>
                      <a:pt x="7910" y="463"/>
                      <a:pt x="8360" y="713"/>
                    </a:cubicBezTo>
                    <a:cubicBezTo>
                      <a:pt x="8815" y="957"/>
                      <a:pt x="9230" y="1246"/>
                      <a:pt x="9575" y="1591"/>
                    </a:cubicBezTo>
                    <a:cubicBezTo>
                      <a:pt x="10287" y="2256"/>
                      <a:pt x="10733" y="3077"/>
                      <a:pt x="10973" y="3864"/>
                    </a:cubicBezTo>
                    <a:cubicBezTo>
                      <a:pt x="11223" y="4654"/>
                      <a:pt x="11253" y="5419"/>
                      <a:pt x="11170" y="6070"/>
                    </a:cubicBezTo>
                    <a:cubicBezTo>
                      <a:pt x="11096" y="6726"/>
                      <a:pt x="10894" y="7264"/>
                      <a:pt x="10702" y="7683"/>
                    </a:cubicBezTo>
                    <a:cubicBezTo>
                      <a:pt x="10650" y="7788"/>
                      <a:pt x="10602" y="7889"/>
                      <a:pt x="10559" y="7980"/>
                    </a:cubicBezTo>
                    <a:cubicBezTo>
                      <a:pt x="10511" y="8067"/>
                      <a:pt x="10454" y="8151"/>
                      <a:pt x="10410" y="8225"/>
                    </a:cubicBezTo>
                    <a:cubicBezTo>
                      <a:pt x="10318" y="8378"/>
                      <a:pt x="10235" y="8509"/>
                      <a:pt x="10156" y="8601"/>
                    </a:cubicBezTo>
                    <a:cubicBezTo>
                      <a:pt x="10087" y="8697"/>
                      <a:pt x="10029" y="8771"/>
                      <a:pt x="9990" y="8824"/>
                    </a:cubicBezTo>
                    <a:cubicBezTo>
                      <a:pt x="9950" y="8876"/>
                      <a:pt x="9934" y="8902"/>
                      <a:pt x="9934" y="8902"/>
                    </a:cubicBezTo>
                    <a:cubicBezTo>
                      <a:pt x="9938" y="8902"/>
                      <a:pt x="9960" y="8880"/>
                      <a:pt x="9999" y="8833"/>
                    </a:cubicBezTo>
                    <a:cubicBezTo>
                      <a:pt x="10043" y="8781"/>
                      <a:pt x="10099" y="8706"/>
                      <a:pt x="10174" y="8614"/>
                    </a:cubicBezTo>
                    <a:cubicBezTo>
                      <a:pt x="10257" y="8523"/>
                      <a:pt x="10344" y="8396"/>
                      <a:pt x="10436" y="8243"/>
                    </a:cubicBezTo>
                    <a:cubicBezTo>
                      <a:pt x="10484" y="8168"/>
                      <a:pt x="10541" y="8089"/>
                      <a:pt x="10593" y="7998"/>
                    </a:cubicBezTo>
                    <a:cubicBezTo>
                      <a:pt x="10642" y="7906"/>
                      <a:pt x="10690" y="7810"/>
                      <a:pt x="10742" y="7706"/>
                    </a:cubicBezTo>
                    <a:cubicBezTo>
                      <a:pt x="10943" y="7286"/>
                      <a:pt x="11152" y="6744"/>
                      <a:pt x="11235" y="6080"/>
                    </a:cubicBezTo>
                    <a:cubicBezTo>
                      <a:pt x="11323" y="5419"/>
                      <a:pt x="11297" y="4646"/>
                      <a:pt x="11057" y="3842"/>
                    </a:cubicBezTo>
                    <a:cubicBezTo>
                      <a:pt x="10816" y="3038"/>
                      <a:pt x="10362" y="2203"/>
                      <a:pt x="9645" y="1522"/>
                    </a:cubicBezTo>
                    <a:cubicBezTo>
                      <a:pt x="9295" y="1171"/>
                      <a:pt x="8871" y="870"/>
                      <a:pt x="8409" y="626"/>
                    </a:cubicBezTo>
                    <a:cubicBezTo>
                      <a:pt x="7949" y="368"/>
                      <a:pt x="7425" y="197"/>
                      <a:pt x="6878" y="92"/>
                    </a:cubicBezTo>
                    <a:cubicBezTo>
                      <a:pt x="6568" y="31"/>
                      <a:pt x="6247" y="1"/>
                      <a:pt x="5922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3" name="Google Shape;232;p26">
                <a:extLst>
                  <a:ext uri="{FF2B5EF4-FFF2-40B4-BE49-F238E27FC236}">
                    <a16:creationId xmlns:a16="http://schemas.microsoft.com/office/drawing/2014/main" id="{1C88B6C8-6D0F-13D5-59D8-8D24BAE97FCC}"/>
                  </a:ext>
                </a:extLst>
              </p:cNvPr>
              <p:cNvSpPr/>
              <p:nvPr/>
            </p:nvSpPr>
            <p:spPr>
              <a:xfrm>
                <a:off x="7997564" y="2870459"/>
                <a:ext cx="149956" cy="166277"/>
              </a:xfrm>
              <a:custGeom>
                <a:avLst/>
                <a:gdLst/>
                <a:ahLst/>
                <a:cxnLst/>
                <a:rect l="l" t="t" r="r" b="b"/>
                <a:pathLst>
                  <a:path w="3418" h="3790" extrusionOk="0">
                    <a:moveTo>
                      <a:pt x="0" y="0"/>
                    </a:moveTo>
                    <a:lnTo>
                      <a:pt x="192" y="927"/>
                    </a:lnTo>
                    <a:lnTo>
                      <a:pt x="385" y="1858"/>
                    </a:lnTo>
                    <a:lnTo>
                      <a:pt x="874" y="1420"/>
                    </a:lnTo>
                    <a:lnTo>
                      <a:pt x="2981" y="3790"/>
                    </a:lnTo>
                    <a:lnTo>
                      <a:pt x="3418" y="3401"/>
                    </a:lnTo>
                    <a:lnTo>
                      <a:pt x="1312" y="1032"/>
                    </a:lnTo>
                    <a:lnTo>
                      <a:pt x="1801" y="595"/>
                    </a:lnTo>
                    <a:lnTo>
                      <a:pt x="900" y="2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7" name="Google Shape;233;p26">
              <a:extLst>
                <a:ext uri="{FF2B5EF4-FFF2-40B4-BE49-F238E27FC236}">
                  <a16:creationId xmlns:a16="http://schemas.microsoft.com/office/drawing/2014/main" id="{25D71E86-BFA4-907D-BFBD-0C847094EF09}"/>
                </a:ext>
              </a:extLst>
            </p:cNvPr>
            <p:cNvGrpSpPr/>
            <p:nvPr/>
          </p:nvGrpSpPr>
          <p:grpSpPr>
            <a:xfrm>
              <a:off x="7739700" y="1512500"/>
              <a:ext cx="1153208" cy="1002828"/>
              <a:chOff x="7739700" y="1512500"/>
              <a:chExt cx="1109728" cy="1002828"/>
            </a:xfrm>
          </p:grpSpPr>
          <p:sp>
            <p:nvSpPr>
              <p:cNvPr id="194" name="Google Shape;234;p26">
                <a:extLst>
                  <a:ext uri="{FF2B5EF4-FFF2-40B4-BE49-F238E27FC236}">
                    <a16:creationId xmlns:a16="http://schemas.microsoft.com/office/drawing/2014/main" id="{9AB927F2-36FB-FD83-C4AA-C475C2B2B851}"/>
                  </a:ext>
                </a:extLst>
              </p:cNvPr>
              <p:cNvSpPr/>
              <p:nvPr/>
            </p:nvSpPr>
            <p:spPr>
              <a:xfrm>
                <a:off x="7739700" y="1512500"/>
                <a:ext cx="1109728" cy="1002828"/>
              </a:xfrm>
              <a:custGeom>
                <a:avLst/>
                <a:gdLst/>
                <a:ahLst/>
                <a:cxnLst/>
                <a:rect l="l" t="t" r="r" b="b"/>
                <a:pathLst>
                  <a:path w="35998" h="15301" extrusionOk="0">
                    <a:moveTo>
                      <a:pt x="888" y="1"/>
                    </a:moveTo>
                    <a:cubicBezTo>
                      <a:pt x="398" y="1"/>
                      <a:pt x="1" y="398"/>
                      <a:pt x="1" y="887"/>
                    </a:cubicBezTo>
                    <a:lnTo>
                      <a:pt x="1" y="14413"/>
                    </a:lnTo>
                    <a:cubicBezTo>
                      <a:pt x="1" y="14903"/>
                      <a:pt x="398" y="15300"/>
                      <a:pt x="888" y="15300"/>
                    </a:cubicBezTo>
                    <a:lnTo>
                      <a:pt x="35110" y="15300"/>
                    </a:lnTo>
                    <a:cubicBezTo>
                      <a:pt x="35600" y="15300"/>
                      <a:pt x="35998" y="14903"/>
                      <a:pt x="35998" y="14413"/>
                    </a:cubicBezTo>
                    <a:lnTo>
                      <a:pt x="35998" y="887"/>
                    </a:lnTo>
                    <a:cubicBezTo>
                      <a:pt x="35998" y="398"/>
                      <a:pt x="35600" y="1"/>
                      <a:pt x="35110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195" name="Google Shape;235;p26">
                <a:extLst>
                  <a:ext uri="{FF2B5EF4-FFF2-40B4-BE49-F238E27FC236}">
                    <a16:creationId xmlns:a16="http://schemas.microsoft.com/office/drawing/2014/main" id="{316F6D5F-9F98-4609-CC3F-FC0AC2C5F624}"/>
                  </a:ext>
                </a:extLst>
              </p:cNvPr>
              <p:cNvGrpSpPr/>
              <p:nvPr/>
            </p:nvGrpSpPr>
            <p:grpSpPr>
              <a:xfrm>
                <a:off x="7808309" y="1610467"/>
                <a:ext cx="966993" cy="714803"/>
                <a:chOff x="7183784" y="1476167"/>
                <a:chExt cx="966993" cy="714803"/>
              </a:xfrm>
            </p:grpSpPr>
            <p:sp>
              <p:nvSpPr>
                <p:cNvPr id="196" name="Google Shape;236;p26">
                  <a:extLst>
                    <a:ext uri="{FF2B5EF4-FFF2-40B4-BE49-F238E27FC236}">
                      <a16:creationId xmlns:a16="http://schemas.microsoft.com/office/drawing/2014/main" id="{12F4E434-9057-2865-0CF2-4975BA3BB57F}"/>
                    </a:ext>
                  </a:extLst>
                </p:cNvPr>
                <p:cNvSpPr/>
                <p:nvPr/>
              </p:nvSpPr>
              <p:spPr>
                <a:xfrm>
                  <a:off x="7393754" y="1862327"/>
                  <a:ext cx="21541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1" h="486" extrusionOk="0">
                      <a:moveTo>
                        <a:pt x="245" y="1"/>
                      </a:moveTo>
                      <a:cubicBezTo>
                        <a:pt x="110" y="1"/>
                        <a:pt x="1" y="110"/>
                        <a:pt x="1" y="241"/>
                      </a:cubicBezTo>
                      <a:cubicBezTo>
                        <a:pt x="1" y="376"/>
                        <a:pt x="110" y="485"/>
                        <a:pt x="245" y="485"/>
                      </a:cubicBezTo>
                      <a:cubicBezTo>
                        <a:pt x="380" y="485"/>
                        <a:pt x="491" y="376"/>
                        <a:pt x="491" y="241"/>
                      </a:cubicBezTo>
                      <a:cubicBezTo>
                        <a:pt x="491" y="110"/>
                        <a:pt x="380" y="1"/>
                        <a:pt x="245" y="1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97" name="Google Shape;237;p26">
                  <a:extLst>
                    <a:ext uri="{FF2B5EF4-FFF2-40B4-BE49-F238E27FC236}">
                      <a16:creationId xmlns:a16="http://schemas.microsoft.com/office/drawing/2014/main" id="{599F06C4-2B8F-8E65-0F7C-59B9362C2FD0}"/>
                    </a:ext>
                  </a:extLst>
                </p:cNvPr>
                <p:cNvSpPr/>
                <p:nvPr/>
              </p:nvSpPr>
              <p:spPr>
                <a:xfrm>
                  <a:off x="7725074" y="1944762"/>
                  <a:ext cx="58877" cy="21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2" h="4940" extrusionOk="0">
                      <a:moveTo>
                        <a:pt x="0" y="0"/>
                      </a:moveTo>
                      <a:lnTo>
                        <a:pt x="0" y="4939"/>
                      </a:lnTo>
                      <a:lnTo>
                        <a:pt x="1342" y="4939"/>
                      </a:lnTo>
                      <a:lnTo>
                        <a:pt x="1342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98" name="Google Shape;238;p26">
                  <a:extLst>
                    <a:ext uri="{FF2B5EF4-FFF2-40B4-BE49-F238E27FC236}">
                      <a16:creationId xmlns:a16="http://schemas.microsoft.com/office/drawing/2014/main" id="{71175FFF-842A-6650-A602-F1C7DF2BB210}"/>
                    </a:ext>
                  </a:extLst>
                </p:cNvPr>
                <p:cNvSpPr/>
                <p:nvPr/>
              </p:nvSpPr>
              <p:spPr>
                <a:xfrm>
                  <a:off x="7992132" y="1848727"/>
                  <a:ext cx="59096" cy="3127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" h="7129" extrusionOk="0">
                      <a:moveTo>
                        <a:pt x="0" y="0"/>
                      </a:moveTo>
                      <a:lnTo>
                        <a:pt x="0" y="7128"/>
                      </a:lnTo>
                      <a:lnTo>
                        <a:pt x="1347" y="7128"/>
                      </a:lnTo>
                      <a:lnTo>
                        <a:pt x="1347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99" name="Google Shape;239;p26">
                  <a:extLst>
                    <a:ext uri="{FF2B5EF4-FFF2-40B4-BE49-F238E27FC236}">
                      <a16:creationId xmlns:a16="http://schemas.microsoft.com/office/drawing/2014/main" id="{DD4EF696-52A8-C264-089D-46340452FD86}"/>
                    </a:ext>
                  </a:extLst>
                </p:cNvPr>
                <p:cNvSpPr/>
                <p:nvPr/>
              </p:nvSpPr>
              <p:spPr>
                <a:xfrm>
                  <a:off x="7309959" y="1716409"/>
                  <a:ext cx="59096" cy="445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" h="10145" extrusionOk="0">
                      <a:moveTo>
                        <a:pt x="1" y="1"/>
                      </a:moveTo>
                      <a:lnTo>
                        <a:pt x="1" y="10144"/>
                      </a:lnTo>
                      <a:lnTo>
                        <a:pt x="1347" y="10144"/>
                      </a:lnTo>
                      <a:lnTo>
                        <a:pt x="1347" y="1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00" name="Google Shape;240;p26">
                  <a:extLst>
                    <a:ext uri="{FF2B5EF4-FFF2-40B4-BE49-F238E27FC236}">
                      <a16:creationId xmlns:a16="http://schemas.microsoft.com/office/drawing/2014/main" id="{A20B7696-6F0D-8DDF-34D3-A86562B035D1}"/>
                    </a:ext>
                  </a:extLst>
                </p:cNvPr>
                <p:cNvSpPr/>
                <p:nvPr/>
              </p:nvSpPr>
              <p:spPr>
                <a:xfrm>
                  <a:off x="7450700" y="1848727"/>
                  <a:ext cx="59096" cy="3127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" h="7129" extrusionOk="0">
                      <a:moveTo>
                        <a:pt x="0" y="0"/>
                      </a:moveTo>
                      <a:lnTo>
                        <a:pt x="0" y="7128"/>
                      </a:lnTo>
                      <a:lnTo>
                        <a:pt x="1347" y="7128"/>
                      </a:lnTo>
                      <a:lnTo>
                        <a:pt x="1347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01" name="Google Shape;241;p26">
                  <a:extLst>
                    <a:ext uri="{FF2B5EF4-FFF2-40B4-BE49-F238E27FC236}">
                      <a16:creationId xmlns:a16="http://schemas.microsoft.com/office/drawing/2014/main" id="{C13F36AF-5782-0E75-7022-01EE79EA4B3E}"/>
                    </a:ext>
                  </a:extLst>
                </p:cNvPr>
                <p:cNvSpPr/>
                <p:nvPr/>
              </p:nvSpPr>
              <p:spPr>
                <a:xfrm>
                  <a:off x="7577840" y="1680391"/>
                  <a:ext cx="59052" cy="4811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6" h="10966" extrusionOk="0">
                      <a:moveTo>
                        <a:pt x="0" y="1"/>
                      </a:moveTo>
                      <a:lnTo>
                        <a:pt x="0" y="10965"/>
                      </a:lnTo>
                      <a:lnTo>
                        <a:pt x="1346" y="10965"/>
                      </a:lnTo>
                      <a:lnTo>
                        <a:pt x="1346" y="1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02" name="Google Shape;242;p26">
                  <a:extLst>
                    <a:ext uri="{FF2B5EF4-FFF2-40B4-BE49-F238E27FC236}">
                      <a16:creationId xmlns:a16="http://schemas.microsoft.com/office/drawing/2014/main" id="{7129DB49-CFF6-18BA-FF33-F965AEC57810}"/>
                    </a:ext>
                  </a:extLst>
                </p:cNvPr>
                <p:cNvSpPr/>
                <p:nvPr/>
              </p:nvSpPr>
              <p:spPr>
                <a:xfrm>
                  <a:off x="7378618" y="1668677"/>
                  <a:ext cx="59096" cy="4928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" h="11233" extrusionOk="0">
                      <a:moveTo>
                        <a:pt x="1" y="0"/>
                      </a:moveTo>
                      <a:lnTo>
                        <a:pt x="1" y="11232"/>
                      </a:lnTo>
                      <a:lnTo>
                        <a:pt x="1346" y="11232"/>
                      </a:lnTo>
                      <a:lnTo>
                        <a:pt x="1346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03" name="Google Shape;243;p26">
                  <a:extLst>
                    <a:ext uri="{FF2B5EF4-FFF2-40B4-BE49-F238E27FC236}">
                      <a16:creationId xmlns:a16="http://schemas.microsoft.com/office/drawing/2014/main" id="{681774FD-D39F-CBF6-579C-2DD18CA065C6}"/>
                    </a:ext>
                  </a:extLst>
                </p:cNvPr>
                <p:cNvSpPr/>
                <p:nvPr/>
              </p:nvSpPr>
              <p:spPr>
                <a:xfrm>
                  <a:off x="7651457" y="1565534"/>
                  <a:ext cx="58877" cy="5959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2" h="13584" extrusionOk="0">
                      <a:moveTo>
                        <a:pt x="0" y="1"/>
                      </a:moveTo>
                      <a:lnTo>
                        <a:pt x="0" y="13583"/>
                      </a:lnTo>
                      <a:lnTo>
                        <a:pt x="1342" y="13583"/>
                      </a:lnTo>
                      <a:lnTo>
                        <a:pt x="1342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04" name="Google Shape;244;p26">
                  <a:extLst>
                    <a:ext uri="{FF2B5EF4-FFF2-40B4-BE49-F238E27FC236}">
                      <a16:creationId xmlns:a16="http://schemas.microsoft.com/office/drawing/2014/main" id="{AC26BBFC-1B2F-6959-CF52-D3175DD88C43}"/>
                    </a:ext>
                  </a:extLst>
                </p:cNvPr>
                <p:cNvSpPr/>
                <p:nvPr/>
              </p:nvSpPr>
              <p:spPr>
                <a:xfrm>
                  <a:off x="7211248" y="2185793"/>
                  <a:ext cx="939530" cy="51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415" h="118" extrusionOk="0">
                      <a:moveTo>
                        <a:pt x="10708" y="0"/>
                      </a:moveTo>
                      <a:cubicBezTo>
                        <a:pt x="4794" y="0"/>
                        <a:pt x="0" y="26"/>
                        <a:pt x="0" y="57"/>
                      </a:cubicBezTo>
                      <a:cubicBezTo>
                        <a:pt x="0" y="91"/>
                        <a:pt x="4794" y="118"/>
                        <a:pt x="10708" y="118"/>
                      </a:cubicBezTo>
                      <a:cubicBezTo>
                        <a:pt x="16620" y="118"/>
                        <a:pt x="21414" y="91"/>
                        <a:pt x="21414" y="57"/>
                      </a:cubicBezTo>
                      <a:cubicBezTo>
                        <a:pt x="21414" y="26"/>
                        <a:pt x="16620" y="0"/>
                        <a:pt x="10708" y="0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05" name="Google Shape;245;p26">
                  <a:extLst>
                    <a:ext uri="{FF2B5EF4-FFF2-40B4-BE49-F238E27FC236}">
                      <a16:creationId xmlns:a16="http://schemas.microsoft.com/office/drawing/2014/main" id="{488DA501-063D-51DF-2576-595917356B67}"/>
                    </a:ext>
                  </a:extLst>
                </p:cNvPr>
                <p:cNvSpPr/>
                <p:nvPr/>
              </p:nvSpPr>
              <p:spPr>
                <a:xfrm>
                  <a:off x="7183784" y="2082256"/>
                  <a:ext cx="36151" cy="118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4" h="271" extrusionOk="0">
                      <a:moveTo>
                        <a:pt x="1" y="0"/>
                      </a:moveTo>
                      <a:lnTo>
                        <a:pt x="1" y="271"/>
                      </a:lnTo>
                      <a:lnTo>
                        <a:pt x="823" y="271"/>
                      </a:lnTo>
                      <a:lnTo>
                        <a:pt x="823" y="0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06" name="Google Shape;246;p26">
                  <a:extLst>
                    <a:ext uri="{FF2B5EF4-FFF2-40B4-BE49-F238E27FC236}">
                      <a16:creationId xmlns:a16="http://schemas.microsoft.com/office/drawing/2014/main" id="{4BA9ECEC-95C7-FAF2-6A40-2DC9AE526263}"/>
                    </a:ext>
                  </a:extLst>
                </p:cNvPr>
                <p:cNvSpPr/>
                <p:nvPr/>
              </p:nvSpPr>
              <p:spPr>
                <a:xfrm>
                  <a:off x="7183784" y="1923879"/>
                  <a:ext cx="36151" cy="11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4" h="272" extrusionOk="0">
                      <a:moveTo>
                        <a:pt x="1" y="0"/>
                      </a:moveTo>
                      <a:lnTo>
                        <a:pt x="1" y="272"/>
                      </a:lnTo>
                      <a:lnTo>
                        <a:pt x="823" y="272"/>
                      </a:lnTo>
                      <a:lnTo>
                        <a:pt x="823" y="0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07" name="Google Shape;247;p26">
                  <a:extLst>
                    <a:ext uri="{FF2B5EF4-FFF2-40B4-BE49-F238E27FC236}">
                      <a16:creationId xmlns:a16="http://schemas.microsoft.com/office/drawing/2014/main" id="{09C79758-0FEB-071D-2FD5-A2409CDC702A}"/>
                    </a:ext>
                  </a:extLst>
                </p:cNvPr>
                <p:cNvSpPr/>
                <p:nvPr/>
              </p:nvSpPr>
              <p:spPr>
                <a:xfrm>
                  <a:off x="7183784" y="1625902"/>
                  <a:ext cx="36151" cy="117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4" h="268" extrusionOk="0">
                      <a:moveTo>
                        <a:pt x="1" y="1"/>
                      </a:moveTo>
                      <a:lnTo>
                        <a:pt x="1" y="267"/>
                      </a:lnTo>
                      <a:lnTo>
                        <a:pt x="823" y="267"/>
                      </a:lnTo>
                      <a:lnTo>
                        <a:pt x="823" y="1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08" name="Google Shape;248;p26">
                  <a:extLst>
                    <a:ext uri="{FF2B5EF4-FFF2-40B4-BE49-F238E27FC236}">
                      <a16:creationId xmlns:a16="http://schemas.microsoft.com/office/drawing/2014/main" id="{63EA6DA0-4BB3-AF17-F5B2-0A0CA06A843F}"/>
                    </a:ext>
                  </a:extLst>
                </p:cNvPr>
                <p:cNvSpPr/>
                <p:nvPr/>
              </p:nvSpPr>
              <p:spPr>
                <a:xfrm>
                  <a:off x="7183784" y="1476167"/>
                  <a:ext cx="36151" cy="117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4" h="268" extrusionOk="0">
                      <a:moveTo>
                        <a:pt x="1" y="1"/>
                      </a:moveTo>
                      <a:lnTo>
                        <a:pt x="1" y="267"/>
                      </a:lnTo>
                      <a:lnTo>
                        <a:pt x="823" y="267"/>
                      </a:lnTo>
                      <a:lnTo>
                        <a:pt x="823" y="1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09" name="Google Shape;249;p26">
                  <a:extLst>
                    <a:ext uri="{FF2B5EF4-FFF2-40B4-BE49-F238E27FC236}">
                      <a16:creationId xmlns:a16="http://schemas.microsoft.com/office/drawing/2014/main" id="{2479AF0F-112C-0CC7-9CA5-8165D83868C6}"/>
                    </a:ext>
                  </a:extLst>
                </p:cNvPr>
                <p:cNvSpPr/>
                <p:nvPr/>
              </p:nvSpPr>
              <p:spPr>
                <a:xfrm>
                  <a:off x="7185758" y="1774890"/>
                  <a:ext cx="36063" cy="11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2" h="272" extrusionOk="0">
                      <a:moveTo>
                        <a:pt x="0" y="1"/>
                      </a:moveTo>
                      <a:lnTo>
                        <a:pt x="0" y="272"/>
                      </a:lnTo>
                      <a:lnTo>
                        <a:pt x="821" y="272"/>
                      </a:lnTo>
                      <a:lnTo>
                        <a:pt x="821" y="1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10" name="Google Shape;250;p26">
                  <a:extLst>
                    <a:ext uri="{FF2B5EF4-FFF2-40B4-BE49-F238E27FC236}">
                      <a16:creationId xmlns:a16="http://schemas.microsoft.com/office/drawing/2014/main" id="{02566AA0-CE1C-B381-87DC-3245773E285D}"/>
                    </a:ext>
                  </a:extLst>
                </p:cNvPr>
                <p:cNvSpPr/>
                <p:nvPr/>
              </p:nvSpPr>
              <p:spPr>
                <a:xfrm>
                  <a:off x="7851391" y="1716409"/>
                  <a:ext cx="59096" cy="445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" h="10145" extrusionOk="0">
                      <a:moveTo>
                        <a:pt x="1" y="1"/>
                      </a:moveTo>
                      <a:lnTo>
                        <a:pt x="1" y="10144"/>
                      </a:lnTo>
                      <a:lnTo>
                        <a:pt x="1347" y="10144"/>
                      </a:lnTo>
                      <a:lnTo>
                        <a:pt x="1347" y="1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211" name="Google Shape;251;p26">
                  <a:extLst>
                    <a:ext uri="{FF2B5EF4-FFF2-40B4-BE49-F238E27FC236}">
                      <a16:creationId xmlns:a16="http://schemas.microsoft.com/office/drawing/2014/main" id="{E2195583-5CF3-34C3-AED8-D3D9B80849F0}"/>
                    </a:ext>
                  </a:extLst>
                </p:cNvPr>
                <p:cNvSpPr/>
                <p:nvPr/>
              </p:nvSpPr>
              <p:spPr>
                <a:xfrm>
                  <a:off x="7920051" y="1668677"/>
                  <a:ext cx="59096" cy="4928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" h="11233" extrusionOk="0">
                      <a:moveTo>
                        <a:pt x="1" y="0"/>
                      </a:moveTo>
                      <a:lnTo>
                        <a:pt x="1" y="11232"/>
                      </a:lnTo>
                      <a:lnTo>
                        <a:pt x="1346" y="11232"/>
                      </a:lnTo>
                      <a:lnTo>
                        <a:pt x="1346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28" name="Google Shape;252;p26">
              <a:extLst>
                <a:ext uri="{FF2B5EF4-FFF2-40B4-BE49-F238E27FC236}">
                  <a16:creationId xmlns:a16="http://schemas.microsoft.com/office/drawing/2014/main" id="{B5C6F170-B89E-0554-6E49-D833677ABE17}"/>
                </a:ext>
              </a:extLst>
            </p:cNvPr>
            <p:cNvGrpSpPr/>
            <p:nvPr/>
          </p:nvGrpSpPr>
          <p:grpSpPr>
            <a:xfrm flipH="1">
              <a:off x="6415607" y="1911354"/>
              <a:ext cx="1520787" cy="2773390"/>
              <a:chOff x="-823767" y="1667843"/>
              <a:chExt cx="1580203" cy="2881743"/>
            </a:xfrm>
          </p:grpSpPr>
          <p:sp>
            <p:nvSpPr>
              <p:cNvPr id="44" name="Google Shape;253;p26">
                <a:extLst>
                  <a:ext uri="{FF2B5EF4-FFF2-40B4-BE49-F238E27FC236}">
                    <a16:creationId xmlns:a16="http://schemas.microsoft.com/office/drawing/2014/main" id="{0EDA5621-245D-04D6-F4B6-D6CB26A90208}"/>
                  </a:ext>
                </a:extLst>
              </p:cNvPr>
              <p:cNvSpPr/>
              <p:nvPr/>
            </p:nvSpPr>
            <p:spPr>
              <a:xfrm>
                <a:off x="-216393" y="1767355"/>
                <a:ext cx="5288" cy="1517707"/>
              </a:xfrm>
              <a:custGeom>
                <a:avLst/>
                <a:gdLst/>
                <a:ahLst/>
                <a:cxnLst/>
                <a:rect l="l" t="t" r="r" b="b"/>
                <a:pathLst>
                  <a:path w="116" h="33294" extrusionOk="0">
                    <a:moveTo>
                      <a:pt x="58" y="1"/>
                    </a:moveTo>
                    <a:cubicBezTo>
                      <a:pt x="27" y="1"/>
                      <a:pt x="1" y="7452"/>
                      <a:pt x="1" y="16647"/>
                    </a:cubicBezTo>
                    <a:cubicBezTo>
                      <a:pt x="1" y="25841"/>
                      <a:pt x="27" y="33293"/>
                      <a:pt x="58" y="33293"/>
                    </a:cubicBezTo>
                    <a:cubicBezTo>
                      <a:pt x="89" y="33293"/>
                      <a:pt x="115" y="25841"/>
                      <a:pt x="115" y="16647"/>
                    </a:cubicBezTo>
                    <a:cubicBezTo>
                      <a:pt x="115" y="7452"/>
                      <a:pt x="89" y="1"/>
                      <a:pt x="58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254;p26">
                <a:extLst>
                  <a:ext uri="{FF2B5EF4-FFF2-40B4-BE49-F238E27FC236}">
                    <a16:creationId xmlns:a16="http://schemas.microsoft.com/office/drawing/2014/main" id="{D4357FFF-6F7E-2F00-D0AF-373DFF2AF518}"/>
                  </a:ext>
                </a:extLst>
              </p:cNvPr>
              <p:cNvSpPr/>
              <p:nvPr/>
            </p:nvSpPr>
            <p:spPr>
              <a:xfrm>
                <a:off x="253178" y="2086723"/>
                <a:ext cx="22382" cy="22337"/>
              </a:xfrm>
              <a:custGeom>
                <a:avLst/>
                <a:gdLst/>
                <a:ahLst/>
                <a:cxnLst/>
                <a:rect l="l" t="t" r="r" b="b"/>
                <a:pathLst>
                  <a:path w="491" h="490" extrusionOk="0">
                    <a:moveTo>
                      <a:pt x="246" y="0"/>
                    </a:moveTo>
                    <a:cubicBezTo>
                      <a:pt x="109" y="0"/>
                      <a:pt x="0" y="109"/>
                      <a:pt x="0" y="245"/>
                    </a:cubicBezTo>
                    <a:cubicBezTo>
                      <a:pt x="0" y="381"/>
                      <a:pt x="109" y="490"/>
                      <a:pt x="246" y="490"/>
                    </a:cubicBezTo>
                    <a:cubicBezTo>
                      <a:pt x="381" y="490"/>
                      <a:pt x="490" y="381"/>
                      <a:pt x="490" y="245"/>
                    </a:cubicBezTo>
                    <a:cubicBezTo>
                      <a:pt x="490" y="109"/>
                      <a:pt x="381" y="0"/>
                      <a:pt x="24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" name="Google Shape;255;p26">
                <a:extLst>
                  <a:ext uri="{FF2B5EF4-FFF2-40B4-BE49-F238E27FC236}">
                    <a16:creationId xmlns:a16="http://schemas.microsoft.com/office/drawing/2014/main" id="{36A18CF5-48CB-C8E6-015E-50A4EB8BFAFB}"/>
                  </a:ext>
                </a:extLst>
              </p:cNvPr>
              <p:cNvSpPr/>
              <p:nvPr/>
            </p:nvSpPr>
            <p:spPr>
              <a:xfrm>
                <a:off x="-224917" y="1767355"/>
                <a:ext cx="22337" cy="22382"/>
              </a:xfrm>
              <a:custGeom>
                <a:avLst/>
                <a:gdLst/>
                <a:ahLst/>
                <a:cxnLst/>
                <a:rect l="l" t="t" r="r" b="b"/>
                <a:pathLst>
                  <a:path w="490" h="491" extrusionOk="0">
                    <a:moveTo>
                      <a:pt x="245" y="1"/>
                    </a:moveTo>
                    <a:cubicBezTo>
                      <a:pt x="109" y="1"/>
                      <a:pt x="0" y="110"/>
                      <a:pt x="0" y="245"/>
                    </a:cubicBezTo>
                    <a:cubicBezTo>
                      <a:pt x="0" y="381"/>
                      <a:pt x="109" y="491"/>
                      <a:pt x="245" y="491"/>
                    </a:cubicBezTo>
                    <a:cubicBezTo>
                      <a:pt x="381" y="491"/>
                      <a:pt x="490" y="381"/>
                      <a:pt x="490" y="245"/>
                    </a:cubicBezTo>
                    <a:cubicBezTo>
                      <a:pt x="490" y="110"/>
                      <a:pt x="381" y="1"/>
                      <a:pt x="245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" name="Google Shape;256;p26">
                <a:extLst>
                  <a:ext uri="{FF2B5EF4-FFF2-40B4-BE49-F238E27FC236}">
                    <a16:creationId xmlns:a16="http://schemas.microsoft.com/office/drawing/2014/main" id="{CA4232A9-31D9-C3C2-866F-A9B930325B41}"/>
                  </a:ext>
                </a:extLst>
              </p:cNvPr>
              <p:cNvSpPr/>
              <p:nvPr/>
            </p:nvSpPr>
            <p:spPr>
              <a:xfrm>
                <a:off x="-235675" y="4406176"/>
                <a:ext cx="327711" cy="143137"/>
              </a:xfrm>
              <a:custGeom>
                <a:avLst/>
                <a:gdLst/>
                <a:ahLst/>
                <a:cxnLst/>
                <a:rect l="l" t="t" r="r" b="b"/>
                <a:pathLst>
                  <a:path w="7189" h="3140" extrusionOk="0">
                    <a:moveTo>
                      <a:pt x="3850" y="0"/>
                    </a:moveTo>
                    <a:lnTo>
                      <a:pt x="0" y="65"/>
                    </a:lnTo>
                    <a:lnTo>
                      <a:pt x="40" y="3077"/>
                    </a:lnTo>
                    <a:lnTo>
                      <a:pt x="280" y="3089"/>
                    </a:lnTo>
                    <a:cubicBezTo>
                      <a:pt x="798" y="3109"/>
                      <a:pt x="2100" y="3139"/>
                      <a:pt x="3379" y="3139"/>
                    </a:cubicBezTo>
                    <a:cubicBezTo>
                      <a:pt x="4722" y="3139"/>
                      <a:pt x="6040" y="3105"/>
                      <a:pt x="6402" y="2989"/>
                    </a:cubicBezTo>
                    <a:cubicBezTo>
                      <a:pt x="7189" y="2736"/>
                      <a:pt x="3903" y="2054"/>
                      <a:pt x="3903" y="2054"/>
                    </a:cubicBezTo>
                    <a:lnTo>
                      <a:pt x="385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" name="Google Shape;257;p26">
                <a:extLst>
                  <a:ext uri="{FF2B5EF4-FFF2-40B4-BE49-F238E27FC236}">
                    <a16:creationId xmlns:a16="http://schemas.microsoft.com/office/drawing/2014/main" id="{984EAD9F-97CE-F88C-807D-D57FCC0B858D}"/>
                  </a:ext>
                </a:extLst>
              </p:cNvPr>
              <p:cNvSpPr/>
              <p:nvPr/>
            </p:nvSpPr>
            <p:spPr>
              <a:xfrm>
                <a:off x="-235265" y="4494748"/>
                <a:ext cx="64366" cy="49505"/>
              </a:xfrm>
              <a:custGeom>
                <a:avLst/>
                <a:gdLst/>
                <a:ahLst/>
                <a:cxnLst/>
                <a:rect l="l" t="t" r="r" b="b"/>
                <a:pathLst>
                  <a:path w="1412" h="1086" extrusionOk="0">
                    <a:moveTo>
                      <a:pt x="114" y="1"/>
                    </a:moveTo>
                    <a:cubicBezTo>
                      <a:pt x="77" y="1"/>
                      <a:pt x="39" y="2"/>
                      <a:pt x="0" y="6"/>
                    </a:cubicBezTo>
                    <a:lnTo>
                      <a:pt x="17" y="1085"/>
                    </a:lnTo>
                    <a:lnTo>
                      <a:pt x="1411" y="1085"/>
                    </a:lnTo>
                    <a:cubicBezTo>
                      <a:pt x="1350" y="762"/>
                      <a:pt x="1167" y="470"/>
                      <a:pt x="905" y="272"/>
                    </a:cubicBezTo>
                    <a:cubicBezTo>
                      <a:pt x="673" y="99"/>
                      <a:pt x="398" y="1"/>
                      <a:pt x="11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258;p26">
                <a:extLst>
                  <a:ext uri="{FF2B5EF4-FFF2-40B4-BE49-F238E27FC236}">
                    <a16:creationId xmlns:a16="http://schemas.microsoft.com/office/drawing/2014/main" id="{D20CE5FC-89FD-2D6D-0385-D1017056831D}"/>
                  </a:ext>
                </a:extLst>
              </p:cNvPr>
              <p:cNvSpPr/>
              <p:nvPr/>
            </p:nvSpPr>
            <p:spPr>
              <a:xfrm>
                <a:off x="-233897" y="4517540"/>
                <a:ext cx="301864" cy="32046"/>
              </a:xfrm>
              <a:custGeom>
                <a:avLst/>
                <a:gdLst/>
                <a:ahLst/>
                <a:cxnLst/>
                <a:rect l="l" t="t" r="r" b="b"/>
                <a:pathLst>
                  <a:path w="6622" h="703" extrusionOk="0">
                    <a:moveTo>
                      <a:pt x="5472" y="0"/>
                    </a:moveTo>
                    <a:cubicBezTo>
                      <a:pt x="5245" y="13"/>
                      <a:pt x="5140" y="502"/>
                      <a:pt x="5140" y="502"/>
                    </a:cubicBezTo>
                    <a:lnTo>
                      <a:pt x="5" y="546"/>
                    </a:lnTo>
                    <a:lnTo>
                      <a:pt x="1" y="634"/>
                    </a:lnTo>
                    <a:cubicBezTo>
                      <a:pt x="680" y="681"/>
                      <a:pt x="1659" y="702"/>
                      <a:pt x="2652" y="702"/>
                    </a:cubicBezTo>
                    <a:cubicBezTo>
                      <a:pt x="4500" y="702"/>
                      <a:pt x="6395" y="627"/>
                      <a:pt x="6486" y="502"/>
                    </a:cubicBezTo>
                    <a:cubicBezTo>
                      <a:pt x="6621" y="310"/>
                      <a:pt x="5472" y="0"/>
                      <a:pt x="547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259;p26">
                <a:extLst>
                  <a:ext uri="{FF2B5EF4-FFF2-40B4-BE49-F238E27FC236}">
                    <a16:creationId xmlns:a16="http://schemas.microsoft.com/office/drawing/2014/main" id="{F92677AD-F3C4-4B1E-8689-89FBB5100DAD}"/>
                  </a:ext>
                </a:extLst>
              </p:cNvPr>
              <p:cNvSpPr/>
              <p:nvPr/>
            </p:nvSpPr>
            <p:spPr>
              <a:xfrm>
                <a:off x="-236450" y="4537415"/>
                <a:ext cx="298217" cy="7020"/>
              </a:xfrm>
              <a:custGeom>
                <a:avLst/>
                <a:gdLst/>
                <a:ahLst/>
                <a:cxnLst/>
                <a:rect l="l" t="t" r="r" b="b"/>
                <a:pathLst>
                  <a:path w="6542" h="154" extrusionOk="0">
                    <a:moveTo>
                      <a:pt x="6472" y="0"/>
                    </a:moveTo>
                    <a:cubicBezTo>
                      <a:pt x="6415" y="6"/>
                      <a:pt x="6354" y="6"/>
                      <a:pt x="6284" y="10"/>
                    </a:cubicBezTo>
                    <a:cubicBezTo>
                      <a:pt x="6092" y="14"/>
                      <a:pt x="5860" y="22"/>
                      <a:pt x="5580" y="36"/>
                    </a:cubicBezTo>
                    <a:cubicBezTo>
                      <a:pt x="4991" y="58"/>
                      <a:pt x="4174" y="84"/>
                      <a:pt x="3268" y="97"/>
                    </a:cubicBezTo>
                    <a:cubicBezTo>
                      <a:pt x="2590" y="107"/>
                      <a:pt x="1959" y="112"/>
                      <a:pt x="1434" y="112"/>
                    </a:cubicBezTo>
                    <a:cubicBezTo>
                      <a:pt x="1263" y="112"/>
                      <a:pt x="1103" y="112"/>
                      <a:pt x="957" y="110"/>
                    </a:cubicBezTo>
                    <a:cubicBezTo>
                      <a:pt x="682" y="110"/>
                      <a:pt x="450" y="105"/>
                      <a:pt x="257" y="105"/>
                    </a:cubicBezTo>
                    <a:lnTo>
                      <a:pt x="65" y="105"/>
                    </a:lnTo>
                    <a:cubicBezTo>
                      <a:pt x="21" y="105"/>
                      <a:pt x="0" y="110"/>
                      <a:pt x="0" y="110"/>
                    </a:cubicBezTo>
                    <a:cubicBezTo>
                      <a:pt x="0" y="110"/>
                      <a:pt x="21" y="115"/>
                      <a:pt x="65" y="115"/>
                    </a:cubicBezTo>
                    <a:cubicBezTo>
                      <a:pt x="122" y="119"/>
                      <a:pt x="188" y="123"/>
                      <a:pt x="257" y="123"/>
                    </a:cubicBezTo>
                    <a:cubicBezTo>
                      <a:pt x="450" y="127"/>
                      <a:pt x="682" y="137"/>
                      <a:pt x="957" y="145"/>
                    </a:cubicBezTo>
                    <a:cubicBezTo>
                      <a:pt x="1283" y="150"/>
                      <a:pt x="1676" y="153"/>
                      <a:pt x="2114" y="153"/>
                    </a:cubicBezTo>
                    <a:cubicBezTo>
                      <a:pt x="2474" y="153"/>
                      <a:pt x="2864" y="151"/>
                      <a:pt x="3273" y="145"/>
                    </a:cubicBezTo>
                    <a:cubicBezTo>
                      <a:pt x="4174" y="127"/>
                      <a:pt x="4991" y="97"/>
                      <a:pt x="5585" y="66"/>
                    </a:cubicBezTo>
                    <a:cubicBezTo>
                      <a:pt x="5860" y="49"/>
                      <a:pt x="6092" y="36"/>
                      <a:pt x="6284" y="27"/>
                    </a:cubicBezTo>
                    <a:cubicBezTo>
                      <a:pt x="6354" y="18"/>
                      <a:pt x="6415" y="14"/>
                      <a:pt x="6472" y="10"/>
                    </a:cubicBezTo>
                    <a:cubicBezTo>
                      <a:pt x="6516" y="10"/>
                      <a:pt x="6542" y="6"/>
                      <a:pt x="6542" y="6"/>
                    </a:cubicBezTo>
                    <a:cubicBezTo>
                      <a:pt x="6542" y="0"/>
                      <a:pt x="6516" y="0"/>
                      <a:pt x="647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260;p26">
                <a:extLst>
                  <a:ext uri="{FF2B5EF4-FFF2-40B4-BE49-F238E27FC236}">
                    <a16:creationId xmlns:a16="http://schemas.microsoft.com/office/drawing/2014/main" id="{0BE17E3D-294A-8824-325C-3F32F684A93B}"/>
                  </a:ext>
                </a:extLst>
              </p:cNvPr>
              <p:cNvSpPr/>
              <p:nvPr/>
            </p:nvSpPr>
            <p:spPr>
              <a:xfrm>
                <a:off x="-730" y="4515443"/>
                <a:ext cx="17915" cy="27807"/>
              </a:xfrm>
              <a:custGeom>
                <a:avLst/>
                <a:gdLst/>
                <a:ahLst/>
                <a:cxnLst/>
                <a:rect l="l" t="t" r="r" b="b"/>
                <a:pathLst>
                  <a:path w="393" h="610" extrusionOk="0">
                    <a:moveTo>
                      <a:pt x="380" y="1"/>
                    </a:moveTo>
                    <a:cubicBezTo>
                      <a:pt x="356" y="1"/>
                      <a:pt x="209" y="76"/>
                      <a:pt x="108" y="252"/>
                    </a:cubicBezTo>
                    <a:cubicBezTo>
                      <a:pt x="0" y="428"/>
                      <a:pt x="11" y="609"/>
                      <a:pt x="25" y="609"/>
                    </a:cubicBezTo>
                    <a:cubicBezTo>
                      <a:pt x="25" y="609"/>
                      <a:pt x="25" y="609"/>
                      <a:pt x="25" y="609"/>
                    </a:cubicBezTo>
                    <a:cubicBezTo>
                      <a:pt x="38" y="609"/>
                      <a:pt x="47" y="444"/>
                      <a:pt x="147" y="273"/>
                    </a:cubicBezTo>
                    <a:cubicBezTo>
                      <a:pt x="248" y="98"/>
                      <a:pt x="392" y="10"/>
                      <a:pt x="383" y="2"/>
                    </a:cubicBezTo>
                    <a:cubicBezTo>
                      <a:pt x="383" y="1"/>
                      <a:pt x="381" y="1"/>
                      <a:pt x="380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261;p26">
                <a:extLst>
                  <a:ext uri="{FF2B5EF4-FFF2-40B4-BE49-F238E27FC236}">
                    <a16:creationId xmlns:a16="http://schemas.microsoft.com/office/drawing/2014/main" id="{6EA54A0A-CFC0-08B7-1B85-B9327D389FAE}"/>
                  </a:ext>
                </a:extLst>
              </p:cNvPr>
              <p:cNvSpPr/>
              <p:nvPr/>
            </p:nvSpPr>
            <p:spPr>
              <a:xfrm>
                <a:off x="-52378" y="4502953"/>
                <a:ext cx="9983" cy="14815"/>
              </a:xfrm>
              <a:custGeom>
                <a:avLst/>
                <a:gdLst/>
                <a:ahLst/>
                <a:cxnLst/>
                <a:rect l="l" t="t" r="r" b="b"/>
                <a:pathLst>
                  <a:path w="219" h="325" extrusionOk="0">
                    <a:moveTo>
                      <a:pt x="204" y="1"/>
                    </a:moveTo>
                    <a:cubicBezTo>
                      <a:pt x="192" y="1"/>
                      <a:pt x="142" y="65"/>
                      <a:pt x="87" y="153"/>
                    </a:cubicBezTo>
                    <a:cubicBezTo>
                      <a:pt x="35" y="241"/>
                      <a:pt x="0" y="320"/>
                      <a:pt x="9" y="324"/>
                    </a:cubicBezTo>
                    <a:cubicBezTo>
                      <a:pt x="9" y="325"/>
                      <a:pt x="10" y="325"/>
                      <a:pt x="11" y="325"/>
                    </a:cubicBezTo>
                    <a:cubicBezTo>
                      <a:pt x="27" y="325"/>
                      <a:pt x="77" y="262"/>
                      <a:pt x="126" y="175"/>
                    </a:cubicBezTo>
                    <a:cubicBezTo>
                      <a:pt x="184" y="88"/>
                      <a:pt x="218" y="10"/>
                      <a:pt x="205" y="1"/>
                    </a:cubicBezTo>
                    <a:cubicBezTo>
                      <a:pt x="204" y="1"/>
                      <a:pt x="204" y="1"/>
                      <a:pt x="204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" name="Google Shape;262;p26">
                <a:extLst>
                  <a:ext uri="{FF2B5EF4-FFF2-40B4-BE49-F238E27FC236}">
                    <a16:creationId xmlns:a16="http://schemas.microsoft.com/office/drawing/2014/main" id="{4C4D3172-81EA-6513-BC71-A4A72398357C}"/>
                  </a:ext>
                </a:extLst>
              </p:cNvPr>
              <p:cNvSpPr/>
              <p:nvPr/>
            </p:nvSpPr>
            <p:spPr>
              <a:xfrm>
                <a:off x="-66737" y="4500492"/>
                <a:ext cx="11579" cy="10165"/>
              </a:xfrm>
              <a:custGeom>
                <a:avLst/>
                <a:gdLst/>
                <a:ahLst/>
                <a:cxnLst/>
                <a:rect l="l" t="t" r="r" b="b"/>
                <a:pathLst>
                  <a:path w="254" h="223" extrusionOk="0">
                    <a:moveTo>
                      <a:pt x="240" y="0"/>
                    </a:moveTo>
                    <a:cubicBezTo>
                      <a:pt x="221" y="0"/>
                      <a:pt x="167" y="41"/>
                      <a:pt x="114" y="94"/>
                    </a:cubicBezTo>
                    <a:cubicBezTo>
                      <a:pt x="48" y="155"/>
                      <a:pt x="1" y="213"/>
                      <a:pt x="9" y="221"/>
                    </a:cubicBezTo>
                    <a:cubicBezTo>
                      <a:pt x="10" y="222"/>
                      <a:pt x="11" y="222"/>
                      <a:pt x="13" y="222"/>
                    </a:cubicBezTo>
                    <a:cubicBezTo>
                      <a:pt x="29" y="222"/>
                      <a:pt x="85" y="185"/>
                      <a:pt x="144" y="129"/>
                    </a:cubicBezTo>
                    <a:cubicBezTo>
                      <a:pt x="210" y="68"/>
                      <a:pt x="253" y="11"/>
                      <a:pt x="245" y="3"/>
                    </a:cubicBezTo>
                    <a:cubicBezTo>
                      <a:pt x="244" y="1"/>
                      <a:pt x="242" y="0"/>
                      <a:pt x="240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4" name="Google Shape;263;p26">
                <a:extLst>
                  <a:ext uri="{FF2B5EF4-FFF2-40B4-BE49-F238E27FC236}">
                    <a16:creationId xmlns:a16="http://schemas.microsoft.com/office/drawing/2014/main" id="{5F205B8F-67A0-1FEF-C240-09D993AAFE7F}"/>
                  </a:ext>
                </a:extLst>
              </p:cNvPr>
              <p:cNvSpPr/>
              <p:nvPr/>
            </p:nvSpPr>
            <p:spPr>
              <a:xfrm>
                <a:off x="-75718" y="4492970"/>
                <a:ext cx="18599" cy="2279"/>
              </a:xfrm>
              <a:custGeom>
                <a:avLst/>
                <a:gdLst/>
                <a:ahLst/>
                <a:cxnLst/>
                <a:rect l="l" t="t" r="r" b="b"/>
                <a:pathLst>
                  <a:path w="408" h="50" extrusionOk="0">
                    <a:moveTo>
                      <a:pt x="206" y="1"/>
                    </a:moveTo>
                    <a:cubicBezTo>
                      <a:pt x="93" y="1"/>
                      <a:pt x="0" y="10"/>
                      <a:pt x="0" y="23"/>
                    </a:cubicBezTo>
                    <a:cubicBezTo>
                      <a:pt x="5" y="37"/>
                      <a:pt x="93" y="49"/>
                      <a:pt x="206" y="49"/>
                    </a:cubicBezTo>
                    <a:cubicBezTo>
                      <a:pt x="315" y="45"/>
                      <a:pt x="407" y="37"/>
                      <a:pt x="407" y="23"/>
                    </a:cubicBezTo>
                    <a:cubicBezTo>
                      <a:pt x="407" y="10"/>
                      <a:pt x="315" y="1"/>
                      <a:pt x="206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264;p26">
                <a:extLst>
                  <a:ext uri="{FF2B5EF4-FFF2-40B4-BE49-F238E27FC236}">
                    <a16:creationId xmlns:a16="http://schemas.microsoft.com/office/drawing/2014/main" id="{C47737A6-B6D5-89BE-DB3D-C9A40D45381A}"/>
                  </a:ext>
                </a:extLst>
              </p:cNvPr>
              <p:cNvSpPr/>
              <p:nvPr/>
            </p:nvSpPr>
            <p:spPr>
              <a:xfrm>
                <a:off x="-79136" y="4482258"/>
                <a:ext cx="21197" cy="3100"/>
              </a:xfrm>
              <a:custGeom>
                <a:avLst/>
                <a:gdLst/>
                <a:ahLst/>
                <a:cxnLst/>
                <a:rect l="l" t="t" r="r" b="b"/>
                <a:pathLst>
                  <a:path w="465" h="68" extrusionOk="0">
                    <a:moveTo>
                      <a:pt x="21" y="0"/>
                    </a:moveTo>
                    <a:cubicBezTo>
                      <a:pt x="12" y="0"/>
                      <a:pt x="6" y="1"/>
                      <a:pt x="5" y="4"/>
                    </a:cubicBezTo>
                    <a:cubicBezTo>
                      <a:pt x="1" y="18"/>
                      <a:pt x="102" y="57"/>
                      <a:pt x="233" y="66"/>
                    </a:cubicBezTo>
                    <a:cubicBezTo>
                      <a:pt x="248" y="67"/>
                      <a:pt x="263" y="68"/>
                      <a:pt x="278" y="68"/>
                    </a:cubicBezTo>
                    <a:cubicBezTo>
                      <a:pt x="386" y="68"/>
                      <a:pt x="464" y="42"/>
                      <a:pt x="460" y="30"/>
                    </a:cubicBezTo>
                    <a:cubicBezTo>
                      <a:pt x="460" y="18"/>
                      <a:pt x="360" y="26"/>
                      <a:pt x="233" y="18"/>
                    </a:cubicBezTo>
                    <a:cubicBezTo>
                      <a:pt x="137" y="15"/>
                      <a:pt x="55" y="0"/>
                      <a:pt x="2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" name="Google Shape;265;p26">
                <a:extLst>
                  <a:ext uri="{FF2B5EF4-FFF2-40B4-BE49-F238E27FC236}">
                    <a16:creationId xmlns:a16="http://schemas.microsoft.com/office/drawing/2014/main" id="{478B55F0-629B-00B6-C3CB-769346AB1E37}"/>
                  </a:ext>
                </a:extLst>
              </p:cNvPr>
              <p:cNvSpPr/>
              <p:nvPr/>
            </p:nvSpPr>
            <p:spPr>
              <a:xfrm>
                <a:off x="-46224" y="4486178"/>
                <a:ext cx="33323" cy="19237"/>
              </a:xfrm>
              <a:custGeom>
                <a:avLst/>
                <a:gdLst/>
                <a:ahLst/>
                <a:cxnLst/>
                <a:rect l="l" t="t" r="r" b="b"/>
                <a:pathLst>
                  <a:path w="731" h="422" extrusionOk="0">
                    <a:moveTo>
                      <a:pt x="495" y="46"/>
                    </a:moveTo>
                    <a:cubicBezTo>
                      <a:pt x="551" y="46"/>
                      <a:pt x="607" y="57"/>
                      <a:pt x="652" y="85"/>
                    </a:cubicBezTo>
                    <a:cubicBezTo>
                      <a:pt x="691" y="111"/>
                      <a:pt x="678" y="159"/>
                      <a:pt x="634" y="186"/>
                    </a:cubicBezTo>
                    <a:cubicBezTo>
                      <a:pt x="594" y="212"/>
                      <a:pt x="542" y="229"/>
                      <a:pt x="495" y="246"/>
                    </a:cubicBezTo>
                    <a:cubicBezTo>
                      <a:pt x="402" y="281"/>
                      <a:pt x="315" y="303"/>
                      <a:pt x="241" y="317"/>
                    </a:cubicBezTo>
                    <a:cubicBezTo>
                      <a:pt x="166" y="332"/>
                      <a:pt x="106" y="340"/>
                      <a:pt x="65" y="344"/>
                    </a:cubicBezTo>
                    <a:lnTo>
                      <a:pt x="65" y="344"/>
                    </a:lnTo>
                    <a:cubicBezTo>
                      <a:pt x="80" y="307"/>
                      <a:pt x="104" y="258"/>
                      <a:pt x="144" y="207"/>
                    </a:cubicBezTo>
                    <a:cubicBezTo>
                      <a:pt x="192" y="150"/>
                      <a:pt x="263" y="98"/>
                      <a:pt x="354" y="67"/>
                    </a:cubicBezTo>
                    <a:cubicBezTo>
                      <a:pt x="395" y="55"/>
                      <a:pt x="445" y="46"/>
                      <a:pt x="495" y="46"/>
                    </a:cubicBezTo>
                    <a:close/>
                    <a:moveTo>
                      <a:pt x="490" y="0"/>
                    </a:moveTo>
                    <a:cubicBezTo>
                      <a:pt x="326" y="0"/>
                      <a:pt x="183" y="97"/>
                      <a:pt x="122" y="190"/>
                    </a:cubicBezTo>
                    <a:cubicBezTo>
                      <a:pt x="78" y="247"/>
                      <a:pt x="56" y="303"/>
                      <a:pt x="46" y="347"/>
                    </a:cubicBezTo>
                    <a:lnTo>
                      <a:pt x="46" y="347"/>
                    </a:lnTo>
                    <a:cubicBezTo>
                      <a:pt x="16" y="350"/>
                      <a:pt x="1" y="352"/>
                      <a:pt x="1" y="356"/>
                    </a:cubicBezTo>
                    <a:cubicBezTo>
                      <a:pt x="1" y="357"/>
                      <a:pt x="15" y="360"/>
                      <a:pt x="43" y="361"/>
                    </a:cubicBezTo>
                    <a:lnTo>
                      <a:pt x="43" y="361"/>
                    </a:lnTo>
                    <a:cubicBezTo>
                      <a:pt x="35" y="401"/>
                      <a:pt x="35" y="422"/>
                      <a:pt x="35" y="422"/>
                    </a:cubicBezTo>
                    <a:cubicBezTo>
                      <a:pt x="35" y="422"/>
                      <a:pt x="36" y="422"/>
                      <a:pt x="36" y="422"/>
                    </a:cubicBezTo>
                    <a:cubicBezTo>
                      <a:pt x="40" y="422"/>
                      <a:pt x="44" y="399"/>
                      <a:pt x="58" y="362"/>
                    </a:cubicBezTo>
                    <a:lnTo>
                      <a:pt x="58" y="362"/>
                    </a:lnTo>
                    <a:cubicBezTo>
                      <a:pt x="65" y="362"/>
                      <a:pt x="72" y="362"/>
                      <a:pt x="80" y="362"/>
                    </a:cubicBezTo>
                    <a:cubicBezTo>
                      <a:pt x="121" y="362"/>
                      <a:pt x="177" y="359"/>
                      <a:pt x="245" y="351"/>
                    </a:cubicBezTo>
                    <a:cubicBezTo>
                      <a:pt x="324" y="338"/>
                      <a:pt x="411" y="321"/>
                      <a:pt x="507" y="285"/>
                    </a:cubicBezTo>
                    <a:cubicBezTo>
                      <a:pt x="555" y="269"/>
                      <a:pt x="608" y="255"/>
                      <a:pt x="660" y="224"/>
                    </a:cubicBezTo>
                    <a:cubicBezTo>
                      <a:pt x="682" y="207"/>
                      <a:pt x="709" y="180"/>
                      <a:pt x="717" y="146"/>
                    </a:cubicBezTo>
                    <a:cubicBezTo>
                      <a:pt x="731" y="107"/>
                      <a:pt x="709" y="67"/>
                      <a:pt x="678" y="45"/>
                    </a:cubicBezTo>
                    <a:cubicBezTo>
                      <a:pt x="614" y="13"/>
                      <a:pt x="551" y="0"/>
                      <a:pt x="490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" name="Google Shape;266;p26">
                <a:extLst>
                  <a:ext uri="{FF2B5EF4-FFF2-40B4-BE49-F238E27FC236}">
                    <a16:creationId xmlns:a16="http://schemas.microsoft.com/office/drawing/2014/main" id="{9A10FF06-9AB2-0348-19A2-8DB1E3951826}"/>
                  </a:ext>
                </a:extLst>
              </p:cNvPr>
              <p:cNvSpPr/>
              <p:nvPr/>
            </p:nvSpPr>
            <p:spPr>
              <a:xfrm>
                <a:off x="-58806" y="4481209"/>
                <a:ext cx="17231" cy="21835"/>
              </a:xfrm>
              <a:custGeom>
                <a:avLst/>
                <a:gdLst/>
                <a:ahLst/>
                <a:cxnLst/>
                <a:rect l="l" t="t" r="r" b="b"/>
                <a:pathLst>
                  <a:path w="378" h="479" extrusionOk="0">
                    <a:moveTo>
                      <a:pt x="100" y="0"/>
                    </a:moveTo>
                    <a:cubicBezTo>
                      <a:pt x="94" y="0"/>
                      <a:pt x="89" y="1"/>
                      <a:pt x="84" y="1"/>
                    </a:cubicBezTo>
                    <a:cubicBezTo>
                      <a:pt x="27" y="10"/>
                      <a:pt x="1" y="75"/>
                      <a:pt x="10" y="115"/>
                    </a:cubicBezTo>
                    <a:cubicBezTo>
                      <a:pt x="19" y="158"/>
                      <a:pt x="36" y="198"/>
                      <a:pt x="53" y="224"/>
                    </a:cubicBezTo>
                    <a:cubicBezTo>
                      <a:pt x="93" y="289"/>
                      <a:pt x="136" y="338"/>
                      <a:pt x="176" y="373"/>
                    </a:cubicBezTo>
                    <a:cubicBezTo>
                      <a:pt x="249" y="442"/>
                      <a:pt x="307" y="474"/>
                      <a:pt x="318" y="474"/>
                    </a:cubicBezTo>
                    <a:cubicBezTo>
                      <a:pt x="319" y="474"/>
                      <a:pt x="319" y="473"/>
                      <a:pt x="320" y="473"/>
                    </a:cubicBezTo>
                    <a:cubicBezTo>
                      <a:pt x="325" y="465"/>
                      <a:pt x="267" y="430"/>
                      <a:pt x="198" y="351"/>
                    </a:cubicBezTo>
                    <a:cubicBezTo>
                      <a:pt x="162" y="311"/>
                      <a:pt x="128" y="263"/>
                      <a:pt x="93" y="202"/>
                    </a:cubicBezTo>
                    <a:cubicBezTo>
                      <a:pt x="57" y="154"/>
                      <a:pt x="31" y="59"/>
                      <a:pt x="93" y="45"/>
                    </a:cubicBezTo>
                    <a:cubicBezTo>
                      <a:pt x="95" y="45"/>
                      <a:pt x="97" y="45"/>
                      <a:pt x="99" y="45"/>
                    </a:cubicBezTo>
                    <a:cubicBezTo>
                      <a:pt x="162" y="45"/>
                      <a:pt x="221" y="103"/>
                      <a:pt x="259" y="150"/>
                    </a:cubicBezTo>
                    <a:cubicBezTo>
                      <a:pt x="299" y="202"/>
                      <a:pt x="320" y="259"/>
                      <a:pt x="333" y="307"/>
                    </a:cubicBezTo>
                    <a:cubicBezTo>
                      <a:pt x="355" y="408"/>
                      <a:pt x="333" y="473"/>
                      <a:pt x="337" y="478"/>
                    </a:cubicBezTo>
                    <a:cubicBezTo>
                      <a:pt x="342" y="478"/>
                      <a:pt x="377" y="416"/>
                      <a:pt x="364" y="303"/>
                    </a:cubicBezTo>
                    <a:cubicBezTo>
                      <a:pt x="359" y="251"/>
                      <a:pt x="337" y="185"/>
                      <a:pt x="293" y="124"/>
                    </a:cubicBezTo>
                    <a:cubicBezTo>
                      <a:pt x="252" y="74"/>
                      <a:pt x="199" y="0"/>
                      <a:pt x="100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8" name="Google Shape;267;p26">
                <a:extLst>
                  <a:ext uri="{FF2B5EF4-FFF2-40B4-BE49-F238E27FC236}">
                    <a16:creationId xmlns:a16="http://schemas.microsoft.com/office/drawing/2014/main" id="{9C00EF3F-0033-08BC-5636-CF96155F888A}"/>
                  </a:ext>
                </a:extLst>
              </p:cNvPr>
              <p:cNvSpPr/>
              <p:nvPr/>
            </p:nvSpPr>
            <p:spPr>
              <a:xfrm>
                <a:off x="-233670" y="4492924"/>
                <a:ext cx="63363" cy="49916"/>
              </a:xfrm>
              <a:custGeom>
                <a:avLst/>
                <a:gdLst/>
                <a:ahLst/>
                <a:cxnLst/>
                <a:rect l="l" t="t" r="r" b="b"/>
                <a:pathLst>
                  <a:path w="1390" h="1095" extrusionOk="0">
                    <a:moveTo>
                      <a:pt x="220" y="0"/>
                    </a:moveTo>
                    <a:cubicBezTo>
                      <a:pt x="161" y="0"/>
                      <a:pt x="113" y="4"/>
                      <a:pt x="75" y="11"/>
                    </a:cubicBezTo>
                    <a:cubicBezTo>
                      <a:pt x="26" y="20"/>
                      <a:pt x="0" y="28"/>
                      <a:pt x="0" y="32"/>
                    </a:cubicBezTo>
                    <a:cubicBezTo>
                      <a:pt x="0" y="34"/>
                      <a:pt x="4" y="35"/>
                      <a:pt x="12" y="35"/>
                    </a:cubicBezTo>
                    <a:cubicBezTo>
                      <a:pt x="32" y="35"/>
                      <a:pt x="77" y="30"/>
                      <a:pt x="142" y="30"/>
                    </a:cubicBezTo>
                    <a:cubicBezTo>
                      <a:pt x="182" y="30"/>
                      <a:pt x="230" y="32"/>
                      <a:pt x="284" y="38"/>
                    </a:cubicBezTo>
                    <a:cubicBezTo>
                      <a:pt x="458" y="50"/>
                      <a:pt x="700" y="121"/>
                      <a:pt x="909" y="282"/>
                    </a:cubicBezTo>
                    <a:cubicBezTo>
                      <a:pt x="1123" y="444"/>
                      <a:pt x="1250" y="662"/>
                      <a:pt x="1307" y="824"/>
                    </a:cubicBezTo>
                    <a:cubicBezTo>
                      <a:pt x="1367" y="983"/>
                      <a:pt x="1376" y="1095"/>
                      <a:pt x="1385" y="1095"/>
                    </a:cubicBezTo>
                    <a:cubicBezTo>
                      <a:pt x="1385" y="1095"/>
                      <a:pt x="1385" y="1095"/>
                      <a:pt x="1386" y="1095"/>
                    </a:cubicBezTo>
                    <a:cubicBezTo>
                      <a:pt x="1390" y="1095"/>
                      <a:pt x="1390" y="1069"/>
                      <a:pt x="1386" y="1020"/>
                    </a:cubicBezTo>
                    <a:cubicBezTo>
                      <a:pt x="1381" y="968"/>
                      <a:pt x="1368" y="898"/>
                      <a:pt x="1337" y="811"/>
                    </a:cubicBezTo>
                    <a:cubicBezTo>
                      <a:pt x="1285" y="641"/>
                      <a:pt x="1158" y="413"/>
                      <a:pt x="940" y="242"/>
                    </a:cubicBezTo>
                    <a:cubicBezTo>
                      <a:pt x="716" y="76"/>
                      <a:pt x="468" y="11"/>
                      <a:pt x="289" y="2"/>
                    </a:cubicBezTo>
                    <a:cubicBezTo>
                      <a:pt x="264" y="1"/>
                      <a:pt x="242" y="0"/>
                      <a:pt x="220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268;p26">
                <a:extLst>
                  <a:ext uri="{FF2B5EF4-FFF2-40B4-BE49-F238E27FC236}">
                    <a16:creationId xmlns:a16="http://schemas.microsoft.com/office/drawing/2014/main" id="{0B5CAC08-811E-DACD-E907-4184D88476DE}"/>
                  </a:ext>
                </a:extLst>
              </p:cNvPr>
              <p:cNvSpPr/>
              <p:nvPr/>
            </p:nvSpPr>
            <p:spPr>
              <a:xfrm>
                <a:off x="-217760" y="4420900"/>
                <a:ext cx="2416" cy="72115"/>
              </a:xfrm>
              <a:custGeom>
                <a:avLst/>
                <a:gdLst/>
                <a:ahLst/>
                <a:cxnLst/>
                <a:rect l="l" t="t" r="r" b="b"/>
                <a:pathLst>
                  <a:path w="53" h="1582" extrusionOk="0">
                    <a:moveTo>
                      <a:pt x="22" y="0"/>
                    </a:moveTo>
                    <a:cubicBezTo>
                      <a:pt x="10" y="0"/>
                      <a:pt x="0" y="354"/>
                      <a:pt x="5" y="791"/>
                    </a:cubicBezTo>
                    <a:cubicBezTo>
                      <a:pt x="5" y="1229"/>
                      <a:pt x="18" y="1582"/>
                      <a:pt x="31" y="1582"/>
                    </a:cubicBezTo>
                    <a:cubicBezTo>
                      <a:pt x="44" y="1582"/>
                      <a:pt x="53" y="1229"/>
                      <a:pt x="49" y="791"/>
                    </a:cubicBezTo>
                    <a:cubicBezTo>
                      <a:pt x="49" y="354"/>
                      <a:pt x="36" y="0"/>
                      <a:pt x="2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269;p26">
                <a:extLst>
                  <a:ext uri="{FF2B5EF4-FFF2-40B4-BE49-F238E27FC236}">
                    <a16:creationId xmlns:a16="http://schemas.microsoft.com/office/drawing/2014/main" id="{7866D3A4-63BA-63B4-3B4F-1B891612E136}"/>
                  </a:ext>
                </a:extLst>
              </p:cNvPr>
              <p:cNvSpPr/>
              <p:nvPr/>
            </p:nvSpPr>
            <p:spPr>
              <a:xfrm>
                <a:off x="-148426" y="4525837"/>
                <a:ext cx="51420" cy="2690"/>
              </a:xfrm>
              <a:custGeom>
                <a:avLst/>
                <a:gdLst/>
                <a:ahLst/>
                <a:cxnLst/>
                <a:rect l="l" t="t" r="r" b="b"/>
                <a:pathLst>
                  <a:path w="1128" h="59" extrusionOk="0">
                    <a:moveTo>
                      <a:pt x="1075" y="1"/>
                    </a:moveTo>
                    <a:cubicBezTo>
                      <a:pt x="986" y="1"/>
                      <a:pt x="792" y="11"/>
                      <a:pt x="564" y="14"/>
                    </a:cubicBezTo>
                    <a:cubicBezTo>
                      <a:pt x="357" y="14"/>
                      <a:pt x="176" y="9"/>
                      <a:pt x="77" y="9"/>
                    </a:cubicBezTo>
                    <a:cubicBezTo>
                      <a:pt x="28" y="9"/>
                      <a:pt x="0" y="10"/>
                      <a:pt x="0" y="14"/>
                    </a:cubicBezTo>
                    <a:cubicBezTo>
                      <a:pt x="0" y="23"/>
                      <a:pt x="225" y="59"/>
                      <a:pt x="517" y="59"/>
                    </a:cubicBezTo>
                    <a:cubicBezTo>
                      <a:pt x="533" y="59"/>
                      <a:pt x="548" y="58"/>
                      <a:pt x="564" y="58"/>
                    </a:cubicBezTo>
                    <a:cubicBezTo>
                      <a:pt x="879" y="58"/>
                      <a:pt x="1128" y="14"/>
                      <a:pt x="1128" y="6"/>
                    </a:cubicBezTo>
                    <a:cubicBezTo>
                      <a:pt x="1127" y="2"/>
                      <a:pt x="1108" y="1"/>
                      <a:pt x="1075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270;p26">
                <a:extLst>
                  <a:ext uri="{FF2B5EF4-FFF2-40B4-BE49-F238E27FC236}">
                    <a16:creationId xmlns:a16="http://schemas.microsoft.com/office/drawing/2014/main" id="{861AA472-4A4C-9541-8581-BD20F75D3EFF}"/>
                  </a:ext>
                </a:extLst>
              </p:cNvPr>
              <p:cNvSpPr/>
              <p:nvPr/>
            </p:nvSpPr>
            <p:spPr>
              <a:xfrm>
                <a:off x="-183298" y="4526840"/>
                <a:ext cx="6017" cy="10029"/>
              </a:xfrm>
              <a:custGeom>
                <a:avLst/>
                <a:gdLst/>
                <a:ahLst/>
                <a:cxnLst/>
                <a:rect l="l" t="t" r="r" b="b"/>
                <a:pathLst>
                  <a:path w="132" h="220" extrusionOk="0">
                    <a:moveTo>
                      <a:pt x="13" y="0"/>
                    </a:moveTo>
                    <a:cubicBezTo>
                      <a:pt x="11" y="0"/>
                      <a:pt x="10" y="1"/>
                      <a:pt x="9" y="2"/>
                    </a:cubicBezTo>
                    <a:cubicBezTo>
                      <a:pt x="1" y="14"/>
                      <a:pt x="31" y="54"/>
                      <a:pt x="57" y="115"/>
                    </a:cubicBezTo>
                    <a:cubicBezTo>
                      <a:pt x="88" y="172"/>
                      <a:pt x="101" y="220"/>
                      <a:pt x="114" y="220"/>
                    </a:cubicBezTo>
                    <a:cubicBezTo>
                      <a:pt x="127" y="220"/>
                      <a:pt x="132" y="159"/>
                      <a:pt x="101" y="93"/>
                    </a:cubicBezTo>
                    <a:cubicBezTo>
                      <a:pt x="74" y="35"/>
                      <a:pt x="29" y="0"/>
                      <a:pt x="1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" name="Google Shape;271;p26">
                <a:extLst>
                  <a:ext uri="{FF2B5EF4-FFF2-40B4-BE49-F238E27FC236}">
                    <a16:creationId xmlns:a16="http://schemas.microsoft.com/office/drawing/2014/main" id="{4D404F0D-A9FB-B397-A02F-BC2E45671CA5}"/>
                  </a:ext>
                </a:extLst>
              </p:cNvPr>
              <p:cNvSpPr/>
              <p:nvPr/>
            </p:nvSpPr>
            <p:spPr>
              <a:xfrm>
                <a:off x="-196427" y="4510839"/>
                <a:ext cx="7385" cy="6792"/>
              </a:xfrm>
              <a:custGeom>
                <a:avLst/>
                <a:gdLst/>
                <a:ahLst/>
                <a:cxnLst/>
                <a:rect l="l" t="t" r="r" b="b"/>
                <a:pathLst>
                  <a:path w="162" h="149" extrusionOk="0">
                    <a:moveTo>
                      <a:pt x="13" y="1"/>
                    </a:moveTo>
                    <a:cubicBezTo>
                      <a:pt x="11" y="1"/>
                      <a:pt x="10" y="1"/>
                      <a:pt x="9" y="2"/>
                    </a:cubicBezTo>
                    <a:cubicBezTo>
                      <a:pt x="0" y="16"/>
                      <a:pt x="22" y="55"/>
                      <a:pt x="66" y="95"/>
                    </a:cubicBezTo>
                    <a:cubicBezTo>
                      <a:pt x="99" y="128"/>
                      <a:pt x="134" y="149"/>
                      <a:pt x="148" y="149"/>
                    </a:cubicBezTo>
                    <a:cubicBezTo>
                      <a:pt x="150" y="149"/>
                      <a:pt x="152" y="148"/>
                      <a:pt x="153" y="147"/>
                    </a:cubicBezTo>
                    <a:cubicBezTo>
                      <a:pt x="162" y="138"/>
                      <a:pt x="140" y="99"/>
                      <a:pt x="97" y="59"/>
                    </a:cubicBezTo>
                    <a:cubicBezTo>
                      <a:pt x="62" y="25"/>
                      <a:pt x="28" y="1"/>
                      <a:pt x="1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" name="Google Shape;272;p26">
                <a:extLst>
                  <a:ext uri="{FF2B5EF4-FFF2-40B4-BE49-F238E27FC236}">
                    <a16:creationId xmlns:a16="http://schemas.microsoft.com/office/drawing/2014/main" id="{C52DB8C0-E841-6D0A-BF09-55A22BB29D58}"/>
                  </a:ext>
                </a:extLst>
              </p:cNvPr>
              <p:cNvSpPr/>
              <p:nvPr/>
            </p:nvSpPr>
            <p:spPr>
              <a:xfrm>
                <a:off x="-214889" y="4502953"/>
                <a:ext cx="10485" cy="4285"/>
              </a:xfrm>
              <a:custGeom>
                <a:avLst/>
                <a:gdLst/>
                <a:ahLst/>
                <a:cxnLst/>
                <a:rect l="l" t="t" r="r" b="b"/>
                <a:pathLst>
                  <a:path w="230" h="94" extrusionOk="0">
                    <a:moveTo>
                      <a:pt x="68" y="0"/>
                    </a:moveTo>
                    <a:cubicBezTo>
                      <a:pt x="27" y="0"/>
                      <a:pt x="1" y="13"/>
                      <a:pt x="3" y="22"/>
                    </a:cubicBezTo>
                    <a:cubicBezTo>
                      <a:pt x="8" y="36"/>
                      <a:pt x="56" y="36"/>
                      <a:pt x="113" y="54"/>
                    </a:cubicBezTo>
                    <a:cubicBezTo>
                      <a:pt x="162" y="68"/>
                      <a:pt x="203" y="94"/>
                      <a:pt x="217" y="94"/>
                    </a:cubicBezTo>
                    <a:cubicBezTo>
                      <a:pt x="219" y="94"/>
                      <a:pt x="221" y="93"/>
                      <a:pt x="222" y="92"/>
                    </a:cubicBezTo>
                    <a:cubicBezTo>
                      <a:pt x="230" y="84"/>
                      <a:pt x="200" y="32"/>
                      <a:pt x="130" y="10"/>
                    </a:cubicBezTo>
                    <a:cubicBezTo>
                      <a:pt x="107" y="3"/>
                      <a:pt x="86" y="0"/>
                      <a:pt x="68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4" name="Google Shape;273;p26">
                <a:extLst>
                  <a:ext uri="{FF2B5EF4-FFF2-40B4-BE49-F238E27FC236}">
                    <a16:creationId xmlns:a16="http://schemas.microsoft.com/office/drawing/2014/main" id="{D5998CFE-DDD1-0B27-79D5-E53D5F45D4D0}"/>
                  </a:ext>
                </a:extLst>
              </p:cNvPr>
              <p:cNvSpPr/>
              <p:nvPr/>
            </p:nvSpPr>
            <p:spPr>
              <a:xfrm>
                <a:off x="-228336" y="4500309"/>
                <a:ext cx="5835" cy="2781"/>
              </a:xfrm>
              <a:custGeom>
                <a:avLst/>
                <a:gdLst/>
                <a:ahLst/>
                <a:cxnLst/>
                <a:rect l="l" t="t" r="r" b="b"/>
                <a:pathLst>
                  <a:path w="128" h="61" extrusionOk="0">
                    <a:moveTo>
                      <a:pt x="28" y="1"/>
                    </a:moveTo>
                    <a:cubicBezTo>
                      <a:pt x="17" y="1"/>
                      <a:pt x="8" y="4"/>
                      <a:pt x="6" y="11"/>
                    </a:cubicBezTo>
                    <a:cubicBezTo>
                      <a:pt x="1" y="19"/>
                      <a:pt x="23" y="41"/>
                      <a:pt x="58" y="54"/>
                    </a:cubicBezTo>
                    <a:cubicBezTo>
                      <a:pt x="72" y="58"/>
                      <a:pt x="86" y="61"/>
                      <a:pt x="97" y="61"/>
                    </a:cubicBezTo>
                    <a:cubicBezTo>
                      <a:pt x="111" y="61"/>
                      <a:pt x="121" y="57"/>
                      <a:pt x="123" y="50"/>
                    </a:cubicBezTo>
                    <a:cubicBezTo>
                      <a:pt x="127" y="41"/>
                      <a:pt x="105" y="19"/>
                      <a:pt x="71" y="11"/>
                    </a:cubicBezTo>
                    <a:cubicBezTo>
                      <a:pt x="56" y="4"/>
                      <a:pt x="40" y="1"/>
                      <a:pt x="28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5" name="Google Shape;274;p26">
                <a:extLst>
                  <a:ext uri="{FF2B5EF4-FFF2-40B4-BE49-F238E27FC236}">
                    <a16:creationId xmlns:a16="http://schemas.microsoft.com/office/drawing/2014/main" id="{B1F7D427-955E-EFC9-CBE2-39285A21C50E}"/>
                  </a:ext>
                </a:extLst>
              </p:cNvPr>
              <p:cNvSpPr/>
              <p:nvPr/>
            </p:nvSpPr>
            <p:spPr>
              <a:xfrm>
                <a:off x="557412" y="1720904"/>
                <a:ext cx="199024" cy="228563"/>
              </a:xfrm>
              <a:custGeom>
                <a:avLst/>
                <a:gdLst/>
                <a:ahLst/>
                <a:cxnLst/>
                <a:rect l="l" t="t" r="r" b="b"/>
                <a:pathLst>
                  <a:path w="4366" h="5014" extrusionOk="0">
                    <a:moveTo>
                      <a:pt x="3564" y="1"/>
                    </a:moveTo>
                    <a:cubicBezTo>
                      <a:pt x="3147" y="1"/>
                      <a:pt x="0" y="3253"/>
                      <a:pt x="0" y="3253"/>
                    </a:cubicBezTo>
                    <a:lnTo>
                      <a:pt x="1813" y="5014"/>
                    </a:lnTo>
                    <a:cubicBezTo>
                      <a:pt x="4365" y="3104"/>
                      <a:pt x="2784" y="1898"/>
                      <a:pt x="2582" y="1720"/>
                    </a:cubicBezTo>
                    <a:cubicBezTo>
                      <a:pt x="2382" y="1540"/>
                      <a:pt x="3889" y="159"/>
                      <a:pt x="3588" y="6"/>
                    </a:cubicBezTo>
                    <a:cubicBezTo>
                      <a:pt x="3582" y="2"/>
                      <a:pt x="3574" y="1"/>
                      <a:pt x="3564" y="1"/>
                    </a:cubicBezTo>
                    <a:close/>
                  </a:path>
                </a:pathLst>
              </a:custGeom>
              <a:solidFill>
                <a:srgbClr val="E5BAA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6" name="Google Shape;275;p26">
                <a:extLst>
                  <a:ext uri="{FF2B5EF4-FFF2-40B4-BE49-F238E27FC236}">
                    <a16:creationId xmlns:a16="http://schemas.microsoft.com/office/drawing/2014/main" id="{68872A67-F656-B134-B52B-9010AC0EF051}"/>
                  </a:ext>
                </a:extLst>
              </p:cNvPr>
              <p:cNvSpPr/>
              <p:nvPr/>
            </p:nvSpPr>
            <p:spPr>
              <a:xfrm>
                <a:off x="640058" y="1808564"/>
                <a:ext cx="46679" cy="60446"/>
              </a:xfrm>
              <a:custGeom>
                <a:avLst/>
                <a:gdLst/>
                <a:ahLst/>
                <a:cxnLst/>
                <a:rect l="l" t="t" r="r" b="b"/>
                <a:pathLst>
                  <a:path w="1024" h="1326" extrusionOk="0">
                    <a:moveTo>
                      <a:pt x="734" y="1"/>
                    </a:moveTo>
                    <a:cubicBezTo>
                      <a:pt x="728" y="1"/>
                      <a:pt x="702" y="36"/>
                      <a:pt x="664" y="89"/>
                    </a:cubicBezTo>
                    <a:cubicBezTo>
                      <a:pt x="608" y="172"/>
                      <a:pt x="551" y="259"/>
                      <a:pt x="494" y="347"/>
                    </a:cubicBezTo>
                    <a:cubicBezTo>
                      <a:pt x="412" y="469"/>
                      <a:pt x="328" y="596"/>
                      <a:pt x="245" y="727"/>
                    </a:cubicBezTo>
                    <a:cubicBezTo>
                      <a:pt x="197" y="801"/>
                      <a:pt x="149" y="872"/>
                      <a:pt x="97" y="954"/>
                    </a:cubicBezTo>
                    <a:cubicBezTo>
                      <a:pt x="53" y="1033"/>
                      <a:pt x="0" y="1151"/>
                      <a:pt x="79" y="1251"/>
                    </a:cubicBezTo>
                    <a:cubicBezTo>
                      <a:pt x="124" y="1304"/>
                      <a:pt x="185" y="1325"/>
                      <a:pt x="246" y="1325"/>
                    </a:cubicBezTo>
                    <a:cubicBezTo>
                      <a:pt x="290" y="1325"/>
                      <a:pt x="335" y="1314"/>
                      <a:pt x="372" y="1295"/>
                    </a:cubicBezTo>
                    <a:cubicBezTo>
                      <a:pt x="464" y="1247"/>
                      <a:pt x="521" y="1168"/>
                      <a:pt x="564" y="1094"/>
                    </a:cubicBezTo>
                    <a:cubicBezTo>
                      <a:pt x="652" y="959"/>
                      <a:pt x="730" y="832"/>
                      <a:pt x="809" y="709"/>
                    </a:cubicBezTo>
                    <a:cubicBezTo>
                      <a:pt x="862" y="618"/>
                      <a:pt x="914" y="531"/>
                      <a:pt x="966" y="443"/>
                    </a:cubicBezTo>
                    <a:cubicBezTo>
                      <a:pt x="1001" y="382"/>
                      <a:pt x="1023" y="347"/>
                      <a:pt x="1019" y="342"/>
                    </a:cubicBezTo>
                    <a:lnTo>
                      <a:pt x="1019" y="342"/>
                    </a:lnTo>
                    <a:cubicBezTo>
                      <a:pt x="1019" y="342"/>
                      <a:pt x="993" y="373"/>
                      <a:pt x="953" y="434"/>
                    </a:cubicBezTo>
                    <a:cubicBezTo>
                      <a:pt x="896" y="517"/>
                      <a:pt x="840" y="600"/>
                      <a:pt x="779" y="692"/>
                    </a:cubicBezTo>
                    <a:cubicBezTo>
                      <a:pt x="700" y="810"/>
                      <a:pt x="616" y="937"/>
                      <a:pt x="529" y="1072"/>
                    </a:cubicBezTo>
                    <a:cubicBezTo>
                      <a:pt x="485" y="1142"/>
                      <a:pt x="428" y="1212"/>
                      <a:pt x="350" y="1251"/>
                    </a:cubicBezTo>
                    <a:cubicBezTo>
                      <a:pt x="321" y="1268"/>
                      <a:pt x="285" y="1277"/>
                      <a:pt x="249" y="1277"/>
                    </a:cubicBezTo>
                    <a:cubicBezTo>
                      <a:pt x="199" y="1277"/>
                      <a:pt x="147" y="1259"/>
                      <a:pt x="114" y="1221"/>
                    </a:cubicBezTo>
                    <a:cubicBezTo>
                      <a:pt x="57" y="1155"/>
                      <a:pt x="92" y="1055"/>
                      <a:pt x="136" y="976"/>
                    </a:cubicBezTo>
                    <a:cubicBezTo>
                      <a:pt x="184" y="902"/>
                      <a:pt x="232" y="823"/>
                      <a:pt x="281" y="749"/>
                    </a:cubicBezTo>
                    <a:cubicBezTo>
                      <a:pt x="363" y="618"/>
                      <a:pt x="442" y="487"/>
                      <a:pt x="521" y="364"/>
                    </a:cubicBezTo>
                    <a:cubicBezTo>
                      <a:pt x="577" y="273"/>
                      <a:pt x="630" y="185"/>
                      <a:pt x="678" y="102"/>
                    </a:cubicBezTo>
                    <a:cubicBezTo>
                      <a:pt x="717" y="37"/>
                      <a:pt x="735" y="1"/>
                      <a:pt x="735" y="1"/>
                    </a:cubicBezTo>
                    <a:cubicBezTo>
                      <a:pt x="734" y="1"/>
                      <a:pt x="734" y="1"/>
                      <a:pt x="734" y="1"/>
                    </a:cubicBezTo>
                    <a:close/>
                  </a:path>
                </a:pathLst>
              </a:custGeom>
              <a:solidFill>
                <a:srgbClr val="D7877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7" name="Google Shape;276;p26">
                <a:extLst>
                  <a:ext uri="{FF2B5EF4-FFF2-40B4-BE49-F238E27FC236}">
                    <a16:creationId xmlns:a16="http://schemas.microsoft.com/office/drawing/2014/main" id="{9E7FA515-6DFB-A721-875A-7D65DBB570BA}"/>
                  </a:ext>
                </a:extLst>
              </p:cNvPr>
              <p:cNvSpPr/>
              <p:nvPr/>
            </p:nvSpPr>
            <p:spPr>
              <a:xfrm>
                <a:off x="657152" y="1828895"/>
                <a:ext cx="37106" cy="52104"/>
              </a:xfrm>
              <a:custGeom>
                <a:avLst/>
                <a:gdLst/>
                <a:ahLst/>
                <a:cxnLst/>
                <a:rect l="l" t="t" r="r" b="b"/>
                <a:pathLst>
                  <a:path w="814" h="1143" extrusionOk="0">
                    <a:moveTo>
                      <a:pt x="574" y="1"/>
                    </a:moveTo>
                    <a:cubicBezTo>
                      <a:pt x="574" y="1"/>
                      <a:pt x="547" y="27"/>
                      <a:pt x="513" y="75"/>
                    </a:cubicBezTo>
                    <a:cubicBezTo>
                      <a:pt x="473" y="128"/>
                      <a:pt x="425" y="202"/>
                      <a:pt x="364" y="299"/>
                    </a:cubicBezTo>
                    <a:cubicBezTo>
                      <a:pt x="307" y="390"/>
                      <a:pt x="237" y="508"/>
                      <a:pt x="154" y="626"/>
                    </a:cubicBezTo>
                    <a:cubicBezTo>
                      <a:pt x="115" y="688"/>
                      <a:pt x="63" y="749"/>
                      <a:pt x="31" y="827"/>
                    </a:cubicBezTo>
                    <a:cubicBezTo>
                      <a:pt x="1" y="906"/>
                      <a:pt x="1" y="1011"/>
                      <a:pt x="67" y="1085"/>
                    </a:cubicBezTo>
                    <a:cubicBezTo>
                      <a:pt x="101" y="1127"/>
                      <a:pt x="150" y="1143"/>
                      <a:pt x="199" y="1143"/>
                    </a:cubicBezTo>
                    <a:cubicBezTo>
                      <a:pt x="243" y="1143"/>
                      <a:pt x="287" y="1130"/>
                      <a:pt x="320" y="1112"/>
                    </a:cubicBezTo>
                    <a:cubicBezTo>
                      <a:pt x="398" y="1072"/>
                      <a:pt x="456" y="1011"/>
                      <a:pt x="503" y="954"/>
                    </a:cubicBezTo>
                    <a:cubicBezTo>
                      <a:pt x="600" y="840"/>
                      <a:pt x="670" y="722"/>
                      <a:pt x="713" y="622"/>
                    </a:cubicBezTo>
                    <a:cubicBezTo>
                      <a:pt x="761" y="517"/>
                      <a:pt x="788" y="430"/>
                      <a:pt x="801" y="368"/>
                    </a:cubicBezTo>
                    <a:cubicBezTo>
                      <a:pt x="814" y="307"/>
                      <a:pt x="814" y="272"/>
                      <a:pt x="814" y="272"/>
                    </a:cubicBezTo>
                    <a:cubicBezTo>
                      <a:pt x="814" y="272"/>
                      <a:pt x="814" y="272"/>
                      <a:pt x="813" y="272"/>
                    </a:cubicBezTo>
                    <a:cubicBezTo>
                      <a:pt x="805" y="272"/>
                      <a:pt x="782" y="411"/>
                      <a:pt x="683" y="609"/>
                    </a:cubicBezTo>
                    <a:cubicBezTo>
                      <a:pt x="634" y="705"/>
                      <a:pt x="565" y="819"/>
                      <a:pt x="469" y="928"/>
                    </a:cubicBezTo>
                    <a:cubicBezTo>
                      <a:pt x="421" y="985"/>
                      <a:pt x="368" y="1037"/>
                      <a:pt x="303" y="1072"/>
                    </a:cubicBezTo>
                    <a:cubicBezTo>
                      <a:pt x="272" y="1088"/>
                      <a:pt x="237" y="1098"/>
                      <a:pt x="203" y="1098"/>
                    </a:cubicBezTo>
                    <a:cubicBezTo>
                      <a:pt x="163" y="1098"/>
                      <a:pt x="125" y="1085"/>
                      <a:pt x="97" y="1055"/>
                    </a:cubicBezTo>
                    <a:cubicBezTo>
                      <a:pt x="49" y="997"/>
                      <a:pt x="49" y="910"/>
                      <a:pt x="75" y="845"/>
                    </a:cubicBezTo>
                    <a:cubicBezTo>
                      <a:pt x="102" y="775"/>
                      <a:pt x="150" y="714"/>
                      <a:pt x="189" y="652"/>
                    </a:cubicBezTo>
                    <a:cubicBezTo>
                      <a:pt x="273" y="525"/>
                      <a:pt x="338" y="412"/>
                      <a:pt x="394" y="315"/>
                    </a:cubicBezTo>
                    <a:cubicBezTo>
                      <a:pt x="438" y="237"/>
                      <a:pt x="482" y="163"/>
                      <a:pt x="525" y="85"/>
                    </a:cubicBezTo>
                    <a:cubicBezTo>
                      <a:pt x="561" y="32"/>
                      <a:pt x="578" y="1"/>
                      <a:pt x="574" y="1"/>
                    </a:cubicBezTo>
                    <a:close/>
                  </a:path>
                </a:pathLst>
              </a:custGeom>
              <a:solidFill>
                <a:srgbClr val="D7877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" name="Google Shape;277;p26">
                <a:extLst>
                  <a:ext uri="{FF2B5EF4-FFF2-40B4-BE49-F238E27FC236}">
                    <a16:creationId xmlns:a16="http://schemas.microsoft.com/office/drawing/2014/main" id="{C18C5FE4-BB1E-1CED-DEE1-FE1B106C8D9D}"/>
                  </a:ext>
                </a:extLst>
              </p:cNvPr>
              <p:cNvSpPr/>
              <p:nvPr/>
            </p:nvSpPr>
            <p:spPr>
              <a:xfrm>
                <a:off x="590871" y="1833453"/>
                <a:ext cx="74349" cy="34736"/>
              </a:xfrm>
              <a:custGeom>
                <a:avLst/>
                <a:gdLst/>
                <a:ahLst/>
                <a:cxnLst/>
                <a:rect l="l" t="t" r="r" b="b"/>
                <a:pathLst>
                  <a:path w="1631" h="762" extrusionOk="0">
                    <a:moveTo>
                      <a:pt x="1523" y="0"/>
                    </a:moveTo>
                    <a:cubicBezTo>
                      <a:pt x="1512" y="0"/>
                      <a:pt x="1501" y="2"/>
                      <a:pt x="1491" y="2"/>
                    </a:cubicBezTo>
                    <a:cubicBezTo>
                      <a:pt x="1088" y="28"/>
                      <a:pt x="686" y="54"/>
                      <a:pt x="284" y="84"/>
                    </a:cubicBezTo>
                    <a:lnTo>
                      <a:pt x="0" y="762"/>
                    </a:lnTo>
                    <a:cubicBezTo>
                      <a:pt x="192" y="749"/>
                      <a:pt x="384" y="740"/>
                      <a:pt x="577" y="727"/>
                    </a:cubicBezTo>
                    <a:cubicBezTo>
                      <a:pt x="787" y="714"/>
                      <a:pt x="1001" y="701"/>
                      <a:pt x="1193" y="622"/>
                    </a:cubicBezTo>
                    <a:cubicBezTo>
                      <a:pt x="1390" y="544"/>
                      <a:pt x="1569" y="386"/>
                      <a:pt x="1612" y="181"/>
                    </a:cubicBezTo>
                    <a:cubicBezTo>
                      <a:pt x="1630" y="116"/>
                      <a:pt x="1616" y="28"/>
                      <a:pt x="1556" y="6"/>
                    </a:cubicBezTo>
                    <a:cubicBezTo>
                      <a:pt x="1545" y="2"/>
                      <a:pt x="1534" y="0"/>
                      <a:pt x="1523" y="0"/>
                    </a:cubicBezTo>
                    <a:close/>
                  </a:path>
                </a:pathLst>
              </a:custGeom>
              <a:solidFill>
                <a:srgbClr val="E5BAA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9" name="Google Shape;278;p26">
                <a:extLst>
                  <a:ext uri="{FF2B5EF4-FFF2-40B4-BE49-F238E27FC236}">
                    <a16:creationId xmlns:a16="http://schemas.microsoft.com/office/drawing/2014/main" id="{812186CB-8A06-809C-074C-F0CF0D130D01}"/>
                  </a:ext>
                </a:extLst>
              </p:cNvPr>
              <p:cNvSpPr/>
              <p:nvPr/>
            </p:nvSpPr>
            <p:spPr>
              <a:xfrm>
                <a:off x="590689" y="1832405"/>
                <a:ext cx="75534" cy="35967"/>
              </a:xfrm>
              <a:custGeom>
                <a:avLst/>
                <a:gdLst/>
                <a:ahLst/>
                <a:cxnLst/>
                <a:rect l="l" t="t" r="r" b="b"/>
                <a:pathLst>
                  <a:path w="1657" h="789" extrusionOk="0">
                    <a:moveTo>
                      <a:pt x="1505" y="1"/>
                    </a:moveTo>
                    <a:cubicBezTo>
                      <a:pt x="1486" y="1"/>
                      <a:pt x="1469" y="4"/>
                      <a:pt x="1451" y="8"/>
                    </a:cubicBezTo>
                    <a:cubicBezTo>
                      <a:pt x="1398" y="8"/>
                      <a:pt x="1346" y="12"/>
                      <a:pt x="1297" y="16"/>
                    </a:cubicBezTo>
                    <a:cubicBezTo>
                      <a:pt x="1110" y="29"/>
                      <a:pt x="935" y="42"/>
                      <a:pt x="773" y="55"/>
                    </a:cubicBezTo>
                    <a:cubicBezTo>
                      <a:pt x="646" y="69"/>
                      <a:pt x="529" y="77"/>
                      <a:pt x="420" y="86"/>
                    </a:cubicBezTo>
                    <a:cubicBezTo>
                      <a:pt x="336" y="95"/>
                      <a:pt x="288" y="103"/>
                      <a:pt x="288" y="107"/>
                    </a:cubicBezTo>
                    <a:lnTo>
                      <a:pt x="420" y="107"/>
                    </a:lnTo>
                    <a:cubicBezTo>
                      <a:pt x="533" y="99"/>
                      <a:pt x="646" y="95"/>
                      <a:pt x="773" y="91"/>
                    </a:cubicBezTo>
                    <a:cubicBezTo>
                      <a:pt x="939" y="81"/>
                      <a:pt x="1114" y="69"/>
                      <a:pt x="1302" y="60"/>
                    </a:cubicBezTo>
                    <a:cubicBezTo>
                      <a:pt x="1350" y="55"/>
                      <a:pt x="1402" y="51"/>
                      <a:pt x="1451" y="51"/>
                    </a:cubicBezTo>
                    <a:cubicBezTo>
                      <a:pt x="1473" y="49"/>
                      <a:pt x="1495" y="47"/>
                      <a:pt x="1514" y="47"/>
                    </a:cubicBezTo>
                    <a:cubicBezTo>
                      <a:pt x="1542" y="47"/>
                      <a:pt x="1566" y="52"/>
                      <a:pt x="1582" y="73"/>
                    </a:cubicBezTo>
                    <a:cubicBezTo>
                      <a:pt x="1630" y="151"/>
                      <a:pt x="1582" y="270"/>
                      <a:pt x="1525" y="357"/>
                    </a:cubicBezTo>
                    <a:cubicBezTo>
                      <a:pt x="1402" y="545"/>
                      <a:pt x="1193" y="641"/>
                      <a:pt x="1005" y="680"/>
                    </a:cubicBezTo>
                    <a:cubicBezTo>
                      <a:pt x="813" y="720"/>
                      <a:pt x="634" y="728"/>
                      <a:pt x="485" y="737"/>
                    </a:cubicBezTo>
                    <a:cubicBezTo>
                      <a:pt x="358" y="750"/>
                      <a:pt x="244" y="759"/>
                      <a:pt x="131" y="768"/>
                    </a:cubicBezTo>
                    <a:cubicBezTo>
                      <a:pt x="47" y="777"/>
                      <a:pt x="0" y="781"/>
                      <a:pt x="4" y="785"/>
                    </a:cubicBezTo>
                    <a:cubicBezTo>
                      <a:pt x="4" y="787"/>
                      <a:pt x="15" y="788"/>
                      <a:pt x="36" y="788"/>
                    </a:cubicBezTo>
                    <a:cubicBezTo>
                      <a:pt x="57" y="788"/>
                      <a:pt x="89" y="787"/>
                      <a:pt x="131" y="785"/>
                    </a:cubicBezTo>
                    <a:cubicBezTo>
                      <a:pt x="244" y="781"/>
                      <a:pt x="362" y="777"/>
                      <a:pt x="489" y="772"/>
                    </a:cubicBezTo>
                    <a:cubicBezTo>
                      <a:pt x="638" y="763"/>
                      <a:pt x="817" y="763"/>
                      <a:pt x="1013" y="724"/>
                    </a:cubicBezTo>
                    <a:cubicBezTo>
                      <a:pt x="1210" y="684"/>
                      <a:pt x="1433" y="589"/>
                      <a:pt x="1564" y="383"/>
                    </a:cubicBezTo>
                    <a:cubicBezTo>
                      <a:pt x="1600" y="335"/>
                      <a:pt x="1620" y="278"/>
                      <a:pt x="1638" y="222"/>
                    </a:cubicBezTo>
                    <a:cubicBezTo>
                      <a:pt x="1652" y="165"/>
                      <a:pt x="1656" y="99"/>
                      <a:pt x="1616" y="47"/>
                    </a:cubicBezTo>
                    <a:cubicBezTo>
                      <a:pt x="1600" y="16"/>
                      <a:pt x="1560" y="2"/>
                      <a:pt x="1529" y="2"/>
                    </a:cubicBezTo>
                    <a:cubicBezTo>
                      <a:pt x="1521" y="1"/>
                      <a:pt x="1513" y="1"/>
                      <a:pt x="1505" y="1"/>
                    </a:cubicBezTo>
                    <a:close/>
                  </a:path>
                </a:pathLst>
              </a:custGeom>
              <a:solidFill>
                <a:srgbClr val="D7877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" name="Google Shape;279;p26">
                <a:extLst>
                  <a:ext uri="{FF2B5EF4-FFF2-40B4-BE49-F238E27FC236}">
                    <a16:creationId xmlns:a16="http://schemas.microsoft.com/office/drawing/2014/main" id="{8B58459D-7771-2902-15F7-E4A0FB1F9D95}"/>
                  </a:ext>
                </a:extLst>
              </p:cNvPr>
              <p:cNvSpPr/>
              <p:nvPr/>
            </p:nvSpPr>
            <p:spPr>
              <a:xfrm>
                <a:off x="676708" y="1844667"/>
                <a:ext cx="26941" cy="45084"/>
              </a:xfrm>
              <a:custGeom>
                <a:avLst/>
                <a:gdLst/>
                <a:ahLst/>
                <a:cxnLst/>
                <a:rect l="l" t="t" r="r" b="b"/>
                <a:pathLst>
                  <a:path w="591" h="989" extrusionOk="0">
                    <a:moveTo>
                      <a:pt x="368" y="1"/>
                    </a:moveTo>
                    <a:cubicBezTo>
                      <a:pt x="359" y="1"/>
                      <a:pt x="310" y="96"/>
                      <a:pt x="237" y="258"/>
                    </a:cubicBezTo>
                    <a:cubicBezTo>
                      <a:pt x="193" y="354"/>
                      <a:pt x="149" y="451"/>
                      <a:pt x="106" y="542"/>
                    </a:cubicBezTo>
                    <a:cubicBezTo>
                      <a:pt x="84" y="595"/>
                      <a:pt x="58" y="647"/>
                      <a:pt x="36" y="713"/>
                    </a:cubicBezTo>
                    <a:cubicBezTo>
                      <a:pt x="14" y="774"/>
                      <a:pt x="1" y="857"/>
                      <a:pt x="48" y="923"/>
                    </a:cubicBezTo>
                    <a:cubicBezTo>
                      <a:pt x="70" y="953"/>
                      <a:pt x="101" y="979"/>
                      <a:pt x="145" y="988"/>
                    </a:cubicBezTo>
                    <a:cubicBezTo>
                      <a:pt x="150" y="988"/>
                      <a:pt x="155" y="989"/>
                      <a:pt x="160" y="989"/>
                    </a:cubicBezTo>
                    <a:cubicBezTo>
                      <a:pt x="194" y="989"/>
                      <a:pt x="227" y="977"/>
                      <a:pt x="250" y="962"/>
                    </a:cubicBezTo>
                    <a:cubicBezTo>
                      <a:pt x="310" y="923"/>
                      <a:pt x="354" y="875"/>
                      <a:pt x="385" y="822"/>
                    </a:cubicBezTo>
                    <a:cubicBezTo>
                      <a:pt x="451" y="717"/>
                      <a:pt x="473" y="612"/>
                      <a:pt x="499" y="530"/>
                    </a:cubicBezTo>
                    <a:cubicBezTo>
                      <a:pt x="520" y="441"/>
                      <a:pt x="542" y="376"/>
                      <a:pt x="560" y="328"/>
                    </a:cubicBezTo>
                    <a:cubicBezTo>
                      <a:pt x="578" y="284"/>
                      <a:pt x="590" y="258"/>
                      <a:pt x="586" y="258"/>
                    </a:cubicBezTo>
                    <a:cubicBezTo>
                      <a:pt x="586" y="258"/>
                      <a:pt x="586" y="258"/>
                      <a:pt x="586" y="258"/>
                    </a:cubicBezTo>
                    <a:cubicBezTo>
                      <a:pt x="579" y="258"/>
                      <a:pt x="515" y="350"/>
                      <a:pt x="468" y="516"/>
                    </a:cubicBezTo>
                    <a:cubicBezTo>
                      <a:pt x="437" y="604"/>
                      <a:pt x="411" y="704"/>
                      <a:pt x="350" y="800"/>
                    </a:cubicBezTo>
                    <a:cubicBezTo>
                      <a:pt x="320" y="844"/>
                      <a:pt x="276" y="892"/>
                      <a:pt x="227" y="923"/>
                    </a:cubicBezTo>
                    <a:cubicBezTo>
                      <a:pt x="208" y="935"/>
                      <a:pt x="186" y="942"/>
                      <a:pt x="165" y="942"/>
                    </a:cubicBezTo>
                    <a:cubicBezTo>
                      <a:pt x="135" y="942"/>
                      <a:pt x="106" y="928"/>
                      <a:pt x="88" y="897"/>
                    </a:cubicBezTo>
                    <a:cubicBezTo>
                      <a:pt x="18" y="792"/>
                      <a:pt x="110" y="665"/>
                      <a:pt x="145" y="560"/>
                    </a:cubicBezTo>
                    <a:cubicBezTo>
                      <a:pt x="184" y="463"/>
                      <a:pt x="223" y="368"/>
                      <a:pt x="267" y="272"/>
                    </a:cubicBezTo>
                    <a:cubicBezTo>
                      <a:pt x="332" y="106"/>
                      <a:pt x="372" y="5"/>
                      <a:pt x="368" y="1"/>
                    </a:cubicBezTo>
                    <a:close/>
                  </a:path>
                </a:pathLst>
              </a:custGeom>
              <a:solidFill>
                <a:srgbClr val="D7877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" name="Google Shape;280;p26">
                <a:extLst>
                  <a:ext uri="{FF2B5EF4-FFF2-40B4-BE49-F238E27FC236}">
                    <a16:creationId xmlns:a16="http://schemas.microsoft.com/office/drawing/2014/main" id="{066A3217-CCED-009E-64FF-62DCC9045213}"/>
                  </a:ext>
                </a:extLst>
              </p:cNvPr>
              <p:cNvSpPr/>
              <p:nvPr/>
            </p:nvSpPr>
            <p:spPr>
              <a:xfrm>
                <a:off x="633265" y="1865180"/>
                <a:ext cx="6655" cy="46861"/>
              </a:xfrm>
              <a:custGeom>
                <a:avLst/>
                <a:gdLst/>
                <a:ahLst/>
                <a:cxnLst/>
                <a:rect l="l" t="t" r="r" b="b"/>
                <a:pathLst>
                  <a:path w="146" h="1028" extrusionOk="0">
                    <a:moveTo>
                      <a:pt x="80" y="1"/>
                    </a:moveTo>
                    <a:cubicBezTo>
                      <a:pt x="79" y="1"/>
                      <a:pt x="79" y="1"/>
                      <a:pt x="79" y="1"/>
                    </a:cubicBezTo>
                    <a:cubicBezTo>
                      <a:pt x="67" y="1"/>
                      <a:pt x="101" y="233"/>
                      <a:pt x="79" y="516"/>
                    </a:cubicBezTo>
                    <a:cubicBezTo>
                      <a:pt x="62" y="800"/>
                      <a:pt x="1" y="1024"/>
                      <a:pt x="14" y="1028"/>
                    </a:cubicBezTo>
                    <a:cubicBezTo>
                      <a:pt x="14" y="1028"/>
                      <a:pt x="14" y="1028"/>
                      <a:pt x="14" y="1028"/>
                    </a:cubicBezTo>
                    <a:cubicBezTo>
                      <a:pt x="24" y="1028"/>
                      <a:pt x="110" y="807"/>
                      <a:pt x="127" y="521"/>
                    </a:cubicBezTo>
                    <a:cubicBezTo>
                      <a:pt x="145" y="230"/>
                      <a:pt x="94" y="1"/>
                      <a:pt x="80" y="1"/>
                    </a:cubicBezTo>
                    <a:close/>
                  </a:path>
                </a:pathLst>
              </a:custGeom>
              <a:solidFill>
                <a:srgbClr val="D7877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2" name="Google Shape;281;p26">
                <a:extLst>
                  <a:ext uri="{FF2B5EF4-FFF2-40B4-BE49-F238E27FC236}">
                    <a16:creationId xmlns:a16="http://schemas.microsoft.com/office/drawing/2014/main" id="{9B118A99-1608-48E7-5E56-C6EFEBF32BB1}"/>
                  </a:ext>
                </a:extLst>
              </p:cNvPr>
              <p:cNvSpPr/>
              <p:nvPr/>
            </p:nvSpPr>
            <p:spPr>
              <a:xfrm>
                <a:off x="-274696" y="1817590"/>
                <a:ext cx="294251" cy="305967"/>
              </a:xfrm>
              <a:custGeom>
                <a:avLst/>
                <a:gdLst/>
                <a:ahLst/>
                <a:cxnLst/>
                <a:rect l="l" t="t" r="r" b="b"/>
                <a:pathLst>
                  <a:path w="6455" h="6712" extrusionOk="0">
                    <a:moveTo>
                      <a:pt x="4295" y="0"/>
                    </a:moveTo>
                    <a:lnTo>
                      <a:pt x="0" y="4624"/>
                    </a:lnTo>
                    <a:cubicBezTo>
                      <a:pt x="283" y="5249"/>
                      <a:pt x="686" y="5839"/>
                      <a:pt x="1245" y="6237"/>
                    </a:cubicBezTo>
                    <a:cubicBezTo>
                      <a:pt x="1656" y="6532"/>
                      <a:pt x="2159" y="6711"/>
                      <a:pt x="2661" y="6711"/>
                    </a:cubicBezTo>
                    <a:cubicBezTo>
                      <a:pt x="2842" y="6711"/>
                      <a:pt x="3023" y="6688"/>
                      <a:pt x="3199" y="6638"/>
                    </a:cubicBezTo>
                    <a:cubicBezTo>
                      <a:pt x="3859" y="6451"/>
                      <a:pt x="4405" y="5839"/>
                      <a:pt x="4426" y="5152"/>
                    </a:cubicBezTo>
                    <a:cubicBezTo>
                      <a:pt x="4597" y="5350"/>
                      <a:pt x="4858" y="5452"/>
                      <a:pt x="5119" y="5452"/>
                    </a:cubicBezTo>
                    <a:cubicBezTo>
                      <a:pt x="5348" y="5452"/>
                      <a:pt x="5577" y="5373"/>
                      <a:pt x="5743" y="5214"/>
                    </a:cubicBezTo>
                    <a:cubicBezTo>
                      <a:pt x="6096" y="4873"/>
                      <a:pt x="6092" y="4234"/>
                      <a:pt x="5733" y="3899"/>
                    </a:cubicBezTo>
                    <a:cubicBezTo>
                      <a:pt x="6057" y="3732"/>
                      <a:pt x="6428" y="3496"/>
                      <a:pt x="6445" y="3129"/>
                    </a:cubicBezTo>
                    <a:cubicBezTo>
                      <a:pt x="6455" y="2897"/>
                      <a:pt x="6306" y="2683"/>
                      <a:pt x="6122" y="2535"/>
                    </a:cubicBezTo>
                    <a:cubicBezTo>
                      <a:pt x="5934" y="2391"/>
                      <a:pt x="5716" y="2299"/>
                      <a:pt x="5515" y="2177"/>
                    </a:cubicBezTo>
                    <a:cubicBezTo>
                      <a:pt x="4767" y="1731"/>
                      <a:pt x="4287" y="870"/>
                      <a:pt x="429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" name="Google Shape;282;p26">
                <a:extLst>
                  <a:ext uri="{FF2B5EF4-FFF2-40B4-BE49-F238E27FC236}">
                    <a16:creationId xmlns:a16="http://schemas.microsoft.com/office/drawing/2014/main" id="{FEBCC979-AB08-C0F6-6011-F169E55C3761}"/>
                  </a:ext>
                </a:extLst>
              </p:cNvPr>
              <p:cNvSpPr/>
              <p:nvPr/>
            </p:nvSpPr>
            <p:spPr>
              <a:xfrm>
                <a:off x="-318731" y="1708186"/>
                <a:ext cx="235674" cy="401649"/>
              </a:xfrm>
              <a:custGeom>
                <a:avLst/>
                <a:gdLst/>
                <a:ahLst/>
                <a:cxnLst/>
                <a:rect l="l" t="t" r="r" b="b"/>
                <a:pathLst>
                  <a:path w="5170" h="8811" extrusionOk="0">
                    <a:moveTo>
                      <a:pt x="2665" y="1"/>
                    </a:moveTo>
                    <a:lnTo>
                      <a:pt x="0" y="2020"/>
                    </a:lnTo>
                    <a:lnTo>
                      <a:pt x="406" y="8615"/>
                    </a:lnTo>
                    <a:lnTo>
                      <a:pt x="3597" y="8811"/>
                    </a:lnTo>
                    <a:cubicBezTo>
                      <a:pt x="3540" y="8466"/>
                      <a:pt x="3680" y="7007"/>
                      <a:pt x="3680" y="7007"/>
                    </a:cubicBezTo>
                    <a:cubicBezTo>
                      <a:pt x="3680" y="7007"/>
                      <a:pt x="5008" y="6866"/>
                      <a:pt x="5091" y="5547"/>
                    </a:cubicBezTo>
                    <a:cubicBezTo>
                      <a:pt x="5170" y="4227"/>
                      <a:pt x="5091" y="1186"/>
                      <a:pt x="5091" y="1186"/>
                    </a:cubicBezTo>
                    <a:lnTo>
                      <a:pt x="2665" y="1"/>
                    </a:lnTo>
                    <a:close/>
                  </a:path>
                </a:pathLst>
              </a:custGeom>
              <a:solidFill>
                <a:srgbClr val="E5BAA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" name="Google Shape;283;p26">
                <a:extLst>
                  <a:ext uri="{FF2B5EF4-FFF2-40B4-BE49-F238E27FC236}">
                    <a16:creationId xmlns:a16="http://schemas.microsoft.com/office/drawing/2014/main" id="{2D63F4D9-3CDE-3B9F-7945-0B005E977D87}"/>
                  </a:ext>
                </a:extLst>
              </p:cNvPr>
              <p:cNvSpPr/>
              <p:nvPr/>
            </p:nvSpPr>
            <p:spPr>
              <a:xfrm>
                <a:off x="-114146" y="1855653"/>
                <a:ext cx="15362" cy="15362"/>
              </a:xfrm>
              <a:custGeom>
                <a:avLst/>
                <a:gdLst/>
                <a:ahLst/>
                <a:cxnLst/>
                <a:rect l="l" t="t" r="r" b="b"/>
                <a:pathLst>
                  <a:path w="337" h="337" extrusionOk="0">
                    <a:moveTo>
                      <a:pt x="170" y="0"/>
                    </a:moveTo>
                    <a:cubicBezTo>
                      <a:pt x="75" y="0"/>
                      <a:pt x="0" y="75"/>
                      <a:pt x="0" y="166"/>
                    </a:cubicBezTo>
                    <a:cubicBezTo>
                      <a:pt x="0" y="262"/>
                      <a:pt x="75" y="337"/>
                      <a:pt x="170" y="337"/>
                    </a:cubicBezTo>
                    <a:cubicBezTo>
                      <a:pt x="262" y="337"/>
                      <a:pt x="337" y="262"/>
                      <a:pt x="337" y="166"/>
                    </a:cubicBezTo>
                    <a:cubicBezTo>
                      <a:pt x="337" y="75"/>
                      <a:pt x="262" y="0"/>
                      <a:pt x="17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" name="Google Shape;284;p26">
                <a:extLst>
                  <a:ext uri="{FF2B5EF4-FFF2-40B4-BE49-F238E27FC236}">
                    <a16:creationId xmlns:a16="http://schemas.microsoft.com/office/drawing/2014/main" id="{06301414-06BC-0AAC-A3FB-9C8BB695B374}"/>
                  </a:ext>
                </a:extLst>
              </p:cNvPr>
              <p:cNvSpPr/>
              <p:nvPr/>
            </p:nvSpPr>
            <p:spPr>
              <a:xfrm>
                <a:off x="-122123" y="1845579"/>
                <a:ext cx="31271" cy="9436"/>
              </a:xfrm>
              <a:custGeom>
                <a:avLst/>
                <a:gdLst/>
                <a:ahLst/>
                <a:cxnLst/>
                <a:rect l="l" t="t" r="r" b="b"/>
                <a:pathLst>
                  <a:path w="686" h="207" extrusionOk="0">
                    <a:moveTo>
                      <a:pt x="324" y="1"/>
                    </a:moveTo>
                    <a:cubicBezTo>
                      <a:pt x="222" y="1"/>
                      <a:pt x="135" y="37"/>
                      <a:pt x="83" y="72"/>
                    </a:cubicBezTo>
                    <a:cubicBezTo>
                      <a:pt x="22" y="112"/>
                      <a:pt x="0" y="151"/>
                      <a:pt x="9" y="164"/>
                    </a:cubicBezTo>
                    <a:cubicBezTo>
                      <a:pt x="12" y="168"/>
                      <a:pt x="17" y="169"/>
                      <a:pt x="23" y="169"/>
                    </a:cubicBezTo>
                    <a:cubicBezTo>
                      <a:pt x="62" y="169"/>
                      <a:pt x="170" y="111"/>
                      <a:pt x="309" y="111"/>
                    </a:cubicBezTo>
                    <a:cubicBezTo>
                      <a:pt x="321" y="111"/>
                      <a:pt x="333" y="111"/>
                      <a:pt x="345" y="112"/>
                    </a:cubicBezTo>
                    <a:cubicBezTo>
                      <a:pt x="511" y="120"/>
                      <a:pt x="631" y="206"/>
                      <a:pt x="669" y="206"/>
                    </a:cubicBezTo>
                    <a:cubicBezTo>
                      <a:pt x="672" y="206"/>
                      <a:pt x="675" y="205"/>
                      <a:pt x="678" y="203"/>
                    </a:cubicBezTo>
                    <a:cubicBezTo>
                      <a:pt x="686" y="195"/>
                      <a:pt x="669" y="151"/>
                      <a:pt x="617" y="103"/>
                    </a:cubicBezTo>
                    <a:cubicBezTo>
                      <a:pt x="560" y="54"/>
                      <a:pt x="468" y="7"/>
                      <a:pt x="355" y="2"/>
                    </a:cubicBezTo>
                    <a:cubicBezTo>
                      <a:pt x="344" y="1"/>
                      <a:pt x="334" y="1"/>
                      <a:pt x="32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" name="Google Shape;285;p26">
                <a:extLst>
                  <a:ext uri="{FF2B5EF4-FFF2-40B4-BE49-F238E27FC236}">
                    <a16:creationId xmlns:a16="http://schemas.microsoft.com/office/drawing/2014/main" id="{E127E73A-D745-9D96-A0EE-6D56BB363ABA}"/>
                  </a:ext>
                </a:extLst>
              </p:cNvPr>
              <p:cNvSpPr/>
              <p:nvPr/>
            </p:nvSpPr>
            <p:spPr>
              <a:xfrm>
                <a:off x="-203447" y="1855653"/>
                <a:ext cx="15408" cy="15362"/>
              </a:xfrm>
              <a:custGeom>
                <a:avLst/>
                <a:gdLst/>
                <a:ahLst/>
                <a:cxnLst/>
                <a:rect l="l" t="t" r="r" b="b"/>
                <a:pathLst>
                  <a:path w="338" h="337" extrusionOk="0">
                    <a:moveTo>
                      <a:pt x="172" y="0"/>
                    </a:moveTo>
                    <a:cubicBezTo>
                      <a:pt x="75" y="0"/>
                      <a:pt x="1" y="75"/>
                      <a:pt x="1" y="166"/>
                    </a:cubicBezTo>
                    <a:cubicBezTo>
                      <a:pt x="1" y="262"/>
                      <a:pt x="75" y="337"/>
                      <a:pt x="172" y="337"/>
                    </a:cubicBezTo>
                    <a:cubicBezTo>
                      <a:pt x="263" y="337"/>
                      <a:pt x="338" y="262"/>
                      <a:pt x="338" y="166"/>
                    </a:cubicBezTo>
                    <a:cubicBezTo>
                      <a:pt x="338" y="75"/>
                      <a:pt x="263" y="0"/>
                      <a:pt x="17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" name="Google Shape;286;p26">
                <a:extLst>
                  <a:ext uri="{FF2B5EF4-FFF2-40B4-BE49-F238E27FC236}">
                    <a16:creationId xmlns:a16="http://schemas.microsoft.com/office/drawing/2014/main" id="{32810FA2-0DBB-ADA0-BE71-E474A1774DC5}"/>
                  </a:ext>
                </a:extLst>
              </p:cNvPr>
              <p:cNvSpPr/>
              <p:nvPr/>
            </p:nvSpPr>
            <p:spPr>
              <a:xfrm>
                <a:off x="-213977" y="1845579"/>
                <a:ext cx="31362" cy="9436"/>
              </a:xfrm>
              <a:custGeom>
                <a:avLst/>
                <a:gdLst/>
                <a:ahLst/>
                <a:cxnLst/>
                <a:rect l="l" t="t" r="r" b="b"/>
                <a:pathLst>
                  <a:path w="688" h="207" extrusionOk="0">
                    <a:moveTo>
                      <a:pt x="324" y="1"/>
                    </a:moveTo>
                    <a:cubicBezTo>
                      <a:pt x="223" y="1"/>
                      <a:pt x="136" y="37"/>
                      <a:pt x="84" y="72"/>
                    </a:cubicBezTo>
                    <a:cubicBezTo>
                      <a:pt x="22" y="112"/>
                      <a:pt x="0" y="151"/>
                      <a:pt x="10" y="164"/>
                    </a:cubicBezTo>
                    <a:cubicBezTo>
                      <a:pt x="12" y="168"/>
                      <a:pt x="16" y="169"/>
                      <a:pt x="22" y="169"/>
                    </a:cubicBezTo>
                    <a:cubicBezTo>
                      <a:pt x="59" y="169"/>
                      <a:pt x="170" y="111"/>
                      <a:pt x="310" y="111"/>
                    </a:cubicBezTo>
                    <a:cubicBezTo>
                      <a:pt x="322" y="111"/>
                      <a:pt x="334" y="111"/>
                      <a:pt x="346" y="112"/>
                    </a:cubicBezTo>
                    <a:cubicBezTo>
                      <a:pt x="512" y="120"/>
                      <a:pt x="628" y="206"/>
                      <a:pt x="665" y="206"/>
                    </a:cubicBezTo>
                    <a:cubicBezTo>
                      <a:pt x="668" y="206"/>
                      <a:pt x="671" y="205"/>
                      <a:pt x="674" y="203"/>
                    </a:cubicBezTo>
                    <a:cubicBezTo>
                      <a:pt x="687" y="195"/>
                      <a:pt x="669" y="151"/>
                      <a:pt x="613" y="103"/>
                    </a:cubicBezTo>
                    <a:cubicBezTo>
                      <a:pt x="560" y="54"/>
                      <a:pt x="468" y="7"/>
                      <a:pt x="355" y="2"/>
                    </a:cubicBezTo>
                    <a:cubicBezTo>
                      <a:pt x="344" y="1"/>
                      <a:pt x="334" y="1"/>
                      <a:pt x="32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8" name="Google Shape;287;p26">
                <a:extLst>
                  <a:ext uri="{FF2B5EF4-FFF2-40B4-BE49-F238E27FC236}">
                    <a16:creationId xmlns:a16="http://schemas.microsoft.com/office/drawing/2014/main" id="{FFD539A3-9003-42D8-CF6A-6B93AD60EB4F}"/>
                  </a:ext>
                </a:extLst>
              </p:cNvPr>
              <p:cNvSpPr/>
              <p:nvPr/>
            </p:nvSpPr>
            <p:spPr>
              <a:xfrm>
                <a:off x="-185669" y="1931689"/>
                <a:ext cx="45084" cy="24525"/>
              </a:xfrm>
              <a:custGeom>
                <a:avLst/>
                <a:gdLst/>
                <a:ahLst/>
                <a:cxnLst/>
                <a:rect l="l" t="t" r="r" b="b"/>
                <a:pathLst>
                  <a:path w="989" h="538" extrusionOk="0">
                    <a:moveTo>
                      <a:pt x="79" y="1"/>
                    </a:moveTo>
                    <a:cubicBezTo>
                      <a:pt x="77" y="1"/>
                      <a:pt x="86" y="8"/>
                      <a:pt x="109" y="23"/>
                    </a:cubicBezTo>
                    <a:cubicBezTo>
                      <a:pt x="109" y="23"/>
                      <a:pt x="0" y="333"/>
                      <a:pt x="385" y="495"/>
                    </a:cubicBezTo>
                    <a:cubicBezTo>
                      <a:pt x="458" y="525"/>
                      <a:pt x="525" y="538"/>
                      <a:pt x="586" y="538"/>
                    </a:cubicBezTo>
                    <a:cubicBezTo>
                      <a:pt x="840" y="538"/>
                      <a:pt x="988" y="325"/>
                      <a:pt x="988" y="325"/>
                    </a:cubicBezTo>
                    <a:cubicBezTo>
                      <a:pt x="663" y="325"/>
                      <a:pt x="94" y="1"/>
                      <a:pt x="79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9" name="Google Shape;288;p26">
                <a:extLst>
                  <a:ext uri="{FF2B5EF4-FFF2-40B4-BE49-F238E27FC236}">
                    <a16:creationId xmlns:a16="http://schemas.microsoft.com/office/drawing/2014/main" id="{C577B531-AD37-5CDE-A5AB-F0C9D284E2A5}"/>
                  </a:ext>
                </a:extLst>
              </p:cNvPr>
              <p:cNvSpPr/>
              <p:nvPr/>
            </p:nvSpPr>
            <p:spPr>
              <a:xfrm>
                <a:off x="-230706" y="2000659"/>
                <a:ext cx="79728" cy="41801"/>
              </a:xfrm>
              <a:custGeom>
                <a:avLst/>
                <a:gdLst/>
                <a:ahLst/>
                <a:cxnLst/>
                <a:rect l="l" t="t" r="r" b="b"/>
                <a:pathLst>
                  <a:path w="1749" h="917" extrusionOk="0">
                    <a:moveTo>
                      <a:pt x="0" y="0"/>
                    </a:moveTo>
                    <a:cubicBezTo>
                      <a:pt x="0" y="0"/>
                      <a:pt x="376" y="916"/>
                      <a:pt x="1608" y="916"/>
                    </a:cubicBezTo>
                    <a:cubicBezTo>
                      <a:pt x="1644" y="916"/>
                      <a:pt x="1681" y="915"/>
                      <a:pt x="1718" y="914"/>
                    </a:cubicBezTo>
                    <a:lnTo>
                      <a:pt x="1749" y="591"/>
                    </a:lnTo>
                    <a:lnTo>
                      <a:pt x="1749" y="591"/>
                    </a:lnTo>
                    <a:cubicBezTo>
                      <a:pt x="1749" y="591"/>
                      <a:pt x="1748" y="591"/>
                      <a:pt x="1747" y="591"/>
                    </a:cubicBezTo>
                    <a:cubicBezTo>
                      <a:pt x="1700" y="591"/>
                      <a:pt x="838" y="583"/>
                      <a:pt x="0" y="0"/>
                    </a:cubicBezTo>
                    <a:close/>
                  </a:path>
                </a:pathLst>
              </a:custGeom>
              <a:solidFill>
                <a:srgbClr val="D7877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0" name="Google Shape;289;p26">
                <a:extLst>
                  <a:ext uri="{FF2B5EF4-FFF2-40B4-BE49-F238E27FC236}">
                    <a16:creationId xmlns:a16="http://schemas.microsoft.com/office/drawing/2014/main" id="{2AD71D75-52A4-90B2-30D7-CCD87DD0839F}"/>
                  </a:ext>
                </a:extLst>
              </p:cNvPr>
              <p:cNvSpPr/>
              <p:nvPr/>
            </p:nvSpPr>
            <p:spPr>
              <a:xfrm>
                <a:off x="-463782" y="1667843"/>
                <a:ext cx="411450" cy="438026"/>
              </a:xfrm>
              <a:custGeom>
                <a:avLst/>
                <a:gdLst/>
                <a:ahLst/>
                <a:cxnLst/>
                <a:rect l="l" t="t" r="r" b="b"/>
                <a:pathLst>
                  <a:path w="9026" h="9609" extrusionOk="0">
                    <a:moveTo>
                      <a:pt x="5554" y="1"/>
                    </a:moveTo>
                    <a:cubicBezTo>
                      <a:pt x="5335" y="1"/>
                      <a:pt x="5151" y="25"/>
                      <a:pt x="5000" y="25"/>
                    </a:cubicBezTo>
                    <a:cubicBezTo>
                      <a:pt x="4633" y="25"/>
                      <a:pt x="3147" y="322"/>
                      <a:pt x="2142" y="1677"/>
                    </a:cubicBezTo>
                    <a:lnTo>
                      <a:pt x="2138" y="1672"/>
                    </a:lnTo>
                    <a:cubicBezTo>
                      <a:pt x="1775" y="2053"/>
                      <a:pt x="1254" y="3289"/>
                      <a:pt x="1194" y="3727"/>
                    </a:cubicBezTo>
                    <a:cubicBezTo>
                      <a:pt x="1137" y="4163"/>
                      <a:pt x="1211" y="4605"/>
                      <a:pt x="1206" y="5046"/>
                    </a:cubicBezTo>
                    <a:cubicBezTo>
                      <a:pt x="1202" y="5488"/>
                      <a:pt x="1101" y="5960"/>
                      <a:pt x="774" y="6252"/>
                    </a:cubicBezTo>
                    <a:cubicBezTo>
                      <a:pt x="564" y="6440"/>
                      <a:pt x="272" y="6545"/>
                      <a:pt x="145" y="6795"/>
                    </a:cubicBezTo>
                    <a:cubicBezTo>
                      <a:pt x="0" y="7087"/>
                      <a:pt x="163" y="7459"/>
                      <a:pt x="433" y="7642"/>
                    </a:cubicBezTo>
                    <a:cubicBezTo>
                      <a:pt x="669" y="7796"/>
                      <a:pt x="953" y="7837"/>
                      <a:pt x="1237" y="7837"/>
                    </a:cubicBezTo>
                    <a:cubicBezTo>
                      <a:pt x="1284" y="7837"/>
                      <a:pt x="1330" y="7836"/>
                      <a:pt x="1377" y="7834"/>
                    </a:cubicBezTo>
                    <a:lnTo>
                      <a:pt x="1377" y="7834"/>
                    </a:lnTo>
                    <a:cubicBezTo>
                      <a:pt x="1303" y="8485"/>
                      <a:pt x="1805" y="9150"/>
                      <a:pt x="2452" y="9250"/>
                    </a:cubicBezTo>
                    <a:cubicBezTo>
                      <a:pt x="2510" y="9259"/>
                      <a:pt x="2567" y="9263"/>
                      <a:pt x="2625" y="9263"/>
                    </a:cubicBezTo>
                    <a:cubicBezTo>
                      <a:pt x="2901" y="9263"/>
                      <a:pt x="3172" y="9164"/>
                      <a:pt x="3396" y="9001"/>
                    </a:cubicBezTo>
                    <a:cubicBezTo>
                      <a:pt x="3619" y="9215"/>
                      <a:pt x="3850" y="9421"/>
                      <a:pt x="4100" y="9609"/>
                    </a:cubicBezTo>
                    <a:cubicBezTo>
                      <a:pt x="4157" y="7686"/>
                      <a:pt x="4113" y="5763"/>
                      <a:pt x="3977" y="3848"/>
                    </a:cubicBezTo>
                    <a:cubicBezTo>
                      <a:pt x="4860" y="3691"/>
                      <a:pt x="6438" y="3215"/>
                      <a:pt x="6713" y="1808"/>
                    </a:cubicBezTo>
                    <a:cubicBezTo>
                      <a:pt x="7063" y="2608"/>
                      <a:pt x="7600" y="3049"/>
                      <a:pt x="8308" y="3657"/>
                    </a:cubicBezTo>
                    <a:cubicBezTo>
                      <a:pt x="8308" y="3657"/>
                      <a:pt x="9025" y="2459"/>
                      <a:pt x="7718" y="1101"/>
                    </a:cubicBezTo>
                    <a:cubicBezTo>
                      <a:pt x="6794" y="142"/>
                      <a:pt x="6076" y="1"/>
                      <a:pt x="555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1" name="Google Shape;290;p26">
                <a:extLst>
                  <a:ext uri="{FF2B5EF4-FFF2-40B4-BE49-F238E27FC236}">
                    <a16:creationId xmlns:a16="http://schemas.microsoft.com/office/drawing/2014/main" id="{3AC68EEE-D442-76A9-87A0-83B38C354388}"/>
                  </a:ext>
                </a:extLst>
              </p:cNvPr>
              <p:cNvSpPr/>
              <p:nvPr/>
            </p:nvSpPr>
            <p:spPr>
              <a:xfrm>
                <a:off x="-277933" y="1746249"/>
                <a:ext cx="120572" cy="78999"/>
              </a:xfrm>
              <a:custGeom>
                <a:avLst/>
                <a:gdLst/>
                <a:ahLst/>
                <a:cxnLst/>
                <a:rect l="l" t="t" r="r" b="b"/>
                <a:pathLst>
                  <a:path w="2645" h="1733" extrusionOk="0">
                    <a:moveTo>
                      <a:pt x="2575" y="0"/>
                    </a:moveTo>
                    <a:cubicBezTo>
                      <a:pt x="2575" y="0"/>
                      <a:pt x="2575" y="0"/>
                      <a:pt x="2575" y="0"/>
                    </a:cubicBezTo>
                    <a:cubicBezTo>
                      <a:pt x="2553" y="0"/>
                      <a:pt x="2583" y="210"/>
                      <a:pt x="2522" y="529"/>
                    </a:cubicBezTo>
                    <a:cubicBezTo>
                      <a:pt x="2488" y="686"/>
                      <a:pt x="2431" y="875"/>
                      <a:pt x="2313" y="1049"/>
                    </a:cubicBezTo>
                    <a:cubicBezTo>
                      <a:pt x="2195" y="1224"/>
                      <a:pt x="2016" y="1378"/>
                      <a:pt x="1788" y="1473"/>
                    </a:cubicBezTo>
                    <a:cubicBezTo>
                      <a:pt x="1485" y="1602"/>
                      <a:pt x="1177" y="1629"/>
                      <a:pt x="907" y="1629"/>
                    </a:cubicBezTo>
                    <a:cubicBezTo>
                      <a:pt x="772" y="1629"/>
                      <a:pt x="647" y="1622"/>
                      <a:pt x="538" y="1618"/>
                    </a:cubicBezTo>
                    <a:cubicBezTo>
                      <a:pt x="372" y="1609"/>
                      <a:pt x="238" y="1604"/>
                      <a:pt x="145" y="1604"/>
                    </a:cubicBezTo>
                    <a:cubicBezTo>
                      <a:pt x="52" y="1604"/>
                      <a:pt x="1" y="1609"/>
                      <a:pt x="1" y="1618"/>
                    </a:cubicBezTo>
                    <a:cubicBezTo>
                      <a:pt x="1" y="1636"/>
                      <a:pt x="202" y="1662"/>
                      <a:pt x="534" y="1701"/>
                    </a:cubicBezTo>
                    <a:cubicBezTo>
                      <a:pt x="670" y="1715"/>
                      <a:pt x="836" y="1733"/>
                      <a:pt x="1018" y="1733"/>
                    </a:cubicBezTo>
                    <a:cubicBezTo>
                      <a:pt x="1269" y="1733"/>
                      <a:pt x="1553" y="1699"/>
                      <a:pt x="1836" y="1578"/>
                    </a:cubicBezTo>
                    <a:cubicBezTo>
                      <a:pt x="2081" y="1478"/>
                      <a:pt x="2282" y="1303"/>
                      <a:pt x="2405" y="1106"/>
                    </a:cubicBezTo>
                    <a:cubicBezTo>
                      <a:pt x="2527" y="914"/>
                      <a:pt x="2579" y="713"/>
                      <a:pt x="2601" y="543"/>
                    </a:cubicBezTo>
                    <a:cubicBezTo>
                      <a:pt x="2645" y="209"/>
                      <a:pt x="2584" y="0"/>
                      <a:pt x="257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2" name="Google Shape;291;p26">
                <a:extLst>
                  <a:ext uri="{FF2B5EF4-FFF2-40B4-BE49-F238E27FC236}">
                    <a16:creationId xmlns:a16="http://schemas.microsoft.com/office/drawing/2014/main" id="{B7D1E287-8888-7756-D544-885FAEAA6BDD}"/>
                  </a:ext>
                </a:extLst>
              </p:cNvPr>
              <p:cNvSpPr/>
              <p:nvPr/>
            </p:nvSpPr>
            <p:spPr>
              <a:xfrm>
                <a:off x="-434699" y="1751811"/>
                <a:ext cx="83922" cy="216666"/>
              </a:xfrm>
              <a:custGeom>
                <a:avLst/>
                <a:gdLst/>
                <a:ahLst/>
                <a:cxnLst/>
                <a:rect l="l" t="t" r="r" b="b"/>
                <a:pathLst>
                  <a:path w="1841" h="4753" extrusionOk="0">
                    <a:moveTo>
                      <a:pt x="1826" y="1"/>
                    </a:moveTo>
                    <a:cubicBezTo>
                      <a:pt x="1817" y="1"/>
                      <a:pt x="1753" y="49"/>
                      <a:pt x="1643" y="132"/>
                    </a:cubicBezTo>
                    <a:cubicBezTo>
                      <a:pt x="1530" y="223"/>
                      <a:pt x="1368" y="360"/>
                      <a:pt x="1181" y="543"/>
                    </a:cubicBezTo>
                    <a:cubicBezTo>
                      <a:pt x="993" y="722"/>
                      <a:pt x="774" y="949"/>
                      <a:pt x="586" y="1242"/>
                    </a:cubicBezTo>
                    <a:cubicBezTo>
                      <a:pt x="394" y="1534"/>
                      <a:pt x="233" y="1897"/>
                      <a:pt x="193" y="2304"/>
                    </a:cubicBezTo>
                    <a:cubicBezTo>
                      <a:pt x="167" y="2510"/>
                      <a:pt x="184" y="2710"/>
                      <a:pt x="227" y="2898"/>
                    </a:cubicBezTo>
                    <a:cubicBezTo>
                      <a:pt x="276" y="3087"/>
                      <a:pt x="350" y="3257"/>
                      <a:pt x="416" y="3414"/>
                    </a:cubicBezTo>
                    <a:cubicBezTo>
                      <a:pt x="551" y="3724"/>
                      <a:pt x="634" y="4025"/>
                      <a:pt x="578" y="4267"/>
                    </a:cubicBezTo>
                    <a:cubicBezTo>
                      <a:pt x="525" y="4511"/>
                      <a:pt x="346" y="4651"/>
                      <a:pt x="219" y="4695"/>
                    </a:cubicBezTo>
                    <a:cubicBezTo>
                      <a:pt x="150" y="4720"/>
                      <a:pt x="94" y="4725"/>
                      <a:pt x="56" y="4725"/>
                    </a:cubicBezTo>
                    <a:cubicBezTo>
                      <a:pt x="34" y="4725"/>
                      <a:pt x="18" y="4723"/>
                      <a:pt x="9" y="4723"/>
                    </a:cubicBezTo>
                    <a:cubicBezTo>
                      <a:pt x="4" y="4723"/>
                      <a:pt x="1" y="4724"/>
                      <a:pt x="1" y="4725"/>
                    </a:cubicBezTo>
                    <a:cubicBezTo>
                      <a:pt x="1" y="4729"/>
                      <a:pt x="23" y="4739"/>
                      <a:pt x="57" y="4747"/>
                    </a:cubicBezTo>
                    <a:cubicBezTo>
                      <a:pt x="74" y="4751"/>
                      <a:pt x="94" y="4753"/>
                      <a:pt x="117" y="4753"/>
                    </a:cubicBezTo>
                    <a:cubicBezTo>
                      <a:pt x="150" y="4753"/>
                      <a:pt x="189" y="4749"/>
                      <a:pt x="233" y="4739"/>
                    </a:cubicBezTo>
                    <a:cubicBezTo>
                      <a:pt x="376" y="4703"/>
                      <a:pt x="586" y="4559"/>
                      <a:pt x="656" y="4288"/>
                    </a:cubicBezTo>
                    <a:cubicBezTo>
                      <a:pt x="731" y="4017"/>
                      <a:pt x="647" y="3690"/>
                      <a:pt x="516" y="3375"/>
                    </a:cubicBezTo>
                    <a:cubicBezTo>
                      <a:pt x="451" y="3213"/>
                      <a:pt x="380" y="3047"/>
                      <a:pt x="342" y="2872"/>
                    </a:cubicBezTo>
                    <a:cubicBezTo>
                      <a:pt x="298" y="2698"/>
                      <a:pt x="285" y="2510"/>
                      <a:pt x="306" y="2317"/>
                    </a:cubicBezTo>
                    <a:cubicBezTo>
                      <a:pt x="346" y="1933"/>
                      <a:pt x="499" y="1587"/>
                      <a:pt x="673" y="1304"/>
                    </a:cubicBezTo>
                    <a:cubicBezTo>
                      <a:pt x="857" y="1015"/>
                      <a:pt x="1062" y="788"/>
                      <a:pt x="1237" y="600"/>
                    </a:cubicBezTo>
                    <a:cubicBezTo>
                      <a:pt x="1600" y="233"/>
                      <a:pt x="1840" y="14"/>
                      <a:pt x="1827" y="1"/>
                    </a:cubicBezTo>
                    <a:cubicBezTo>
                      <a:pt x="1827" y="1"/>
                      <a:pt x="1826" y="1"/>
                      <a:pt x="1826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3" name="Google Shape;292;p26">
                <a:extLst>
                  <a:ext uri="{FF2B5EF4-FFF2-40B4-BE49-F238E27FC236}">
                    <a16:creationId xmlns:a16="http://schemas.microsoft.com/office/drawing/2014/main" id="{0C150EF6-7B8A-425D-402E-6674EA6FF2AC}"/>
                  </a:ext>
                </a:extLst>
              </p:cNvPr>
              <p:cNvSpPr/>
              <p:nvPr/>
            </p:nvSpPr>
            <p:spPr>
              <a:xfrm>
                <a:off x="-84880" y="1790649"/>
                <a:ext cx="89119" cy="119661"/>
              </a:xfrm>
              <a:custGeom>
                <a:avLst/>
                <a:gdLst/>
                <a:ahLst/>
                <a:cxnLst/>
                <a:rect l="l" t="t" r="r" b="b"/>
                <a:pathLst>
                  <a:path w="1955" h="2625" extrusionOk="0">
                    <a:moveTo>
                      <a:pt x="40" y="1"/>
                    </a:moveTo>
                    <a:cubicBezTo>
                      <a:pt x="40" y="1"/>
                      <a:pt x="40" y="1"/>
                      <a:pt x="40" y="1"/>
                    </a:cubicBezTo>
                    <a:cubicBezTo>
                      <a:pt x="40" y="1"/>
                      <a:pt x="40" y="1"/>
                      <a:pt x="40" y="1"/>
                    </a:cubicBezTo>
                    <a:lnTo>
                      <a:pt x="40" y="1"/>
                    </a:lnTo>
                    <a:cubicBezTo>
                      <a:pt x="26" y="1"/>
                      <a:pt x="0" y="232"/>
                      <a:pt x="44" y="595"/>
                    </a:cubicBezTo>
                    <a:cubicBezTo>
                      <a:pt x="92" y="958"/>
                      <a:pt x="219" y="1469"/>
                      <a:pt x="508" y="1959"/>
                    </a:cubicBezTo>
                    <a:cubicBezTo>
                      <a:pt x="651" y="2203"/>
                      <a:pt x="831" y="2427"/>
                      <a:pt x="1067" y="2540"/>
                    </a:cubicBezTo>
                    <a:cubicBezTo>
                      <a:pt x="1178" y="2597"/>
                      <a:pt x="1297" y="2624"/>
                      <a:pt x="1408" y="2624"/>
                    </a:cubicBezTo>
                    <a:cubicBezTo>
                      <a:pt x="1528" y="2624"/>
                      <a:pt x="1640" y="2593"/>
                      <a:pt x="1726" y="2532"/>
                    </a:cubicBezTo>
                    <a:cubicBezTo>
                      <a:pt x="1897" y="2418"/>
                      <a:pt x="1954" y="2252"/>
                      <a:pt x="1954" y="2147"/>
                    </a:cubicBezTo>
                    <a:cubicBezTo>
                      <a:pt x="1954" y="2042"/>
                      <a:pt x="1917" y="1989"/>
                      <a:pt x="1911" y="1989"/>
                    </a:cubicBezTo>
                    <a:cubicBezTo>
                      <a:pt x="1910" y="1989"/>
                      <a:pt x="1910" y="1989"/>
                      <a:pt x="1910" y="1989"/>
                    </a:cubicBezTo>
                    <a:cubicBezTo>
                      <a:pt x="1902" y="1989"/>
                      <a:pt x="1924" y="2046"/>
                      <a:pt x="1910" y="2142"/>
                    </a:cubicBezTo>
                    <a:cubicBezTo>
                      <a:pt x="1893" y="2235"/>
                      <a:pt x="1831" y="2378"/>
                      <a:pt x="1683" y="2461"/>
                    </a:cubicBezTo>
                    <a:cubicBezTo>
                      <a:pt x="1616" y="2503"/>
                      <a:pt x="1529" y="2525"/>
                      <a:pt x="1435" y="2525"/>
                    </a:cubicBezTo>
                    <a:cubicBezTo>
                      <a:pt x="1332" y="2525"/>
                      <a:pt x="1220" y="2499"/>
                      <a:pt x="1115" y="2445"/>
                    </a:cubicBezTo>
                    <a:cubicBezTo>
                      <a:pt x="914" y="2344"/>
                      <a:pt x="748" y="2134"/>
                      <a:pt x="608" y="1898"/>
                    </a:cubicBezTo>
                    <a:cubicBezTo>
                      <a:pt x="328" y="1426"/>
                      <a:pt x="193" y="936"/>
                      <a:pt x="127" y="583"/>
                    </a:cubicBezTo>
                    <a:cubicBezTo>
                      <a:pt x="63" y="227"/>
                      <a:pt x="58" y="1"/>
                      <a:pt x="4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4" name="Google Shape;293;p26">
                <a:extLst>
                  <a:ext uri="{FF2B5EF4-FFF2-40B4-BE49-F238E27FC236}">
                    <a16:creationId xmlns:a16="http://schemas.microsoft.com/office/drawing/2014/main" id="{168CFF85-16FD-F247-AE0D-BB9A11F02E43}"/>
                  </a:ext>
                </a:extLst>
              </p:cNvPr>
              <p:cNvSpPr/>
              <p:nvPr/>
            </p:nvSpPr>
            <p:spPr>
              <a:xfrm>
                <a:off x="-90897" y="2826977"/>
                <a:ext cx="205087" cy="1628251"/>
              </a:xfrm>
              <a:custGeom>
                <a:avLst/>
                <a:gdLst/>
                <a:ahLst/>
                <a:cxnLst/>
                <a:rect l="l" t="t" r="r" b="b"/>
                <a:pathLst>
                  <a:path w="4499" h="35719" extrusionOk="0">
                    <a:moveTo>
                      <a:pt x="1" y="0"/>
                    </a:moveTo>
                    <a:lnTo>
                      <a:pt x="640" y="35718"/>
                    </a:lnTo>
                    <a:cubicBezTo>
                      <a:pt x="640" y="35718"/>
                      <a:pt x="3930" y="24019"/>
                      <a:pt x="4214" y="19308"/>
                    </a:cubicBezTo>
                    <a:cubicBezTo>
                      <a:pt x="4498" y="14593"/>
                      <a:pt x="1" y="1"/>
                      <a:pt x="1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5" name="Google Shape;294;p26">
                <a:extLst>
                  <a:ext uri="{FF2B5EF4-FFF2-40B4-BE49-F238E27FC236}">
                    <a16:creationId xmlns:a16="http://schemas.microsoft.com/office/drawing/2014/main" id="{745742C7-42EC-0E5D-55C7-F48535B662D2}"/>
                  </a:ext>
                </a:extLst>
              </p:cNvPr>
              <p:cNvSpPr/>
              <p:nvPr/>
            </p:nvSpPr>
            <p:spPr>
              <a:xfrm>
                <a:off x="-477919" y="2696154"/>
                <a:ext cx="441491" cy="1776418"/>
              </a:xfrm>
              <a:custGeom>
                <a:avLst/>
                <a:gdLst/>
                <a:ahLst/>
                <a:cxnLst/>
                <a:rect l="l" t="t" r="r" b="b"/>
                <a:pathLst>
                  <a:path w="9685" h="38742" extrusionOk="0">
                    <a:moveTo>
                      <a:pt x="8347" y="0"/>
                    </a:moveTo>
                    <a:lnTo>
                      <a:pt x="2146" y="162"/>
                    </a:lnTo>
                    <a:cubicBezTo>
                      <a:pt x="2145" y="162"/>
                      <a:pt x="2145" y="162"/>
                      <a:pt x="2144" y="162"/>
                    </a:cubicBezTo>
                    <a:cubicBezTo>
                      <a:pt x="2028" y="162"/>
                      <a:pt x="74" y="3039"/>
                      <a:pt x="9" y="5519"/>
                    </a:cubicBezTo>
                    <a:cubicBezTo>
                      <a:pt x="1" y="5759"/>
                      <a:pt x="13" y="6009"/>
                      <a:pt x="35" y="6253"/>
                    </a:cubicBezTo>
                    <a:cubicBezTo>
                      <a:pt x="114" y="7123"/>
                      <a:pt x="332" y="7980"/>
                      <a:pt x="656" y="8793"/>
                    </a:cubicBezTo>
                    <a:cubicBezTo>
                      <a:pt x="2321" y="13001"/>
                      <a:pt x="4043" y="17996"/>
                      <a:pt x="4069" y="19132"/>
                    </a:cubicBezTo>
                    <a:cubicBezTo>
                      <a:pt x="4156" y="22633"/>
                      <a:pt x="4842" y="38741"/>
                      <a:pt x="4842" y="38741"/>
                    </a:cubicBezTo>
                    <a:lnTo>
                      <a:pt x="9685" y="38400"/>
                    </a:lnTo>
                    <a:lnTo>
                      <a:pt x="9527" y="19132"/>
                    </a:lnTo>
                    <a:lnTo>
                      <a:pt x="8347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6" name="Google Shape;295;p26">
                <a:extLst>
                  <a:ext uri="{FF2B5EF4-FFF2-40B4-BE49-F238E27FC236}">
                    <a16:creationId xmlns:a16="http://schemas.microsoft.com/office/drawing/2014/main" id="{83CCDACC-42E9-C07C-7983-BEF053A9F0ED}"/>
                  </a:ext>
                </a:extLst>
              </p:cNvPr>
              <p:cNvSpPr/>
              <p:nvPr/>
            </p:nvSpPr>
            <p:spPr>
              <a:xfrm>
                <a:off x="-260975" y="2710052"/>
                <a:ext cx="102840" cy="1755934"/>
              </a:xfrm>
              <a:custGeom>
                <a:avLst/>
                <a:gdLst/>
                <a:ahLst/>
                <a:cxnLst/>
                <a:rect l="l" t="t" r="r" b="b"/>
                <a:pathLst>
                  <a:path w="2256" h="38520" extrusionOk="0">
                    <a:moveTo>
                      <a:pt x="32" y="0"/>
                    </a:moveTo>
                    <a:cubicBezTo>
                      <a:pt x="31" y="0"/>
                      <a:pt x="31" y="1"/>
                      <a:pt x="31" y="1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3" y="1"/>
                      <a:pt x="34" y="2"/>
                      <a:pt x="36" y="4"/>
                    </a:cubicBezTo>
                    <a:lnTo>
                      <a:pt x="36" y="4"/>
                    </a:lnTo>
                    <a:cubicBezTo>
                      <a:pt x="34" y="2"/>
                      <a:pt x="33" y="0"/>
                      <a:pt x="32" y="0"/>
                    </a:cubicBezTo>
                    <a:close/>
                    <a:moveTo>
                      <a:pt x="36" y="4"/>
                    </a:moveTo>
                    <a:cubicBezTo>
                      <a:pt x="46" y="29"/>
                      <a:pt x="53" y="165"/>
                      <a:pt x="53" y="389"/>
                    </a:cubicBezTo>
                    <a:cubicBezTo>
                      <a:pt x="57" y="647"/>
                      <a:pt x="57" y="1023"/>
                      <a:pt x="57" y="1512"/>
                    </a:cubicBezTo>
                    <a:cubicBezTo>
                      <a:pt x="61" y="2492"/>
                      <a:pt x="0" y="3908"/>
                      <a:pt x="61" y="5655"/>
                    </a:cubicBezTo>
                    <a:cubicBezTo>
                      <a:pt x="79" y="6092"/>
                      <a:pt x="93" y="6547"/>
                      <a:pt x="131" y="7023"/>
                    </a:cubicBezTo>
                    <a:cubicBezTo>
                      <a:pt x="158" y="7500"/>
                      <a:pt x="202" y="7993"/>
                      <a:pt x="254" y="8505"/>
                    </a:cubicBezTo>
                    <a:cubicBezTo>
                      <a:pt x="359" y="9527"/>
                      <a:pt x="503" y="10620"/>
                      <a:pt x="682" y="11760"/>
                    </a:cubicBezTo>
                    <a:cubicBezTo>
                      <a:pt x="865" y="12902"/>
                      <a:pt x="1071" y="14098"/>
                      <a:pt x="1241" y="15344"/>
                    </a:cubicBezTo>
                    <a:cubicBezTo>
                      <a:pt x="1416" y="16585"/>
                      <a:pt x="1556" y="17884"/>
                      <a:pt x="1626" y="19211"/>
                    </a:cubicBezTo>
                    <a:cubicBezTo>
                      <a:pt x="1705" y="20544"/>
                      <a:pt x="1687" y="21847"/>
                      <a:pt x="1713" y="23106"/>
                    </a:cubicBezTo>
                    <a:cubicBezTo>
                      <a:pt x="1735" y="24364"/>
                      <a:pt x="1761" y="25575"/>
                      <a:pt x="1797" y="26728"/>
                    </a:cubicBezTo>
                    <a:cubicBezTo>
                      <a:pt x="1870" y="29040"/>
                      <a:pt x="1954" y="31120"/>
                      <a:pt x="2023" y="32868"/>
                    </a:cubicBezTo>
                    <a:cubicBezTo>
                      <a:pt x="2164" y="36295"/>
                      <a:pt x="2243" y="38205"/>
                      <a:pt x="2255" y="38519"/>
                    </a:cubicBezTo>
                    <a:cubicBezTo>
                      <a:pt x="2255" y="38519"/>
                      <a:pt x="2251" y="38383"/>
                      <a:pt x="2247" y="38126"/>
                    </a:cubicBezTo>
                    <a:cubicBezTo>
                      <a:pt x="2237" y="37864"/>
                      <a:pt x="2225" y="37487"/>
                      <a:pt x="2211" y="37003"/>
                    </a:cubicBezTo>
                    <a:cubicBezTo>
                      <a:pt x="2172" y="36019"/>
                      <a:pt x="2124" y="34607"/>
                      <a:pt x="2059" y="32864"/>
                    </a:cubicBezTo>
                    <a:cubicBezTo>
                      <a:pt x="1993" y="31120"/>
                      <a:pt x="1910" y="29040"/>
                      <a:pt x="1840" y="26728"/>
                    </a:cubicBezTo>
                    <a:cubicBezTo>
                      <a:pt x="1809" y="25575"/>
                      <a:pt x="1779" y="24360"/>
                      <a:pt x="1761" y="23106"/>
                    </a:cubicBezTo>
                    <a:cubicBezTo>
                      <a:pt x="1735" y="21847"/>
                      <a:pt x="1753" y="20544"/>
                      <a:pt x="1674" y="19211"/>
                    </a:cubicBezTo>
                    <a:cubicBezTo>
                      <a:pt x="1600" y="17878"/>
                      <a:pt x="1464" y="16581"/>
                      <a:pt x="1289" y="15335"/>
                    </a:cubicBezTo>
                    <a:cubicBezTo>
                      <a:pt x="1115" y="14090"/>
                      <a:pt x="905" y="12892"/>
                      <a:pt x="726" y="11752"/>
                    </a:cubicBezTo>
                    <a:cubicBezTo>
                      <a:pt x="542" y="10611"/>
                      <a:pt x="398" y="9523"/>
                      <a:pt x="293" y="8505"/>
                    </a:cubicBezTo>
                    <a:cubicBezTo>
                      <a:pt x="240" y="7993"/>
                      <a:pt x="192" y="7500"/>
                      <a:pt x="166" y="7023"/>
                    </a:cubicBezTo>
                    <a:cubicBezTo>
                      <a:pt x="127" y="6547"/>
                      <a:pt x="113" y="6088"/>
                      <a:pt x="93" y="5651"/>
                    </a:cubicBezTo>
                    <a:cubicBezTo>
                      <a:pt x="26" y="3908"/>
                      <a:pt x="83" y="2492"/>
                      <a:pt x="75" y="1512"/>
                    </a:cubicBezTo>
                    <a:cubicBezTo>
                      <a:pt x="75" y="592"/>
                      <a:pt x="63" y="54"/>
                      <a:pt x="36" y="4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7" name="Google Shape;296;p26">
                <a:extLst>
                  <a:ext uri="{FF2B5EF4-FFF2-40B4-BE49-F238E27FC236}">
                    <a16:creationId xmlns:a16="http://schemas.microsoft.com/office/drawing/2014/main" id="{A721B3B4-678A-47CB-5452-B6E9DA472B1F}"/>
                  </a:ext>
                </a:extLst>
              </p:cNvPr>
              <p:cNvSpPr/>
              <p:nvPr/>
            </p:nvSpPr>
            <p:spPr>
              <a:xfrm>
                <a:off x="-258422" y="4440821"/>
                <a:ext cx="221999" cy="33505"/>
              </a:xfrm>
              <a:custGeom>
                <a:avLst/>
                <a:gdLst/>
                <a:ahLst/>
                <a:cxnLst/>
                <a:rect l="l" t="t" r="r" b="b"/>
                <a:pathLst>
                  <a:path w="4870" h="735" extrusionOk="0">
                    <a:moveTo>
                      <a:pt x="1" y="1"/>
                    </a:moveTo>
                    <a:lnTo>
                      <a:pt x="1" y="735"/>
                    </a:lnTo>
                    <a:lnTo>
                      <a:pt x="4870" y="735"/>
                    </a:lnTo>
                    <a:lnTo>
                      <a:pt x="4870" y="1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8" name="Google Shape;297;p26">
                <a:extLst>
                  <a:ext uri="{FF2B5EF4-FFF2-40B4-BE49-F238E27FC236}">
                    <a16:creationId xmlns:a16="http://schemas.microsoft.com/office/drawing/2014/main" id="{1E70CE26-1CB4-A36F-447A-612E5C17D66C}"/>
                  </a:ext>
                </a:extLst>
              </p:cNvPr>
              <p:cNvSpPr/>
              <p:nvPr/>
            </p:nvSpPr>
            <p:spPr>
              <a:xfrm>
                <a:off x="-245841" y="2706496"/>
                <a:ext cx="2462" cy="10348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7" extrusionOk="0">
                    <a:moveTo>
                      <a:pt x="23" y="0"/>
                    </a:moveTo>
                    <a:cubicBezTo>
                      <a:pt x="9" y="0"/>
                      <a:pt x="1" y="53"/>
                      <a:pt x="5" y="113"/>
                    </a:cubicBezTo>
                    <a:cubicBezTo>
                      <a:pt x="5" y="174"/>
                      <a:pt x="17" y="227"/>
                      <a:pt x="31" y="227"/>
                    </a:cubicBezTo>
                    <a:cubicBezTo>
                      <a:pt x="44" y="223"/>
                      <a:pt x="53" y="174"/>
                      <a:pt x="49" y="113"/>
                    </a:cubicBezTo>
                    <a:cubicBezTo>
                      <a:pt x="49" y="53"/>
                      <a:pt x="35" y="0"/>
                      <a:pt x="2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89" name="Google Shape;298;p26">
                <a:extLst>
                  <a:ext uri="{FF2B5EF4-FFF2-40B4-BE49-F238E27FC236}">
                    <a16:creationId xmlns:a16="http://schemas.microsoft.com/office/drawing/2014/main" id="{77242266-D004-78C6-84EA-A47AF6B46B63}"/>
                  </a:ext>
                </a:extLst>
              </p:cNvPr>
              <p:cNvSpPr/>
              <p:nvPr/>
            </p:nvSpPr>
            <p:spPr>
              <a:xfrm>
                <a:off x="-245248" y="2727009"/>
                <a:ext cx="2416" cy="10165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3" extrusionOk="0">
                    <a:moveTo>
                      <a:pt x="22" y="0"/>
                    </a:moveTo>
                    <a:cubicBezTo>
                      <a:pt x="10" y="0"/>
                      <a:pt x="0" y="48"/>
                      <a:pt x="4" y="113"/>
                    </a:cubicBezTo>
                    <a:cubicBezTo>
                      <a:pt x="4" y="174"/>
                      <a:pt x="18" y="223"/>
                      <a:pt x="31" y="223"/>
                    </a:cubicBezTo>
                    <a:cubicBezTo>
                      <a:pt x="44" y="223"/>
                      <a:pt x="53" y="174"/>
                      <a:pt x="49" y="109"/>
                    </a:cubicBezTo>
                    <a:cubicBezTo>
                      <a:pt x="49" y="48"/>
                      <a:pt x="36" y="0"/>
                      <a:pt x="2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0" name="Google Shape;299;p26">
                <a:extLst>
                  <a:ext uri="{FF2B5EF4-FFF2-40B4-BE49-F238E27FC236}">
                    <a16:creationId xmlns:a16="http://schemas.microsoft.com/office/drawing/2014/main" id="{CC6EB9A0-6B42-A7DD-589E-4E619371807A}"/>
                  </a:ext>
                </a:extLst>
              </p:cNvPr>
              <p:cNvSpPr/>
              <p:nvPr/>
            </p:nvSpPr>
            <p:spPr>
              <a:xfrm>
                <a:off x="-244655" y="2747295"/>
                <a:ext cx="2462" cy="10393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8" extrusionOk="0">
                    <a:moveTo>
                      <a:pt x="23" y="1"/>
                    </a:moveTo>
                    <a:cubicBezTo>
                      <a:pt x="9" y="5"/>
                      <a:pt x="1" y="53"/>
                      <a:pt x="5" y="114"/>
                    </a:cubicBezTo>
                    <a:cubicBezTo>
                      <a:pt x="5" y="175"/>
                      <a:pt x="18" y="227"/>
                      <a:pt x="31" y="227"/>
                    </a:cubicBezTo>
                    <a:cubicBezTo>
                      <a:pt x="44" y="227"/>
                      <a:pt x="53" y="175"/>
                      <a:pt x="49" y="114"/>
                    </a:cubicBezTo>
                    <a:cubicBezTo>
                      <a:pt x="49" y="53"/>
                      <a:pt x="36" y="1"/>
                      <a:pt x="2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1" name="Google Shape;300;p26">
                <a:extLst>
                  <a:ext uri="{FF2B5EF4-FFF2-40B4-BE49-F238E27FC236}">
                    <a16:creationId xmlns:a16="http://schemas.microsoft.com/office/drawing/2014/main" id="{B6FBF6FA-EDD3-E515-A355-0CAFCB847AD9}"/>
                  </a:ext>
                </a:extLst>
              </p:cNvPr>
              <p:cNvSpPr/>
              <p:nvPr/>
            </p:nvSpPr>
            <p:spPr>
              <a:xfrm>
                <a:off x="-244063" y="2767808"/>
                <a:ext cx="2416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4" extrusionOk="0">
                    <a:moveTo>
                      <a:pt x="23" y="1"/>
                    </a:moveTo>
                    <a:cubicBezTo>
                      <a:pt x="10" y="1"/>
                      <a:pt x="0" y="53"/>
                      <a:pt x="5" y="114"/>
                    </a:cubicBezTo>
                    <a:cubicBezTo>
                      <a:pt x="5" y="176"/>
                      <a:pt x="18" y="223"/>
                      <a:pt x="31" y="223"/>
                    </a:cubicBezTo>
                    <a:cubicBezTo>
                      <a:pt x="45" y="223"/>
                      <a:pt x="53" y="176"/>
                      <a:pt x="49" y="110"/>
                    </a:cubicBezTo>
                    <a:cubicBezTo>
                      <a:pt x="49" y="49"/>
                      <a:pt x="36" y="1"/>
                      <a:pt x="2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2" name="Google Shape;301;p26">
                <a:extLst>
                  <a:ext uri="{FF2B5EF4-FFF2-40B4-BE49-F238E27FC236}">
                    <a16:creationId xmlns:a16="http://schemas.microsoft.com/office/drawing/2014/main" id="{EACE8B90-B14F-5F9A-2434-DCD36F6EEBFE}"/>
                  </a:ext>
                </a:extLst>
              </p:cNvPr>
              <p:cNvSpPr/>
              <p:nvPr/>
            </p:nvSpPr>
            <p:spPr>
              <a:xfrm>
                <a:off x="-243425" y="2788321"/>
                <a:ext cx="2416" cy="10257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5" extrusionOk="0">
                    <a:moveTo>
                      <a:pt x="24" y="1"/>
                    </a:moveTo>
                    <a:cubicBezTo>
                      <a:pt x="23" y="1"/>
                      <a:pt x="23" y="1"/>
                      <a:pt x="22" y="1"/>
                    </a:cubicBezTo>
                    <a:cubicBezTo>
                      <a:pt x="9" y="1"/>
                      <a:pt x="0" y="49"/>
                      <a:pt x="4" y="110"/>
                    </a:cubicBezTo>
                    <a:cubicBezTo>
                      <a:pt x="4" y="176"/>
                      <a:pt x="17" y="224"/>
                      <a:pt x="31" y="224"/>
                    </a:cubicBezTo>
                    <a:cubicBezTo>
                      <a:pt x="43" y="224"/>
                      <a:pt x="53" y="172"/>
                      <a:pt x="48" y="110"/>
                    </a:cubicBezTo>
                    <a:cubicBezTo>
                      <a:pt x="48" y="51"/>
                      <a:pt x="36" y="1"/>
                      <a:pt x="24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3" name="Google Shape;302;p26">
                <a:extLst>
                  <a:ext uri="{FF2B5EF4-FFF2-40B4-BE49-F238E27FC236}">
                    <a16:creationId xmlns:a16="http://schemas.microsoft.com/office/drawing/2014/main" id="{A896151F-5B7B-036F-1B0F-C24E93DD5624}"/>
                  </a:ext>
                </a:extLst>
              </p:cNvPr>
              <p:cNvSpPr/>
              <p:nvPr/>
            </p:nvSpPr>
            <p:spPr>
              <a:xfrm>
                <a:off x="-242878" y="2808652"/>
                <a:ext cx="2462" cy="10257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5" extrusionOk="0">
                    <a:moveTo>
                      <a:pt x="23" y="1"/>
                    </a:moveTo>
                    <a:cubicBezTo>
                      <a:pt x="10" y="1"/>
                      <a:pt x="1" y="53"/>
                      <a:pt x="5" y="114"/>
                    </a:cubicBezTo>
                    <a:cubicBezTo>
                      <a:pt x="5" y="173"/>
                      <a:pt x="18" y="224"/>
                      <a:pt x="30" y="224"/>
                    </a:cubicBezTo>
                    <a:cubicBezTo>
                      <a:pt x="30" y="224"/>
                      <a:pt x="31" y="224"/>
                      <a:pt x="31" y="224"/>
                    </a:cubicBezTo>
                    <a:cubicBezTo>
                      <a:pt x="45" y="224"/>
                      <a:pt x="53" y="176"/>
                      <a:pt x="49" y="114"/>
                    </a:cubicBezTo>
                    <a:cubicBezTo>
                      <a:pt x="49" y="49"/>
                      <a:pt x="36" y="1"/>
                      <a:pt x="2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4" name="Google Shape;303;p26">
                <a:extLst>
                  <a:ext uri="{FF2B5EF4-FFF2-40B4-BE49-F238E27FC236}">
                    <a16:creationId xmlns:a16="http://schemas.microsoft.com/office/drawing/2014/main" id="{B4877033-500F-58B8-86C8-4FE2BA03527B}"/>
                  </a:ext>
                </a:extLst>
              </p:cNvPr>
              <p:cNvSpPr/>
              <p:nvPr/>
            </p:nvSpPr>
            <p:spPr>
              <a:xfrm>
                <a:off x="-242239" y="2829165"/>
                <a:ext cx="2416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4" extrusionOk="0">
                    <a:moveTo>
                      <a:pt x="22" y="1"/>
                    </a:moveTo>
                    <a:cubicBezTo>
                      <a:pt x="9" y="1"/>
                      <a:pt x="0" y="49"/>
                      <a:pt x="5" y="115"/>
                    </a:cubicBezTo>
                    <a:cubicBezTo>
                      <a:pt x="5" y="176"/>
                      <a:pt x="17" y="224"/>
                      <a:pt x="31" y="224"/>
                    </a:cubicBezTo>
                    <a:cubicBezTo>
                      <a:pt x="43" y="224"/>
                      <a:pt x="53" y="171"/>
                      <a:pt x="49" y="110"/>
                    </a:cubicBezTo>
                    <a:cubicBezTo>
                      <a:pt x="49" y="49"/>
                      <a:pt x="35" y="1"/>
                      <a:pt x="22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5" name="Google Shape;304;p26">
                <a:extLst>
                  <a:ext uri="{FF2B5EF4-FFF2-40B4-BE49-F238E27FC236}">
                    <a16:creationId xmlns:a16="http://schemas.microsoft.com/office/drawing/2014/main" id="{8032F385-F359-CD94-07C3-BDDA8B3B3FAD}"/>
                  </a:ext>
                </a:extLst>
              </p:cNvPr>
              <p:cNvSpPr/>
              <p:nvPr/>
            </p:nvSpPr>
            <p:spPr>
              <a:xfrm>
                <a:off x="-241692" y="2849496"/>
                <a:ext cx="2462" cy="10393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8" extrusionOk="0">
                    <a:moveTo>
                      <a:pt x="23" y="0"/>
                    </a:moveTo>
                    <a:cubicBezTo>
                      <a:pt x="10" y="0"/>
                      <a:pt x="1" y="53"/>
                      <a:pt x="5" y="115"/>
                    </a:cubicBezTo>
                    <a:cubicBezTo>
                      <a:pt x="5" y="175"/>
                      <a:pt x="19" y="228"/>
                      <a:pt x="31" y="228"/>
                    </a:cubicBezTo>
                    <a:cubicBezTo>
                      <a:pt x="45" y="228"/>
                      <a:pt x="53" y="175"/>
                      <a:pt x="49" y="115"/>
                    </a:cubicBezTo>
                    <a:cubicBezTo>
                      <a:pt x="49" y="53"/>
                      <a:pt x="37" y="0"/>
                      <a:pt x="2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" name="Google Shape;305;p26">
                <a:extLst>
                  <a:ext uri="{FF2B5EF4-FFF2-40B4-BE49-F238E27FC236}">
                    <a16:creationId xmlns:a16="http://schemas.microsoft.com/office/drawing/2014/main" id="{C6083C82-7A2D-7F48-E15D-BDEB7CCBC7FC}"/>
                  </a:ext>
                </a:extLst>
              </p:cNvPr>
              <p:cNvSpPr/>
              <p:nvPr/>
            </p:nvSpPr>
            <p:spPr>
              <a:xfrm>
                <a:off x="-241054" y="2870009"/>
                <a:ext cx="2416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4" extrusionOk="0">
                    <a:moveTo>
                      <a:pt x="23" y="0"/>
                    </a:moveTo>
                    <a:cubicBezTo>
                      <a:pt x="9" y="0"/>
                      <a:pt x="1" y="53"/>
                      <a:pt x="5" y="115"/>
                    </a:cubicBezTo>
                    <a:cubicBezTo>
                      <a:pt x="5" y="175"/>
                      <a:pt x="17" y="224"/>
                      <a:pt x="31" y="224"/>
                    </a:cubicBezTo>
                    <a:cubicBezTo>
                      <a:pt x="44" y="224"/>
                      <a:pt x="53" y="175"/>
                      <a:pt x="49" y="110"/>
                    </a:cubicBezTo>
                    <a:cubicBezTo>
                      <a:pt x="49" y="48"/>
                      <a:pt x="35" y="0"/>
                      <a:pt x="2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" name="Google Shape;306;p26">
                <a:extLst>
                  <a:ext uri="{FF2B5EF4-FFF2-40B4-BE49-F238E27FC236}">
                    <a16:creationId xmlns:a16="http://schemas.microsoft.com/office/drawing/2014/main" id="{36FAF66F-FC56-4B91-3754-834C8F797684}"/>
                  </a:ext>
                </a:extLst>
              </p:cNvPr>
              <p:cNvSpPr/>
              <p:nvPr/>
            </p:nvSpPr>
            <p:spPr>
              <a:xfrm>
                <a:off x="-240462" y="2890295"/>
                <a:ext cx="2416" cy="10439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9" extrusionOk="0">
                    <a:moveTo>
                      <a:pt x="22" y="1"/>
                    </a:moveTo>
                    <a:cubicBezTo>
                      <a:pt x="10" y="6"/>
                      <a:pt x="0" y="53"/>
                      <a:pt x="4" y="115"/>
                    </a:cubicBezTo>
                    <a:cubicBezTo>
                      <a:pt x="4" y="176"/>
                      <a:pt x="18" y="229"/>
                      <a:pt x="31" y="229"/>
                    </a:cubicBezTo>
                    <a:cubicBezTo>
                      <a:pt x="44" y="229"/>
                      <a:pt x="53" y="176"/>
                      <a:pt x="48" y="115"/>
                    </a:cubicBezTo>
                    <a:cubicBezTo>
                      <a:pt x="48" y="53"/>
                      <a:pt x="36" y="1"/>
                      <a:pt x="22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" name="Google Shape;307;p26">
                <a:extLst>
                  <a:ext uri="{FF2B5EF4-FFF2-40B4-BE49-F238E27FC236}">
                    <a16:creationId xmlns:a16="http://schemas.microsoft.com/office/drawing/2014/main" id="{D648613F-8D81-04BB-879A-A46317F6820E}"/>
                  </a:ext>
                </a:extLst>
              </p:cNvPr>
              <p:cNvSpPr/>
              <p:nvPr/>
            </p:nvSpPr>
            <p:spPr>
              <a:xfrm>
                <a:off x="-239869" y="2910853"/>
                <a:ext cx="2462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4" extrusionOk="0">
                    <a:moveTo>
                      <a:pt x="23" y="1"/>
                    </a:moveTo>
                    <a:cubicBezTo>
                      <a:pt x="9" y="1"/>
                      <a:pt x="1" y="53"/>
                      <a:pt x="5" y="114"/>
                    </a:cubicBezTo>
                    <a:cubicBezTo>
                      <a:pt x="5" y="175"/>
                      <a:pt x="18" y="223"/>
                      <a:pt x="31" y="223"/>
                    </a:cubicBezTo>
                    <a:cubicBezTo>
                      <a:pt x="44" y="223"/>
                      <a:pt x="53" y="175"/>
                      <a:pt x="49" y="114"/>
                    </a:cubicBezTo>
                    <a:cubicBezTo>
                      <a:pt x="49" y="48"/>
                      <a:pt x="35" y="1"/>
                      <a:pt x="2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" name="Google Shape;308;p26">
                <a:extLst>
                  <a:ext uri="{FF2B5EF4-FFF2-40B4-BE49-F238E27FC236}">
                    <a16:creationId xmlns:a16="http://schemas.microsoft.com/office/drawing/2014/main" id="{4BCB90DD-4C7C-E454-3F32-99951F6B1902}"/>
                  </a:ext>
                </a:extLst>
              </p:cNvPr>
              <p:cNvSpPr/>
              <p:nvPr/>
            </p:nvSpPr>
            <p:spPr>
              <a:xfrm>
                <a:off x="-239459" y="2931367"/>
                <a:ext cx="2051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45" h="224" extrusionOk="0">
                    <a:moveTo>
                      <a:pt x="22" y="1"/>
                    </a:moveTo>
                    <a:cubicBezTo>
                      <a:pt x="9" y="1"/>
                      <a:pt x="0" y="49"/>
                      <a:pt x="0" y="110"/>
                    </a:cubicBezTo>
                    <a:cubicBezTo>
                      <a:pt x="0" y="175"/>
                      <a:pt x="9" y="223"/>
                      <a:pt x="22" y="223"/>
                    </a:cubicBezTo>
                    <a:cubicBezTo>
                      <a:pt x="35" y="223"/>
                      <a:pt x="44" y="175"/>
                      <a:pt x="44" y="110"/>
                    </a:cubicBezTo>
                    <a:cubicBezTo>
                      <a:pt x="44" y="49"/>
                      <a:pt x="35" y="1"/>
                      <a:pt x="22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" name="Google Shape;309;p26">
                <a:extLst>
                  <a:ext uri="{FF2B5EF4-FFF2-40B4-BE49-F238E27FC236}">
                    <a16:creationId xmlns:a16="http://schemas.microsoft.com/office/drawing/2014/main" id="{AC198DDE-9CD2-42D4-E03D-2B28A972EADE}"/>
                  </a:ext>
                </a:extLst>
              </p:cNvPr>
              <p:cNvSpPr/>
              <p:nvPr/>
            </p:nvSpPr>
            <p:spPr>
              <a:xfrm>
                <a:off x="-239276" y="2951880"/>
                <a:ext cx="2234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49" h="224" extrusionOk="0">
                    <a:moveTo>
                      <a:pt x="22" y="1"/>
                    </a:moveTo>
                    <a:cubicBezTo>
                      <a:pt x="10" y="1"/>
                      <a:pt x="0" y="49"/>
                      <a:pt x="0" y="110"/>
                    </a:cubicBezTo>
                    <a:cubicBezTo>
                      <a:pt x="0" y="176"/>
                      <a:pt x="14" y="223"/>
                      <a:pt x="27" y="223"/>
                    </a:cubicBezTo>
                    <a:cubicBezTo>
                      <a:pt x="36" y="223"/>
                      <a:pt x="49" y="171"/>
                      <a:pt x="44" y="110"/>
                    </a:cubicBezTo>
                    <a:cubicBezTo>
                      <a:pt x="44" y="49"/>
                      <a:pt x="36" y="1"/>
                      <a:pt x="22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" name="Google Shape;310;p26">
                <a:extLst>
                  <a:ext uri="{FF2B5EF4-FFF2-40B4-BE49-F238E27FC236}">
                    <a16:creationId xmlns:a16="http://schemas.microsoft.com/office/drawing/2014/main" id="{E3FDF8B5-4049-4559-B87A-6547BC855223}"/>
                  </a:ext>
                </a:extLst>
              </p:cNvPr>
              <p:cNvSpPr/>
              <p:nvPr/>
            </p:nvSpPr>
            <p:spPr>
              <a:xfrm>
                <a:off x="-239094" y="2972211"/>
                <a:ext cx="2416" cy="10439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9" extrusionOk="0">
                    <a:moveTo>
                      <a:pt x="27" y="1"/>
                    </a:moveTo>
                    <a:cubicBezTo>
                      <a:pt x="14" y="1"/>
                      <a:pt x="1" y="53"/>
                      <a:pt x="6" y="114"/>
                    </a:cubicBezTo>
                    <a:cubicBezTo>
                      <a:pt x="6" y="176"/>
                      <a:pt x="18" y="228"/>
                      <a:pt x="32" y="228"/>
                    </a:cubicBezTo>
                    <a:cubicBezTo>
                      <a:pt x="45" y="228"/>
                      <a:pt x="53" y="176"/>
                      <a:pt x="53" y="114"/>
                    </a:cubicBezTo>
                    <a:cubicBezTo>
                      <a:pt x="49" y="53"/>
                      <a:pt x="40" y="1"/>
                      <a:pt x="27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" name="Google Shape;311;p26">
                <a:extLst>
                  <a:ext uri="{FF2B5EF4-FFF2-40B4-BE49-F238E27FC236}">
                    <a16:creationId xmlns:a16="http://schemas.microsoft.com/office/drawing/2014/main" id="{022AF812-01CA-B986-72B5-71C39E986A98}"/>
                  </a:ext>
                </a:extLst>
              </p:cNvPr>
              <p:cNvSpPr/>
              <p:nvPr/>
            </p:nvSpPr>
            <p:spPr>
              <a:xfrm>
                <a:off x="-238456" y="2992724"/>
                <a:ext cx="2416" cy="10257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5" extrusionOk="0">
                    <a:moveTo>
                      <a:pt x="22" y="1"/>
                    </a:moveTo>
                    <a:cubicBezTo>
                      <a:pt x="9" y="1"/>
                      <a:pt x="0" y="53"/>
                      <a:pt x="4" y="114"/>
                    </a:cubicBezTo>
                    <a:cubicBezTo>
                      <a:pt x="4" y="173"/>
                      <a:pt x="17" y="224"/>
                      <a:pt x="29" y="224"/>
                    </a:cubicBezTo>
                    <a:cubicBezTo>
                      <a:pt x="30" y="224"/>
                      <a:pt x="30" y="224"/>
                      <a:pt x="31" y="224"/>
                    </a:cubicBezTo>
                    <a:cubicBezTo>
                      <a:pt x="44" y="224"/>
                      <a:pt x="53" y="176"/>
                      <a:pt x="53" y="114"/>
                    </a:cubicBezTo>
                    <a:cubicBezTo>
                      <a:pt x="48" y="49"/>
                      <a:pt x="35" y="1"/>
                      <a:pt x="22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" name="Google Shape;312;p26">
                <a:extLst>
                  <a:ext uri="{FF2B5EF4-FFF2-40B4-BE49-F238E27FC236}">
                    <a16:creationId xmlns:a16="http://schemas.microsoft.com/office/drawing/2014/main" id="{B01DAD58-F882-FF4B-D8ED-E7B0F0D6B09F}"/>
                  </a:ext>
                </a:extLst>
              </p:cNvPr>
              <p:cNvSpPr/>
              <p:nvPr/>
            </p:nvSpPr>
            <p:spPr>
              <a:xfrm>
                <a:off x="-237635" y="3013237"/>
                <a:ext cx="2416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4" extrusionOk="0">
                    <a:moveTo>
                      <a:pt x="21" y="1"/>
                    </a:moveTo>
                    <a:cubicBezTo>
                      <a:pt x="8" y="1"/>
                      <a:pt x="0" y="53"/>
                      <a:pt x="4" y="115"/>
                    </a:cubicBezTo>
                    <a:cubicBezTo>
                      <a:pt x="8" y="176"/>
                      <a:pt x="21" y="224"/>
                      <a:pt x="35" y="224"/>
                    </a:cubicBezTo>
                    <a:cubicBezTo>
                      <a:pt x="47" y="224"/>
                      <a:pt x="52" y="171"/>
                      <a:pt x="52" y="110"/>
                    </a:cubicBezTo>
                    <a:cubicBezTo>
                      <a:pt x="47" y="49"/>
                      <a:pt x="35" y="1"/>
                      <a:pt x="21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4" name="Google Shape;313;p26">
                <a:extLst>
                  <a:ext uri="{FF2B5EF4-FFF2-40B4-BE49-F238E27FC236}">
                    <a16:creationId xmlns:a16="http://schemas.microsoft.com/office/drawing/2014/main" id="{C455B60D-40C9-8329-C84E-537739355EAC}"/>
                  </a:ext>
                </a:extLst>
              </p:cNvPr>
              <p:cNvSpPr/>
              <p:nvPr/>
            </p:nvSpPr>
            <p:spPr>
              <a:xfrm>
                <a:off x="-236450" y="3033568"/>
                <a:ext cx="2416" cy="10393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8" extrusionOk="0">
                    <a:moveTo>
                      <a:pt x="17" y="0"/>
                    </a:moveTo>
                    <a:cubicBezTo>
                      <a:pt x="4" y="4"/>
                      <a:pt x="0" y="53"/>
                      <a:pt x="0" y="115"/>
                    </a:cubicBezTo>
                    <a:cubicBezTo>
                      <a:pt x="4" y="180"/>
                      <a:pt x="17" y="228"/>
                      <a:pt x="31" y="228"/>
                    </a:cubicBezTo>
                    <a:cubicBezTo>
                      <a:pt x="43" y="228"/>
                      <a:pt x="53" y="175"/>
                      <a:pt x="47" y="115"/>
                    </a:cubicBezTo>
                    <a:cubicBezTo>
                      <a:pt x="43" y="53"/>
                      <a:pt x="31" y="0"/>
                      <a:pt x="1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5" name="Google Shape;314;p26">
                <a:extLst>
                  <a:ext uri="{FF2B5EF4-FFF2-40B4-BE49-F238E27FC236}">
                    <a16:creationId xmlns:a16="http://schemas.microsoft.com/office/drawing/2014/main" id="{09BC6B0C-54BD-DF40-6AE3-64DD80ABF7D7}"/>
                  </a:ext>
                </a:extLst>
              </p:cNvPr>
              <p:cNvSpPr/>
              <p:nvPr/>
            </p:nvSpPr>
            <p:spPr>
              <a:xfrm>
                <a:off x="-235265" y="3054081"/>
                <a:ext cx="2416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4" extrusionOk="0">
                    <a:moveTo>
                      <a:pt x="17" y="0"/>
                    </a:moveTo>
                    <a:cubicBezTo>
                      <a:pt x="5" y="0"/>
                      <a:pt x="0" y="53"/>
                      <a:pt x="5" y="115"/>
                    </a:cubicBezTo>
                    <a:cubicBezTo>
                      <a:pt x="9" y="175"/>
                      <a:pt x="21" y="224"/>
                      <a:pt x="35" y="224"/>
                    </a:cubicBezTo>
                    <a:cubicBezTo>
                      <a:pt x="48" y="224"/>
                      <a:pt x="53" y="171"/>
                      <a:pt x="48" y="110"/>
                    </a:cubicBezTo>
                    <a:cubicBezTo>
                      <a:pt x="43" y="48"/>
                      <a:pt x="31" y="0"/>
                      <a:pt x="1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6" name="Google Shape;315;p26">
                <a:extLst>
                  <a:ext uri="{FF2B5EF4-FFF2-40B4-BE49-F238E27FC236}">
                    <a16:creationId xmlns:a16="http://schemas.microsoft.com/office/drawing/2014/main" id="{A0AAC0AA-350A-1ACD-5FE3-1021FF92C36E}"/>
                  </a:ext>
                </a:extLst>
              </p:cNvPr>
              <p:cNvSpPr/>
              <p:nvPr/>
            </p:nvSpPr>
            <p:spPr>
              <a:xfrm>
                <a:off x="-233897" y="3074367"/>
                <a:ext cx="2644" cy="10439"/>
              </a:xfrm>
              <a:custGeom>
                <a:avLst/>
                <a:gdLst/>
                <a:ahLst/>
                <a:cxnLst/>
                <a:rect l="l" t="t" r="r" b="b"/>
                <a:pathLst>
                  <a:path w="58" h="229" extrusionOk="0">
                    <a:moveTo>
                      <a:pt x="18" y="1"/>
                    </a:moveTo>
                    <a:cubicBezTo>
                      <a:pt x="9" y="6"/>
                      <a:pt x="1" y="53"/>
                      <a:pt x="5" y="115"/>
                    </a:cubicBezTo>
                    <a:cubicBezTo>
                      <a:pt x="9" y="180"/>
                      <a:pt x="27" y="229"/>
                      <a:pt x="36" y="229"/>
                    </a:cubicBezTo>
                    <a:cubicBezTo>
                      <a:pt x="49" y="224"/>
                      <a:pt x="58" y="176"/>
                      <a:pt x="53" y="115"/>
                    </a:cubicBezTo>
                    <a:cubicBezTo>
                      <a:pt x="49" y="49"/>
                      <a:pt x="31" y="1"/>
                      <a:pt x="18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7" name="Google Shape;316;p26">
                <a:extLst>
                  <a:ext uri="{FF2B5EF4-FFF2-40B4-BE49-F238E27FC236}">
                    <a16:creationId xmlns:a16="http://schemas.microsoft.com/office/drawing/2014/main" id="{8D868945-209E-FE91-4746-2B9A48DA07DC}"/>
                  </a:ext>
                </a:extLst>
              </p:cNvPr>
              <p:cNvSpPr/>
              <p:nvPr/>
            </p:nvSpPr>
            <p:spPr>
              <a:xfrm>
                <a:off x="-232302" y="3094925"/>
                <a:ext cx="2826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62" h="224" extrusionOk="0">
                    <a:moveTo>
                      <a:pt x="23" y="1"/>
                    </a:moveTo>
                    <a:cubicBezTo>
                      <a:pt x="9" y="1"/>
                      <a:pt x="1" y="53"/>
                      <a:pt x="9" y="114"/>
                    </a:cubicBezTo>
                    <a:cubicBezTo>
                      <a:pt x="14" y="175"/>
                      <a:pt x="27" y="223"/>
                      <a:pt x="40" y="223"/>
                    </a:cubicBezTo>
                    <a:cubicBezTo>
                      <a:pt x="53" y="223"/>
                      <a:pt x="61" y="171"/>
                      <a:pt x="53" y="110"/>
                    </a:cubicBezTo>
                    <a:cubicBezTo>
                      <a:pt x="49" y="48"/>
                      <a:pt x="35" y="1"/>
                      <a:pt x="2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8" name="Google Shape;317;p26">
                <a:extLst>
                  <a:ext uri="{FF2B5EF4-FFF2-40B4-BE49-F238E27FC236}">
                    <a16:creationId xmlns:a16="http://schemas.microsoft.com/office/drawing/2014/main" id="{1E591619-5F72-15C8-7743-DB217472621A}"/>
                  </a:ext>
                </a:extLst>
              </p:cNvPr>
              <p:cNvSpPr/>
              <p:nvPr/>
            </p:nvSpPr>
            <p:spPr>
              <a:xfrm>
                <a:off x="-230296" y="3115256"/>
                <a:ext cx="2826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62" h="224" extrusionOk="0">
                    <a:moveTo>
                      <a:pt x="17" y="1"/>
                    </a:moveTo>
                    <a:cubicBezTo>
                      <a:pt x="5" y="1"/>
                      <a:pt x="1" y="53"/>
                      <a:pt x="9" y="114"/>
                    </a:cubicBezTo>
                    <a:cubicBezTo>
                      <a:pt x="13" y="175"/>
                      <a:pt x="31" y="223"/>
                      <a:pt x="39" y="223"/>
                    </a:cubicBezTo>
                    <a:cubicBezTo>
                      <a:pt x="53" y="223"/>
                      <a:pt x="61" y="171"/>
                      <a:pt x="53" y="110"/>
                    </a:cubicBezTo>
                    <a:cubicBezTo>
                      <a:pt x="49" y="48"/>
                      <a:pt x="31" y="1"/>
                      <a:pt x="17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9" name="Google Shape;318;p26">
                <a:extLst>
                  <a:ext uri="{FF2B5EF4-FFF2-40B4-BE49-F238E27FC236}">
                    <a16:creationId xmlns:a16="http://schemas.microsoft.com/office/drawing/2014/main" id="{B6CEF9AF-992D-AA1F-76F0-9B8D1805AB25}"/>
                  </a:ext>
                </a:extLst>
              </p:cNvPr>
              <p:cNvSpPr/>
              <p:nvPr/>
            </p:nvSpPr>
            <p:spPr>
              <a:xfrm>
                <a:off x="-228108" y="3135587"/>
                <a:ext cx="2826" cy="10165"/>
              </a:xfrm>
              <a:custGeom>
                <a:avLst/>
                <a:gdLst/>
                <a:ahLst/>
                <a:cxnLst/>
                <a:rect l="l" t="t" r="r" b="b"/>
                <a:pathLst>
                  <a:path w="62" h="223" extrusionOk="0">
                    <a:moveTo>
                      <a:pt x="18" y="0"/>
                    </a:moveTo>
                    <a:cubicBezTo>
                      <a:pt x="5" y="0"/>
                      <a:pt x="1" y="53"/>
                      <a:pt x="5" y="114"/>
                    </a:cubicBezTo>
                    <a:cubicBezTo>
                      <a:pt x="13" y="175"/>
                      <a:pt x="31" y="223"/>
                      <a:pt x="44" y="223"/>
                    </a:cubicBezTo>
                    <a:cubicBezTo>
                      <a:pt x="57" y="223"/>
                      <a:pt x="62" y="170"/>
                      <a:pt x="53" y="110"/>
                    </a:cubicBezTo>
                    <a:cubicBezTo>
                      <a:pt x="48" y="48"/>
                      <a:pt x="31" y="0"/>
                      <a:pt x="18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0" name="Google Shape;319;p26">
                <a:extLst>
                  <a:ext uri="{FF2B5EF4-FFF2-40B4-BE49-F238E27FC236}">
                    <a16:creationId xmlns:a16="http://schemas.microsoft.com/office/drawing/2014/main" id="{59592C13-9067-E322-E8B4-7AAA88F11F6E}"/>
                  </a:ext>
                </a:extLst>
              </p:cNvPr>
              <p:cNvSpPr/>
              <p:nvPr/>
            </p:nvSpPr>
            <p:spPr>
              <a:xfrm>
                <a:off x="-225692" y="3155918"/>
                <a:ext cx="2826" cy="10165"/>
              </a:xfrm>
              <a:custGeom>
                <a:avLst/>
                <a:gdLst/>
                <a:ahLst/>
                <a:cxnLst/>
                <a:rect l="l" t="t" r="r" b="b"/>
                <a:pathLst>
                  <a:path w="62" h="223" extrusionOk="0">
                    <a:moveTo>
                      <a:pt x="17" y="0"/>
                    </a:moveTo>
                    <a:cubicBezTo>
                      <a:pt x="4" y="0"/>
                      <a:pt x="0" y="53"/>
                      <a:pt x="4" y="114"/>
                    </a:cubicBezTo>
                    <a:cubicBezTo>
                      <a:pt x="13" y="174"/>
                      <a:pt x="31" y="223"/>
                      <a:pt x="43" y="223"/>
                    </a:cubicBezTo>
                    <a:cubicBezTo>
                      <a:pt x="57" y="218"/>
                      <a:pt x="61" y="170"/>
                      <a:pt x="53" y="109"/>
                    </a:cubicBezTo>
                    <a:cubicBezTo>
                      <a:pt x="43" y="47"/>
                      <a:pt x="31" y="0"/>
                      <a:pt x="1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1" name="Google Shape;320;p26">
                <a:extLst>
                  <a:ext uri="{FF2B5EF4-FFF2-40B4-BE49-F238E27FC236}">
                    <a16:creationId xmlns:a16="http://schemas.microsoft.com/office/drawing/2014/main" id="{5C3E7691-5584-516E-0891-ED39214D247F}"/>
                  </a:ext>
                </a:extLst>
              </p:cNvPr>
              <p:cNvSpPr/>
              <p:nvPr/>
            </p:nvSpPr>
            <p:spPr>
              <a:xfrm>
                <a:off x="-223139" y="3176203"/>
                <a:ext cx="2826" cy="10029"/>
              </a:xfrm>
              <a:custGeom>
                <a:avLst/>
                <a:gdLst/>
                <a:ahLst/>
                <a:cxnLst/>
                <a:rect l="l" t="t" r="r" b="b"/>
                <a:pathLst>
                  <a:path w="62" h="220" extrusionOk="0">
                    <a:moveTo>
                      <a:pt x="16" y="1"/>
                    </a:moveTo>
                    <a:cubicBezTo>
                      <a:pt x="15" y="1"/>
                      <a:pt x="14" y="1"/>
                      <a:pt x="13" y="1"/>
                    </a:cubicBezTo>
                    <a:cubicBezTo>
                      <a:pt x="5" y="1"/>
                      <a:pt x="1" y="53"/>
                      <a:pt x="9" y="114"/>
                    </a:cubicBezTo>
                    <a:cubicBezTo>
                      <a:pt x="13" y="173"/>
                      <a:pt x="30" y="219"/>
                      <a:pt x="42" y="219"/>
                    </a:cubicBezTo>
                    <a:cubicBezTo>
                      <a:pt x="43" y="219"/>
                      <a:pt x="43" y="219"/>
                      <a:pt x="44" y="219"/>
                    </a:cubicBezTo>
                    <a:cubicBezTo>
                      <a:pt x="58" y="219"/>
                      <a:pt x="62" y="167"/>
                      <a:pt x="53" y="106"/>
                    </a:cubicBezTo>
                    <a:cubicBezTo>
                      <a:pt x="44" y="47"/>
                      <a:pt x="29" y="1"/>
                      <a:pt x="16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2" name="Google Shape;321;p26">
                <a:extLst>
                  <a:ext uri="{FF2B5EF4-FFF2-40B4-BE49-F238E27FC236}">
                    <a16:creationId xmlns:a16="http://schemas.microsoft.com/office/drawing/2014/main" id="{C4D28DC7-6EED-682E-A0F4-A1C0BB8DB90E}"/>
                  </a:ext>
                </a:extLst>
              </p:cNvPr>
              <p:cNvSpPr/>
              <p:nvPr/>
            </p:nvSpPr>
            <p:spPr>
              <a:xfrm>
                <a:off x="-220359" y="3196306"/>
                <a:ext cx="2826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62" h="224" extrusionOk="0">
                    <a:moveTo>
                      <a:pt x="14" y="1"/>
                    </a:moveTo>
                    <a:cubicBezTo>
                      <a:pt x="1" y="6"/>
                      <a:pt x="1" y="53"/>
                      <a:pt x="9" y="115"/>
                    </a:cubicBezTo>
                    <a:cubicBezTo>
                      <a:pt x="19" y="176"/>
                      <a:pt x="35" y="224"/>
                      <a:pt x="49" y="224"/>
                    </a:cubicBezTo>
                    <a:cubicBezTo>
                      <a:pt x="57" y="220"/>
                      <a:pt x="62" y="171"/>
                      <a:pt x="53" y="111"/>
                    </a:cubicBezTo>
                    <a:cubicBezTo>
                      <a:pt x="45" y="49"/>
                      <a:pt x="27" y="1"/>
                      <a:pt x="14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3" name="Google Shape;322;p26">
                <a:extLst>
                  <a:ext uri="{FF2B5EF4-FFF2-40B4-BE49-F238E27FC236}">
                    <a16:creationId xmlns:a16="http://schemas.microsoft.com/office/drawing/2014/main" id="{CC6FBB82-C054-F851-48DA-8253E0771CD3}"/>
                  </a:ext>
                </a:extLst>
              </p:cNvPr>
              <p:cNvSpPr/>
              <p:nvPr/>
            </p:nvSpPr>
            <p:spPr>
              <a:xfrm>
                <a:off x="-217578" y="3216455"/>
                <a:ext cx="3054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67" h="224" extrusionOk="0">
                    <a:moveTo>
                      <a:pt x="18" y="0"/>
                    </a:moveTo>
                    <a:cubicBezTo>
                      <a:pt x="6" y="4"/>
                      <a:pt x="1" y="53"/>
                      <a:pt x="14" y="114"/>
                    </a:cubicBezTo>
                    <a:cubicBezTo>
                      <a:pt x="23" y="175"/>
                      <a:pt x="40" y="223"/>
                      <a:pt x="53" y="223"/>
                    </a:cubicBezTo>
                    <a:cubicBezTo>
                      <a:pt x="67" y="223"/>
                      <a:pt x="67" y="171"/>
                      <a:pt x="58" y="109"/>
                    </a:cubicBezTo>
                    <a:cubicBezTo>
                      <a:pt x="49" y="48"/>
                      <a:pt x="32" y="0"/>
                      <a:pt x="18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4" name="Google Shape;323;p26">
                <a:extLst>
                  <a:ext uri="{FF2B5EF4-FFF2-40B4-BE49-F238E27FC236}">
                    <a16:creationId xmlns:a16="http://schemas.microsoft.com/office/drawing/2014/main" id="{BEFC750C-B65C-69DD-51D2-5995CF38BEDE}"/>
                  </a:ext>
                </a:extLst>
              </p:cNvPr>
              <p:cNvSpPr/>
              <p:nvPr/>
            </p:nvSpPr>
            <p:spPr>
              <a:xfrm>
                <a:off x="-214387" y="3236740"/>
                <a:ext cx="3054" cy="10074"/>
              </a:xfrm>
              <a:custGeom>
                <a:avLst/>
                <a:gdLst/>
                <a:ahLst/>
                <a:cxnLst/>
                <a:rect l="l" t="t" r="r" b="b"/>
                <a:pathLst>
                  <a:path w="67" h="221" extrusionOk="0">
                    <a:moveTo>
                      <a:pt x="20" y="1"/>
                    </a:moveTo>
                    <a:cubicBezTo>
                      <a:pt x="19" y="1"/>
                      <a:pt x="19" y="1"/>
                      <a:pt x="19" y="1"/>
                    </a:cubicBezTo>
                    <a:cubicBezTo>
                      <a:pt x="5" y="1"/>
                      <a:pt x="1" y="53"/>
                      <a:pt x="9" y="115"/>
                    </a:cubicBezTo>
                    <a:cubicBezTo>
                      <a:pt x="22" y="174"/>
                      <a:pt x="39" y="220"/>
                      <a:pt x="52" y="220"/>
                    </a:cubicBezTo>
                    <a:cubicBezTo>
                      <a:pt x="52" y="220"/>
                      <a:pt x="53" y="220"/>
                      <a:pt x="53" y="220"/>
                    </a:cubicBezTo>
                    <a:cubicBezTo>
                      <a:pt x="62" y="220"/>
                      <a:pt x="67" y="168"/>
                      <a:pt x="57" y="106"/>
                    </a:cubicBezTo>
                    <a:cubicBezTo>
                      <a:pt x="49" y="47"/>
                      <a:pt x="29" y="1"/>
                      <a:pt x="20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5" name="Google Shape;324;p26">
                <a:extLst>
                  <a:ext uri="{FF2B5EF4-FFF2-40B4-BE49-F238E27FC236}">
                    <a16:creationId xmlns:a16="http://schemas.microsoft.com/office/drawing/2014/main" id="{C0711897-7604-CC22-7EAA-F160A52BBE4C}"/>
                  </a:ext>
                </a:extLst>
              </p:cNvPr>
              <p:cNvSpPr/>
              <p:nvPr/>
            </p:nvSpPr>
            <p:spPr>
              <a:xfrm>
                <a:off x="-211151" y="3256889"/>
                <a:ext cx="3009" cy="9983"/>
              </a:xfrm>
              <a:custGeom>
                <a:avLst/>
                <a:gdLst/>
                <a:ahLst/>
                <a:cxnLst/>
                <a:rect l="l" t="t" r="r" b="b"/>
                <a:pathLst>
                  <a:path w="66" h="219" extrusionOk="0">
                    <a:moveTo>
                      <a:pt x="19" y="0"/>
                    </a:moveTo>
                    <a:cubicBezTo>
                      <a:pt x="18" y="0"/>
                      <a:pt x="17" y="0"/>
                      <a:pt x="17" y="0"/>
                    </a:cubicBezTo>
                    <a:cubicBezTo>
                      <a:pt x="4" y="0"/>
                      <a:pt x="0" y="53"/>
                      <a:pt x="13" y="114"/>
                    </a:cubicBezTo>
                    <a:cubicBezTo>
                      <a:pt x="22" y="172"/>
                      <a:pt x="37" y="219"/>
                      <a:pt x="50" y="219"/>
                    </a:cubicBezTo>
                    <a:cubicBezTo>
                      <a:pt x="51" y="219"/>
                      <a:pt x="52" y="219"/>
                      <a:pt x="53" y="219"/>
                    </a:cubicBezTo>
                    <a:cubicBezTo>
                      <a:pt x="65" y="219"/>
                      <a:pt x="65" y="166"/>
                      <a:pt x="57" y="105"/>
                    </a:cubicBezTo>
                    <a:cubicBezTo>
                      <a:pt x="49" y="47"/>
                      <a:pt x="32" y="0"/>
                      <a:pt x="1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6" name="Google Shape;325;p26">
                <a:extLst>
                  <a:ext uri="{FF2B5EF4-FFF2-40B4-BE49-F238E27FC236}">
                    <a16:creationId xmlns:a16="http://schemas.microsoft.com/office/drawing/2014/main" id="{F3628F6D-EF7A-E720-6D74-37E33EA91A00}"/>
                  </a:ext>
                </a:extLst>
              </p:cNvPr>
              <p:cNvSpPr/>
              <p:nvPr/>
            </p:nvSpPr>
            <p:spPr>
              <a:xfrm>
                <a:off x="-207777" y="3276992"/>
                <a:ext cx="3009" cy="10029"/>
              </a:xfrm>
              <a:custGeom>
                <a:avLst/>
                <a:gdLst/>
                <a:ahLst/>
                <a:cxnLst/>
                <a:rect l="l" t="t" r="r" b="b"/>
                <a:pathLst>
                  <a:path w="66" h="220" extrusionOk="0">
                    <a:moveTo>
                      <a:pt x="15" y="1"/>
                    </a:moveTo>
                    <a:cubicBezTo>
                      <a:pt x="14" y="1"/>
                      <a:pt x="14" y="1"/>
                      <a:pt x="13" y="1"/>
                    </a:cubicBezTo>
                    <a:cubicBezTo>
                      <a:pt x="5" y="1"/>
                      <a:pt x="1" y="53"/>
                      <a:pt x="9" y="114"/>
                    </a:cubicBezTo>
                    <a:cubicBezTo>
                      <a:pt x="21" y="174"/>
                      <a:pt x="38" y="219"/>
                      <a:pt x="51" y="219"/>
                    </a:cubicBezTo>
                    <a:cubicBezTo>
                      <a:pt x="52" y="219"/>
                      <a:pt x="52" y="219"/>
                      <a:pt x="53" y="219"/>
                    </a:cubicBezTo>
                    <a:cubicBezTo>
                      <a:pt x="66" y="219"/>
                      <a:pt x="66" y="167"/>
                      <a:pt x="57" y="106"/>
                    </a:cubicBezTo>
                    <a:cubicBezTo>
                      <a:pt x="48" y="47"/>
                      <a:pt x="28" y="1"/>
                      <a:pt x="15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7" name="Google Shape;326;p26">
                <a:extLst>
                  <a:ext uri="{FF2B5EF4-FFF2-40B4-BE49-F238E27FC236}">
                    <a16:creationId xmlns:a16="http://schemas.microsoft.com/office/drawing/2014/main" id="{15AEDA55-B347-6240-2F99-B2044F209DB7}"/>
                  </a:ext>
                </a:extLst>
              </p:cNvPr>
              <p:cNvSpPr/>
              <p:nvPr/>
            </p:nvSpPr>
            <p:spPr>
              <a:xfrm>
                <a:off x="-204450" y="3297140"/>
                <a:ext cx="3100" cy="9983"/>
              </a:xfrm>
              <a:custGeom>
                <a:avLst/>
                <a:gdLst/>
                <a:ahLst/>
                <a:cxnLst/>
                <a:rect l="l" t="t" r="r" b="b"/>
                <a:pathLst>
                  <a:path w="68" h="219" extrusionOk="0">
                    <a:moveTo>
                      <a:pt x="20" y="0"/>
                    </a:moveTo>
                    <a:cubicBezTo>
                      <a:pt x="20" y="0"/>
                      <a:pt x="19" y="0"/>
                      <a:pt x="19" y="1"/>
                    </a:cubicBezTo>
                    <a:cubicBezTo>
                      <a:pt x="6" y="1"/>
                      <a:pt x="1" y="53"/>
                      <a:pt x="15" y="114"/>
                    </a:cubicBezTo>
                    <a:cubicBezTo>
                      <a:pt x="23" y="172"/>
                      <a:pt x="39" y="219"/>
                      <a:pt x="52" y="219"/>
                    </a:cubicBezTo>
                    <a:cubicBezTo>
                      <a:pt x="52" y="219"/>
                      <a:pt x="53" y="219"/>
                      <a:pt x="53" y="219"/>
                    </a:cubicBezTo>
                    <a:cubicBezTo>
                      <a:pt x="67" y="219"/>
                      <a:pt x="67" y="166"/>
                      <a:pt x="59" y="105"/>
                    </a:cubicBezTo>
                    <a:cubicBezTo>
                      <a:pt x="50" y="46"/>
                      <a:pt x="29" y="0"/>
                      <a:pt x="20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8" name="Google Shape;327;p26">
                <a:extLst>
                  <a:ext uri="{FF2B5EF4-FFF2-40B4-BE49-F238E27FC236}">
                    <a16:creationId xmlns:a16="http://schemas.microsoft.com/office/drawing/2014/main" id="{E48674E0-CB08-9507-EAAB-6C602123B48B}"/>
                  </a:ext>
                </a:extLst>
              </p:cNvPr>
              <p:cNvSpPr/>
              <p:nvPr/>
            </p:nvSpPr>
            <p:spPr>
              <a:xfrm>
                <a:off x="-201031" y="3317243"/>
                <a:ext cx="3237" cy="10029"/>
              </a:xfrm>
              <a:custGeom>
                <a:avLst/>
                <a:gdLst/>
                <a:ahLst/>
                <a:cxnLst/>
                <a:rect l="l" t="t" r="r" b="b"/>
                <a:pathLst>
                  <a:path w="71" h="220" extrusionOk="0">
                    <a:moveTo>
                      <a:pt x="20" y="1"/>
                    </a:moveTo>
                    <a:cubicBezTo>
                      <a:pt x="20" y="1"/>
                      <a:pt x="19" y="1"/>
                      <a:pt x="18" y="1"/>
                    </a:cubicBezTo>
                    <a:cubicBezTo>
                      <a:pt x="5" y="1"/>
                      <a:pt x="0" y="54"/>
                      <a:pt x="14" y="114"/>
                    </a:cubicBezTo>
                    <a:cubicBezTo>
                      <a:pt x="22" y="173"/>
                      <a:pt x="39" y="219"/>
                      <a:pt x="51" y="219"/>
                    </a:cubicBezTo>
                    <a:cubicBezTo>
                      <a:pt x="52" y="219"/>
                      <a:pt x="52" y="219"/>
                      <a:pt x="53" y="219"/>
                    </a:cubicBezTo>
                    <a:cubicBezTo>
                      <a:pt x="67" y="219"/>
                      <a:pt x="71" y="167"/>
                      <a:pt x="57" y="106"/>
                    </a:cubicBezTo>
                    <a:cubicBezTo>
                      <a:pt x="49" y="47"/>
                      <a:pt x="33" y="1"/>
                      <a:pt x="20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9" name="Google Shape;328;p26">
                <a:extLst>
                  <a:ext uri="{FF2B5EF4-FFF2-40B4-BE49-F238E27FC236}">
                    <a16:creationId xmlns:a16="http://schemas.microsoft.com/office/drawing/2014/main" id="{20EE4699-8ED2-BB5B-73E0-CCC64FA4137E}"/>
                  </a:ext>
                </a:extLst>
              </p:cNvPr>
              <p:cNvSpPr/>
              <p:nvPr/>
            </p:nvSpPr>
            <p:spPr>
              <a:xfrm>
                <a:off x="-197657" y="3337346"/>
                <a:ext cx="3282" cy="10074"/>
              </a:xfrm>
              <a:custGeom>
                <a:avLst/>
                <a:gdLst/>
                <a:ahLst/>
                <a:cxnLst/>
                <a:rect l="l" t="t" r="r" b="b"/>
                <a:pathLst>
                  <a:path w="72" h="221" extrusionOk="0">
                    <a:moveTo>
                      <a:pt x="20" y="0"/>
                    </a:moveTo>
                    <a:cubicBezTo>
                      <a:pt x="20" y="0"/>
                      <a:pt x="19" y="0"/>
                      <a:pt x="19" y="1"/>
                    </a:cubicBezTo>
                    <a:cubicBezTo>
                      <a:pt x="5" y="1"/>
                      <a:pt x="1" y="53"/>
                      <a:pt x="15" y="115"/>
                    </a:cubicBezTo>
                    <a:cubicBezTo>
                      <a:pt x="23" y="173"/>
                      <a:pt x="39" y="220"/>
                      <a:pt x="52" y="220"/>
                    </a:cubicBezTo>
                    <a:cubicBezTo>
                      <a:pt x="52" y="220"/>
                      <a:pt x="53" y="220"/>
                      <a:pt x="53" y="220"/>
                    </a:cubicBezTo>
                    <a:cubicBezTo>
                      <a:pt x="67" y="220"/>
                      <a:pt x="71" y="167"/>
                      <a:pt x="58" y="105"/>
                    </a:cubicBezTo>
                    <a:cubicBezTo>
                      <a:pt x="49" y="47"/>
                      <a:pt x="33" y="0"/>
                      <a:pt x="20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0" name="Google Shape;329;p26">
                <a:extLst>
                  <a:ext uri="{FF2B5EF4-FFF2-40B4-BE49-F238E27FC236}">
                    <a16:creationId xmlns:a16="http://schemas.microsoft.com/office/drawing/2014/main" id="{BBC8BC70-84C9-2AAF-9650-9C173BD5403D}"/>
                  </a:ext>
                </a:extLst>
              </p:cNvPr>
              <p:cNvSpPr/>
              <p:nvPr/>
            </p:nvSpPr>
            <p:spPr>
              <a:xfrm>
                <a:off x="-194239" y="3357449"/>
                <a:ext cx="3009" cy="10074"/>
              </a:xfrm>
              <a:custGeom>
                <a:avLst/>
                <a:gdLst/>
                <a:ahLst/>
                <a:cxnLst/>
                <a:rect l="l" t="t" r="r" b="b"/>
                <a:pathLst>
                  <a:path w="66" h="221" extrusionOk="0">
                    <a:moveTo>
                      <a:pt x="20" y="1"/>
                    </a:moveTo>
                    <a:cubicBezTo>
                      <a:pt x="19" y="1"/>
                      <a:pt x="19" y="1"/>
                      <a:pt x="18" y="1"/>
                    </a:cubicBezTo>
                    <a:cubicBezTo>
                      <a:pt x="5" y="1"/>
                      <a:pt x="0" y="54"/>
                      <a:pt x="13" y="115"/>
                    </a:cubicBezTo>
                    <a:cubicBezTo>
                      <a:pt x="22" y="174"/>
                      <a:pt x="38" y="221"/>
                      <a:pt x="51" y="221"/>
                    </a:cubicBezTo>
                    <a:cubicBezTo>
                      <a:pt x="52" y="221"/>
                      <a:pt x="52" y="221"/>
                      <a:pt x="53" y="220"/>
                    </a:cubicBezTo>
                    <a:cubicBezTo>
                      <a:pt x="65" y="220"/>
                      <a:pt x="65" y="168"/>
                      <a:pt x="57" y="106"/>
                    </a:cubicBezTo>
                    <a:cubicBezTo>
                      <a:pt x="49" y="48"/>
                      <a:pt x="32" y="1"/>
                      <a:pt x="20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1" name="Google Shape;330;p26">
                <a:extLst>
                  <a:ext uri="{FF2B5EF4-FFF2-40B4-BE49-F238E27FC236}">
                    <a16:creationId xmlns:a16="http://schemas.microsoft.com/office/drawing/2014/main" id="{BFFA6368-E4D3-0834-1A19-7363F981E64D}"/>
                  </a:ext>
                </a:extLst>
              </p:cNvPr>
              <p:cNvSpPr/>
              <p:nvPr/>
            </p:nvSpPr>
            <p:spPr>
              <a:xfrm>
                <a:off x="-190865" y="3377598"/>
                <a:ext cx="3009" cy="10029"/>
              </a:xfrm>
              <a:custGeom>
                <a:avLst/>
                <a:gdLst/>
                <a:ahLst/>
                <a:cxnLst/>
                <a:rect l="l" t="t" r="r" b="b"/>
                <a:pathLst>
                  <a:path w="66" h="220" extrusionOk="0">
                    <a:moveTo>
                      <a:pt x="15" y="0"/>
                    </a:moveTo>
                    <a:cubicBezTo>
                      <a:pt x="15" y="0"/>
                      <a:pt x="14" y="1"/>
                      <a:pt x="13" y="1"/>
                    </a:cubicBezTo>
                    <a:cubicBezTo>
                      <a:pt x="1" y="1"/>
                      <a:pt x="1" y="53"/>
                      <a:pt x="9" y="114"/>
                    </a:cubicBezTo>
                    <a:cubicBezTo>
                      <a:pt x="17" y="173"/>
                      <a:pt x="34" y="219"/>
                      <a:pt x="47" y="219"/>
                    </a:cubicBezTo>
                    <a:cubicBezTo>
                      <a:pt x="48" y="219"/>
                      <a:pt x="48" y="219"/>
                      <a:pt x="49" y="219"/>
                    </a:cubicBezTo>
                    <a:cubicBezTo>
                      <a:pt x="62" y="219"/>
                      <a:pt x="66" y="166"/>
                      <a:pt x="53" y="106"/>
                    </a:cubicBezTo>
                    <a:cubicBezTo>
                      <a:pt x="44" y="47"/>
                      <a:pt x="28" y="0"/>
                      <a:pt x="15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2" name="Google Shape;331;p26">
                <a:extLst>
                  <a:ext uri="{FF2B5EF4-FFF2-40B4-BE49-F238E27FC236}">
                    <a16:creationId xmlns:a16="http://schemas.microsoft.com/office/drawing/2014/main" id="{FD81684C-6B8B-C1E8-0A65-FF7F74C7417D}"/>
                  </a:ext>
                </a:extLst>
              </p:cNvPr>
              <p:cNvSpPr/>
              <p:nvPr/>
            </p:nvSpPr>
            <p:spPr>
              <a:xfrm>
                <a:off x="-187902" y="3397746"/>
                <a:ext cx="3054" cy="9983"/>
              </a:xfrm>
              <a:custGeom>
                <a:avLst/>
                <a:gdLst/>
                <a:ahLst/>
                <a:cxnLst/>
                <a:rect l="l" t="t" r="r" b="b"/>
                <a:pathLst>
                  <a:path w="67" h="219" extrusionOk="0">
                    <a:moveTo>
                      <a:pt x="20" y="0"/>
                    </a:moveTo>
                    <a:cubicBezTo>
                      <a:pt x="20" y="0"/>
                      <a:pt x="19" y="0"/>
                      <a:pt x="19" y="0"/>
                    </a:cubicBezTo>
                    <a:cubicBezTo>
                      <a:pt x="5" y="0"/>
                      <a:pt x="1" y="53"/>
                      <a:pt x="10" y="114"/>
                    </a:cubicBezTo>
                    <a:cubicBezTo>
                      <a:pt x="18" y="173"/>
                      <a:pt x="39" y="219"/>
                      <a:pt x="48" y="219"/>
                    </a:cubicBezTo>
                    <a:cubicBezTo>
                      <a:pt x="48" y="219"/>
                      <a:pt x="49" y="219"/>
                      <a:pt x="49" y="218"/>
                    </a:cubicBezTo>
                    <a:cubicBezTo>
                      <a:pt x="63" y="218"/>
                      <a:pt x="67" y="166"/>
                      <a:pt x="58" y="105"/>
                    </a:cubicBezTo>
                    <a:cubicBezTo>
                      <a:pt x="49" y="47"/>
                      <a:pt x="33" y="0"/>
                      <a:pt x="20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3" name="Google Shape;332;p26">
                <a:extLst>
                  <a:ext uri="{FF2B5EF4-FFF2-40B4-BE49-F238E27FC236}">
                    <a16:creationId xmlns:a16="http://schemas.microsoft.com/office/drawing/2014/main" id="{DC7CF736-ADAC-A858-C20A-E3A834EB5209}"/>
                  </a:ext>
                </a:extLst>
              </p:cNvPr>
              <p:cNvSpPr/>
              <p:nvPr/>
            </p:nvSpPr>
            <p:spPr>
              <a:xfrm>
                <a:off x="-184894" y="3417849"/>
                <a:ext cx="3009" cy="10029"/>
              </a:xfrm>
              <a:custGeom>
                <a:avLst/>
                <a:gdLst/>
                <a:ahLst/>
                <a:cxnLst/>
                <a:rect l="l" t="t" r="r" b="b"/>
                <a:pathLst>
                  <a:path w="66" h="220" extrusionOk="0">
                    <a:moveTo>
                      <a:pt x="19" y="1"/>
                    </a:moveTo>
                    <a:cubicBezTo>
                      <a:pt x="19" y="1"/>
                      <a:pt x="18" y="1"/>
                      <a:pt x="18" y="1"/>
                    </a:cubicBezTo>
                    <a:cubicBezTo>
                      <a:pt x="5" y="1"/>
                      <a:pt x="1" y="53"/>
                      <a:pt x="9" y="114"/>
                    </a:cubicBezTo>
                    <a:cubicBezTo>
                      <a:pt x="17" y="172"/>
                      <a:pt x="34" y="219"/>
                      <a:pt x="48" y="219"/>
                    </a:cubicBezTo>
                    <a:cubicBezTo>
                      <a:pt x="48" y="219"/>
                      <a:pt x="49" y="219"/>
                      <a:pt x="49" y="219"/>
                    </a:cubicBezTo>
                    <a:cubicBezTo>
                      <a:pt x="62" y="219"/>
                      <a:pt x="66" y="167"/>
                      <a:pt x="58" y="106"/>
                    </a:cubicBezTo>
                    <a:cubicBezTo>
                      <a:pt x="50" y="46"/>
                      <a:pt x="33" y="1"/>
                      <a:pt x="19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4" name="Google Shape;333;p26">
                <a:extLst>
                  <a:ext uri="{FF2B5EF4-FFF2-40B4-BE49-F238E27FC236}">
                    <a16:creationId xmlns:a16="http://schemas.microsoft.com/office/drawing/2014/main" id="{417EC337-3BA0-82FB-CDB6-B6CA97967D9E}"/>
                  </a:ext>
                </a:extLst>
              </p:cNvPr>
              <p:cNvSpPr/>
              <p:nvPr/>
            </p:nvSpPr>
            <p:spPr>
              <a:xfrm>
                <a:off x="-182113" y="3437998"/>
                <a:ext cx="3054" cy="10165"/>
              </a:xfrm>
              <a:custGeom>
                <a:avLst/>
                <a:gdLst/>
                <a:ahLst/>
                <a:cxnLst/>
                <a:rect l="l" t="t" r="r" b="b"/>
                <a:pathLst>
                  <a:path w="67" h="223" extrusionOk="0">
                    <a:moveTo>
                      <a:pt x="19" y="0"/>
                    </a:moveTo>
                    <a:cubicBezTo>
                      <a:pt x="5" y="5"/>
                      <a:pt x="1" y="53"/>
                      <a:pt x="9" y="114"/>
                    </a:cubicBezTo>
                    <a:cubicBezTo>
                      <a:pt x="19" y="174"/>
                      <a:pt x="35" y="223"/>
                      <a:pt x="49" y="223"/>
                    </a:cubicBezTo>
                    <a:cubicBezTo>
                      <a:pt x="62" y="219"/>
                      <a:pt x="67" y="170"/>
                      <a:pt x="57" y="109"/>
                    </a:cubicBezTo>
                    <a:cubicBezTo>
                      <a:pt x="49" y="48"/>
                      <a:pt x="31" y="0"/>
                      <a:pt x="1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5" name="Google Shape;334;p26">
                <a:extLst>
                  <a:ext uri="{FF2B5EF4-FFF2-40B4-BE49-F238E27FC236}">
                    <a16:creationId xmlns:a16="http://schemas.microsoft.com/office/drawing/2014/main" id="{8044812F-7094-C067-B7E6-8E22E8A6C1EF}"/>
                  </a:ext>
                </a:extLst>
              </p:cNvPr>
              <p:cNvSpPr/>
              <p:nvPr/>
            </p:nvSpPr>
            <p:spPr>
              <a:xfrm>
                <a:off x="-179515" y="3458283"/>
                <a:ext cx="2872" cy="10029"/>
              </a:xfrm>
              <a:custGeom>
                <a:avLst/>
                <a:gdLst/>
                <a:ahLst/>
                <a:cxnLst/>
                <a:rect l="l" t="t" r="r" b="b"/>
                <a:pathLst>
                  <a:path w="63" h="220" extrusionOk="0">
                    <a:moveTo>
                      <a:pt x="20" y="1"/>
                    </a:moveTo>
                    <a:cubicBezTo>
                      <a:pt x="20" y="1"/>
                      <a:pt x="19" y="1"/>
                      <a:pt x="18" y="1"/>
                    </a:cubicBezTo>
                    <a:cubicBezTo>
                      <a:pt x="5" y="1"/>
                      <a:pt x="0" y="54"/>
                      <a:pt x="10" y="114"/>
                    </a:cubicBezTo>
                    <a:cubicBezTo>
                      <a:pt x="18" y="173"/>
                      <a:pt x="35" y="220"/>
                      <a:pt x="43" y="220"/>
                    </a:cubicBezTo>
                    <a:cubicBezTo>
                      <a:pt x="44" y="220"/>
                      <a:pt x="44" y="219"/>
                      <a:pt x="44" y="219"/>
                    </a:cubicBezTo>
                    <a:cubicBezTo>
                      <a:pt x="57" y="219"/>
                      <a:pt x="62" y="167"/>
                      <a:pt x="57" y="106"/>
                    </a:cubicBezTo>
                    <a:cubicBezTo>
                      <a:pt x="49" y="47"/>
                      <a:pt x="33" y="1"/>
                      <a:pt x="20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6" name="Google Shape;335;p26">
                <a:extLst>
                  <a:ext uri="{FF2B5EF4-FFF2-40B4-BE49-F238E27FC236}">
                    <a16:creationId xmlns:a16="http://schemas.microsoft.com/office/drawing/2014/main" id="{54CFF316-AF5D-7012-3A48-7D653A8E1629}"/>
                  </a:ext>
                </a:extLst>
              </p:cNvPr>
              <p:cNvSpPr/>
              <p:nvPr/>
            </p:nvSpPr>
            <p:spPr>
              <a:xfrm>
                <a:off x="-177144" y="3478386"/>
                <a:ext cx="2872" cy="10257"/>
              </a:xfrm>
              <a:custGeom>
                <a:avLst/>
                <a:gdLst/>
                <a:ahLst/>
                <a:cxnLst/>
                <a:rect l="l" t="t" r="r" b="b"/>
                <a:pathLst>
                  <a:path w="63" h="225" extrusionOk="0">
                    <a:moveTo>
                      <a:pt x="19" y="1"/>
                    </a:moveTo>
                    <a:cubicBezTo>
                      <a:pt x="5" y="6"/>
                      <a:pt x="1" y="53"/>
                      <a:pt x="10" y="115"/>
                    </a:cubicBezTo>
                    <a:cubicBezTo>
                      <a:pt x="14" y="174"/>
                      <a:pt x="30" y="224"/>
                      <a:pt x="43" y="224"/>
                    </a:cubicBezTo>
                    <a:cubicBezTo>
                      <a:pt x="44" y="224"/>
                      <a:pt x="44" y="224"/>
                      <a:pt x="45" y="224"/>
                    </a:cubicBezTo>
                    <a:cubicBezTo>
                      <a:pt x="57" y="224"/>
                      <a:pt x="63" y="172"/>
                      <a:pt x="53" y="111"/>
                    </a:cubicBezTo>
                    <a:cubicBezTo>
                      <a:pt x="49" y="49"/>
                      <a:pt x="31" y="1"/>
                      <a:pt x="19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7" name="Google Shape;336;p26">
                <a:extLst>
                  <a:ext uri="{FF2B5EF4-FFF2-40B4-BE49-F238E27FC236}">
                    <a16:creationId xmlns:a16="http://schemas.microsoft.com/office/drawing/2014/main" id="{4C291391-EED8-C033-3D7A-857FA6FCB96B}"/>
                  </a:ext>
                </a:extLst>
              </p:cNvPr>
              <p:cNvSpPr/>
              <p:nvPr/>
            </p:nvSpPr>
            <p:spPr>
              <a:xfrm>
                <a:off x="-174910" y="3498717"/>
                <a:ext cx="2781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61" h="224" extrusionOk="0">
                    <a:moveTo>
                      <a:pt x="18" y="0"/>
                    </a:moveTo>
                    <a:cubicBezTo>
                      <a:pt x="4" y="0"/>
                      <a:pt x="0" y="53"/>
                      <a:pt x="8" y="115"/>
                    </a:cubicBezTo>
                    <a:cubicBezTo>
                      <a:pt x="14" y="176"/>
                      <a:pt x="26" y="224"/>
                      <a:pt x="40" y="224"/>
                    </a:cubicBezTo>
                    <a:cubicBezTo>
                      <a:pt x="53" y="224"/>
                      <a:pt x="61" y="171"/>
                      <a:pt x="53" y="111"/>
                    </a:cubicBezTo>
                    <a:cubicBezTo>
                      <a:pt x="48" y="49"/>
                      <a:pt x="31" y="0"/>
                      <a:pt x="18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8" name="Google Shape;337;p26">
                <a:extLst>
                  <a:ext uri="{FF2B5EF4-FFF2-40B4-BE49-F238E27FC236}">
                    <a16:creationId xmlns:a16="http://schemas.microsoft.com/office/drawing/2014/main" id="{584DFE27-9856-A230-2139-8DAD89BD14EF}"/>
                  </a:ext>
                </a:extLst>
              </p:cNvPr>
              <p:cNvSpPr/>
              <p:nvPr/>
            </p:nvSpPr>
            <p:spPr>
              <a:xfrm>
                <a:off x="-172905" y="3519048"/>
                <a:ext cx="2598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7" h="224" extrusionOk="0">
                    <a:moveTo>
                      <a:pt x="17" y="0"/>
                    </a:moveTo>
                    <a:cubicBezTo>
                      <a:pt x="4" y="0"/>
                      <a:pt x="0" y="53"/>
                      <a:pt x="4" y="114"/>
                    </a:cubicBezTo>
                    <a:cubicBezTo>
                      <a:pt x="9" y="175"/>
                      <a:pt x="26" y="224"/>
                      <a:pt x="39" y="224"/>
                    </a:cubicBezTo>
                    <a:cubicBezTo>
                      <a:pt x="53" y="224"/>
                      <a:pt x="57" y="171"/>
                      <a:pt x="53" y="110"/>
                    </a:cubicBezTo>
                    <a:cubicBezTo>
                      <a:pt x="48" y="48"/>
                      <a:pt x="31" y="0"/>
                      <a:pt x="1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9" name="Google Shape;338;p26">
                <a:extLst>
                  <a:ext uri="{FF2B5EF4-FFF2-40B4-BE49-F238E27FC236}">
                    <a16:creationId xmlns:a16="http://schemas.microsoft.com/office/drawing/2014/main" id="{6041401C-D59C-1E0A-D4F7-2F14936A5850}"/>
                  </a:ext>
                </a:extLst>
              </p:cNvPr>
              <p:cNvSpPr/>
              <p:nvPr/>
            </p:nvSpPr>
            <p:spPr>
              <a:xfrm>
                <a:off x="-171355" y="3539333"/>
                <a:ext cx="2644" cy="10257"/>
              </a:xfrm>
              <a:custGeom>
                <a:avLst/>
                <a:gdLst/>
                <a:ahLst/>
                <a:cxnLst/>
                <a:rect l="l" t="t" r="r" b="b"/>
                <a:pathLst>
                  <a:path w="58" h="225" extrusionOk="0">
                    <a:moveTo>
                      <a:pt x="23" y="1"/>
                    </a:moveTo>
                    <a:cubicBezTo>
                      <a:pt x="9" y="6"/>
                      <a:pt x="1" y="53"/>
                      <a:pt x="5" y="115"/>
                    </a:cubicBezTo>
                    <a:cubicBezTo>
                      <a:pt x="14" y="174"/>
                      <a:pt x="26" y="225"/>
                      <a:pt x="39" y="225"/>
                    </a:cubicBezTo>
                    <a:cubicBezTo>
                      <a:pt x="40" y="225"/>
                      <a:pt x="40" y="224"/>
                      <a:pt x="41" y="224"/>
                    </a:cubicBezTo>
                    <a:cubicBezTo>
                      <a:pt x="53" y="224"/>
                      <a:pt x="57" y="176"/>
                      <a:pt x="53" y="111"/>
                    </a:cubicBezTo>
                    <a:cubicBezTo>
                      <a:pt x="49" y="49"/>
                      <a:pt x="35" y="1"/>
                      <a:pt x="2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0" name="Google Shape;339;p26">
                <a:extLst>
                  <a:ext uri="{FF2B5EF4-FFF2-40B4-BE49-F238E27FC236}">
                    <a16:creationId xmlns:a16="http://schemas.microsoft.com/office/drawing/2014/main" id="{961E170F-DB9C-29F8-C8EE-43416BCD32F6}"/>
                  </a:ext>
                </a:extLst>
              </p:cNvPr>
              <p:cNvSpPr/>
              <p:nvPr/>
            </p:nvSpPr>
            <p:spPr>
              <a:xfrm>
                <a:off x="-169759" y="3559892"/>
                <a:ext cx="2416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4" extrusionOk="0">
                    <a:moveTo>
                      <a:pt x="20" y="1"/>
                    </a:moveTo>
                    <a:cubicBezTo>
                      <a:pt x="19" y="1"/>
                      <a:pt x="19" y="1"/>
                      <a:pt x="18" y="1"/>
                    </a:cubicBezTo>
                    <a:cubicBezTo>
                      <a:pt x="6" y="1"/>
                      <a:pt x="0" y="48"/>
                      <a:pt x="6" y="114"/>
                    </a:cubicBezTo>
                    <a:cubicBezTo>
                      <a:pt x="10" y="175"/>
                      <a:pt x="22" y="223"/>
                      <a:pt x="36" y="223"/>
                    </a:cubicBezTo>
                    <a:cubicBezTo>
                      <a:pt x="49" y="223"/>
                      <a:pt x="53" y="171"/>
                      <a:pt x="49" y="110"/>
                    </a:cubicBezTo>
                    <a:cubicBezTo>
                      <a:pt x="45" y="51"/>
                      <a:pt x="33" y="1"/>
                      <a:pt x="20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1" name="Google Shape;340;p26">
                <a:extLst>
                  <a:ext uri="{FF2B5EF4-FFF2-40B4-BE49-F238E27FC236}">
                    <a16:creationId xmlns:a16="http://schemas.microsoft.com/office/drawing/2014/main" id="{7FA3F101-20C9-A3AB-985B-5F2F70F03FF3}"/>
                  </a:ext>
                </a:extLst>
              </p:cNvPr>
              <p:cNvSpPr/>
              <p:nvPr/>
            </p:nvSpPr>
            <p:spPr>
              <a:xfrm>
                <a:off x="-168574" y="3580223"/>
                <a:ext cx="2462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4" extrusionOk="0">
                    <a:moveTo>
                      <a:pt x="23" y="1"/>
                    </a:moveTo>
                    <a:cubicBezTo>
                      <a:pt x="10" y="1"/>
                      <a:pt x="1" y="48"/>
                      <a:pt x="6" y="114"/>
                    </a:cubicBezTo>
                    <a:cubicBezTo>
                      <a:pt x="6" y="175"/>
                      <a:pt x="18" y="223"/>
                      <a:pt x="32" y="223"/>
                    </a:cubicBezTo>
                    <a:cubicBezTo>
                      <a:pt x="45" y="223"/>
                      <a:pt x="53" y="171"/>
                      <a:pt x="49" y="110"/>
                    </a:cubicBezTo>
                    <a:cubicBezTo>
                      <a:pt x="49" y="48"/>
                      <a:pt x="36" y="1"/>
                      <a:pt x="2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" name="Google Shape;341;p26">
                <a:extLst>
                  <a:ext uri="{FF2B5EF4-FFF2-40B4-BE49-F238E27FC236}">
                    <a16:creationId xmlns:a16="http://schemas.microsoft.com/office/drawing/2014/main" id="{48911C05-2E9A-AEA8-9B60-6B5A1D5030A5}"/>
                  </a:ext>
                </a:extLst>
              </p:cNvPr>
              <p:cNvSpPr/>
              <p:nvPr/>
            </p:nvSpPr>
            <p:spPr>
              <a:xfrm>
                <a:off x="-167571" y="3600554"/>
                <a:ext cx="2462" cy="10165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3" extrusionOk="0">
                    <a:moveTo>
                      <a:pt x="23" y="0"/>
                    </a:moveTo>
                    <a:cubicBezTo>
                      <a:pt x="10" y="0"/>
                      <a:pt x="1" y="53"/>
                      <a:pt x="5" y="114"/>
                    </a:cubicBezTo>
                    <a:cubicBezTo>
                      <a:pt x="5" y="175"/>
                      <a:pt x="18" y="223"/>
                      <a:pt x="31" y="223"/>
                    </a:cubicBezTo>
                    <a:cubicBezTo>
                      <a:pt x="45" y="223"/>
                      <a:pt x="53" y="170"/>
                      <a:pt x="49" y="110"/>
                    </a:cubicBezTo>
                    <a:cubicBezTo>
                      <a:pt x="49" y="48"/>
                      <a:pt x="36" y="0"/>
                      <a:pt x="2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" name="Google Shape;342;p26">
                <a:extLst>
                  <a:ext uri="{FF2B5EF4-FFF2-40B4-BE49-F238E27FC236}">
                    <a16:creationId xmlns:a16="http://schemas.microsoft.com/office/drawing/2014/main" id="{77ED9796-EA1F-C399-0BFD-28D7BE2A8D0A}"/>
                  </a:ext>
                </a:extLst>
              </p:cNvPr>
              <p:cNvSpPr/>
              <p:nvPr/>
            </p:nvSpPr>
            <p:spPr>
              <a:xfrm>
                <a:off x="-166751" y="3620885"/>
                <a:ext cx="2416" cy="10165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3" extrusionOk="0">
                    <a:moveTo>
                      <a:pt x="22" y="0"/>
                    </a:moveTo>
                    <a:cubicBezTo>
                      <a:pt x="9" y="0"/>
                      <a:pt x="0" y="53"/>
                      <a:pt x="0" y="113"/>
                    </a:cubicBezTo>
                    <a:cubicBezTo>
                      <a:pt x="4" y="172"/>
                      <a:pt x="17" y="223"/>
                      <a:pt x="29" y="223"/>
                    </a:cubicBezTo>
                    <a:cubicBezTo>
                      <a:pt x="30" y="223"/>
                      <a:pt x="30" y="223"/>
                      <a:pt x="31" y="223"/>
                    </a:cubicBezTo>
                    <a:cubicBezTo>
                      <a:pt x="45" y="223"/>
                      <a:pt x="53" y="174"/>
                      <a:pt x="49" y="113"/>
                    </a:cubicBezTo>
                    <a:cubicBezTo>
                      <a:pt x="49" y="47"/>
                      <a:pt x="35" y="0"/>
                      <a:pt x="2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4" name="Google Shape;343;p26">
                <a:extLst>
                  <a:ext uri="{FF2B5EF4-FFF2-40B4-BE49-F238E27FC236}">
                    <a16:creationId xmlns:a16="http://schemas.microsoft.com/office/drawing/2014/main" id="{04D6F301-CD32-C03F-E2C4-821A48A1F9B2}"/>
                  </a:ext>
                </a:extLst>
              </p:cNvPr>
              <p:cNvSpPr/>
              <p:nvPr/>
            </p:nvSpPr>
            <p:spPr>
              <a:xfrm>
                <a:off x="-166158" y="3641398"/>
                <a:ext cx="2234" cy="10165"/>
              </a:xfrm>
              <a:custGeom>
                <a:avLst/>
                <a:gdLst/>
                <a:ahLst/>
                <a:cxnLst/>
                <a:rect l="l" t="t" r="r" b="b"/>
                <a:pathLst>
                  <a:path w="49" h="223" extrusionOk="0">
                    <a:moveTo>
                      <a:pt x="22" y="0"/>
                    </a:moveTo>
                    <a:cubicBezTo>
                      <a:pt x="9" y="0"/>
                      <a:pt x="0" y="48"/>
                      <a:pt x="0" y="109"/>
                    </a:cubicBezTo>
                    <a:cubicBezTo>
                      <a:pt x="5" y="174"/>
                      <a:pt x="14" y="222"/>
                      <a:pt x="26" y="222"/>
                    </a:cubicBezTo>
                    <a:cubicBezTo>
                      <a:pt x="40" y="222"/>
                      <a:pt x="48" y="170"/>
                      <a:pt x="48" y="109"/>
                    </a:cubicBezTo>
                    <a:cubicBezTo>
                      <a:pt x="48" y="48"/>
                      <a:pt x="36" y="0"/>
                      <a:pt x="2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5" name="Google Shape;344;p26">
                <a:extLst>
                  <a:ext uri="{FF2B5EF4-FFF2-40B4-BE49-F238E27FC236}">
                    <a16:creationId xmlns:a16="http://schemas.microsoft.com/office/drawing/2014/main" id="{12A2C6DF-31D8-6534-53E6-9B526ABBE857}"/>
                  </a:ext>
                </a:extLst>
              </p:cNvPr>
              <p:cNvSpPr/>
              <p:nvPr/>
            </p:nvSpPr>
            <p:spPr>
              <a:xfrm>
                <a:off x="-165748" y="3661683"/>
                <a:ext cx="2234" cy="10393"/>
              </a:xfrm>
              <a:custGeom>
                <a:avLst/>
                <a:gdLst/>
                <a:ahLst/>
                <a:cxnLst/>
                <a:rect l="l" t="t" r="r" b="b"/>
                <a:pathLst>
                  <a:path w="49" h="228" extrusionOk="0">
                    <a:moveTo>
                      <a:pt x="23" y="1"/>
                    </a:moveTo>
                    <a:cubicBezTo>
                      <a:pt x="9" y="1"/>
                      <a:pt x="0" y="53"/>
                      <a:pt x="0" y="114"/>
                    </a:cubicBezTo>
                    <a:cubicBezTo>
                      <a:pt x="0" y="175"/>
                      <a:pt x="13" y="227"/>
                      <a:pt x="27" y="227"/>
                    </a:cubicBezTo>
                    <a:cubicBezTo>
                      <a:pt x="39" y="227"/>
                      <a:pt x="49" y="175"/>
                      <a:pt x="49" y="114"/>
                    </a:cubicBezTo>
                    <a:cubicBezTo>
                      <a:pt x="49" y="53"/>
                      <a:pt x="35" y="1"/>
                      <a:pt x="2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6" name="Google Shape;345;p26">
                <a:extLst>
                  <a:ext uri="{FF2B5EF4-FFF2-40B4-BE49-F238E27FC236}">
                    <a16:creationId xmlns:a16="http://schemas.microsoft.com/office/drawing/2014/main" id="{FAD7D46A-5EE3-1D71-8BF4-03B6C2D82481}"/>
                  </a:ext>
                </a:extLst>
              </p:cNvPr>
              <p:cNvSpPr/>
              <p:nvPr/>
            </p:nvSpPr>
            <p:spPr>
              <a:xfrm>
                <a:off x="-165566" y="3682196"/>
                <a:ext cx="2234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49" h="224" extrusionOk="0">
                    <a:moveTo>
                      <a:pt x="23" y="1"/>
                    </a:moveTo>
                    <a:cubicBezTo>
                      <a:pt x="9" y="1"/>
                      <a:pt x="1" y="53"/>
                      <a:pt x="1" y="114"/>
                    </a:cubicBezTo>
                    <a:cubicBezTo>
                      <a:pt x="1" y="176"/>
                      <a:pt x="9" y="223"/>
                      <a:pt x="23" y="223"/>
                    </a:cubicBezTo>
                    <a:cubicBezTo>
                      <a:pt x="35" y="223"/>
                      <a:pt x="49" y="176"/>
                      <a:pt x="49" y="114"/>
                    </a:cubicBezTo>
                    <a:cubicBezTo>
                      <a:pt x="49" y="49"/>
                      <a:pt x="35" y="1"/>
                      <a:pt x="2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" name="Google Shape;346;p26">
                <a:extLst>
                  <a:ext uri="{FF2B5EF4-FFF2-40B4-BE49-F238E27FC236}">
                    <a16:creationId xmlns:a16="http://schemas.microsoft.com/office/drawing/2014/main" id="{84E5307D-D718-0DAD-2BFA-47CB047652B8}"/>
                  </a:ext>
                </a:extLst>
              </p:cNvPr>
              <p:cNvSpPr/>
              <p:nvPr/>
            </p:nvSpPr>
            <p:spPr>
              <a:xfrm>
                <a:off x="-165383" y="3702709"/>
                <a:ext cx="2279" cy="10257"/>
              </a:xfrm>
              <a:custGeom>
                <a:avLst/>
                <a:gdLst/>
                <a:ahLst/>
                <a:cxnLst/>
                <a:rect l="l" t="t" r="r" b="b"/>
                <a:pathLst>
                  <a:path w="50" h="225" extrusionOk="0">
                    <a:moveTo>
                      <a:pt x="23" y="1"/>
                    </a:moveTo>
                    <a:cubicBezTo>
                      <a:pt x="9" y="1"/>
                      <a:pt x="1" y="49"/>
                      <a:pt x="1" y="110"/>
                    </a:cubicBezTo>
                    <a:cubicBezTo>
                      <a:pt x="1" y="172"/>
                      <a:pt x="9" y="224"/>
                      <a:pt x="23" y="224"/>
                    </a:cubicBezTo>
                    <a:cubicBezTo>
                      <a:pt x="35" y="224"/>
                      <a:pt x="49" y="172"/>
                      <a:pt x="45" y="110"/>
                    </a:cubicBezTo>
                    <a:cubicBezTo>
                      <a:pt x="45" y="49"/>
                      <a:pt x="35" y="1"/>
                      <a:pt x="2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8" name="Google Shape;347;p26">
                <a:extLst>
                  <a:ext uri="{FF2B5EF4-FFF2-40B4-BE49-F238E27FC236}">
                    <a16:creationId xmlns:a16="http://schemas.microsoft.com/office/drawing/2014/main" id="{30A3308B-3300-6A14-A48B-05AD42EA5E04}"/>
                  </a:ext>
                </a:extLst>
              </p:cNvPr>
              <p:cNvSpPr/>
              <p:nvPr/>
            </p:nvSpPr>
            <p:spPr>
              <a:xfrm>
                <a:off x="-165155" y="3723040"/>
                <a:ext cx="2234" cy="10439"/>
              </a:xfrm>
              <a:custGeom>
                <a:avLst/>
                <a:gdLst/>
                <a:ahLst/>
                <a:cxnLst/>
                <a:rect l="l" t="t" r="r" b="b"/>
                <a:pathLst>
                  <a:path w="49" h="229" extrusionOk="0">
                    <a:moveTo>
                      <a:pt x="22" y="1"/>
                    </a:moveTo>
                    <a:cubicBezTo>
                      <a:pt x="10" y="1"/>
                      <a:pt x="0" y="53"/>
                      <a:pt x="0" y="114"/>
                    </a:cubicBezTo>
                    <a:cubicBezTo>
                      <a:pt x="0" y="176"/>
                      <a:pt x="14" y="228"/>
                      <a:pt x="22" y="228"/>
                    </a:cubicBezTo>
                    <a:cubicBezTo>
                      <a:pt x="36" y="224"/>
                      <a:pt x="48" y="176"/>
                      <a:pt x="48" y="114"/>
                    </a:cubicBezTo>
                    <a:cubicBezTo>
                      <a:pt x="44" y="53"/>
                      <a:pt x="36" y="1"/>
                      <a:pt x="22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9" name="Google Shape;348;p26">
                <a:extLst>
                  <a:ext uri="{FF2B5EF4-FFF2-40B4-BE49-F238E27FC236}">
                    <a16:creationId xmlns:a16="http://schemas.microsoft.com/office/drawing/2014/main" id="{3CC8975C-2562-29BD-537B-3FE3F9306576}"/>
                  </a:ext>
                </a:extLst>
              </p:cNvPr>
              <p:cNvSpPr/>
              <p:nvPr/>
            </p:nvSpPr>
            <p:spPr>
              <a:xfrm>
                <a:off x="-164973" y="3743554"/>
                <a:ext cx="2234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49" h="224" extrusionOk="0">
                    <a:moveTo>
                      <a:pt x="22" y="0"/>
                    </a:moveTo>
                    <a:cubicBezTo>
                      <a:pt x="10" y="0"/>
                      <a:pt x="0" y="49"/>
                      <a:pt x="0" y="115"/>
                    </a:cubicBezTo>
                    <a:cubicBezTo>
                      <a:pt x="0" y="176"/>
                      <a:pt x="14" y="224"/>
                      <a:pt x="26" y="224"/>
                    </a:cubicBezTo>
                    <a:cubicBezTo>
                      <a:pt x="40" y="224"/>
                      <a:pt x="49" y="176"/>
                      <a:pt x="49" y="110"/>
                    </a:cubicBezTo>
                    <a:cubicBezTo>
                      <a:pt x="49" y="49"/>
                      <a:pt x="36" y="0"/>
                      <a:pt x="2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0" name="Google Shape;349;p26">
                <a:extLst>
                  <a:ext uri="{FF2B5EF4-FFF2-40B4-BE49-F238E27FC236}">
                    <a16:creationId xmlns:a16="http://schemas.microsoft.com/office/drawing/2014/main" id="{85BF77F5-180E-3F1A-53F2-50B853FEBFA4}"/>
                  </a:ext>
                </a:extLst>
              </p:cNvPr>
              <p:cNvSpPr/>
              <p:nvPr/>
            </p:nvSpPr>
            <p:spPr>
              <a:xfrm>
                <a:off x="-164745" y="3763884"/>
                <a:ext cx="2416" cy="10393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8" extrusionOk="0">
                    <a:moveTo>
                      <a:pt x="27" y="0"/>
                    </a:moveTo>
                    <a:cubicBezTo>
                      <a:pt x="13" y="0"/>
                      <a:pt x="1" y="53"/>
                      <a:pt x="5" y="115"/>
                    </a:cubicBezTo>
                    <a:cubicBezTo>
                      <a:pt x="5" y="175"/>
                      <a:pt x="17" y="228"/>
                      <a:pt x="27" y="228"/>
                    </a:cubicBezTo>
                    <a:cubicBezTo>
                      <a:pt x="39" y="228"/>
                      <a:pt x="53" y="175"/>
                      <a:pt x="48" y="115"/>
                    </a:cubicBezTo>
                    <a:cubicBezTo>
                      <a:pt x="48" y="53"/>
                      <a:pt x="39" y="0"/>
                      <a:pt x="2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1" name="Google Shape;350;p26">
                <a:extLst>
                  <a:ext uri="{FF2B5EF4-FFF2-40B4-BE49-F238E27FC236}">
                    <a16:creationId xmlns:a16="http://schemas.microsoft.com/office/drawing/2014/main" id="{18C1F368-BA1E-77AE-F5D5-F80C7BF3AE24}"/>
                  </a:ext>
                </a:extLst>
              </p:cNvPr>
              <p:cNvSpPr/>
              <p:nvPr/>
            </p:nvSpPr>
            <p:spPr>
              <a:xfrm>
                <a:off x="-164380" y="3784398"/>
                <a:ext cx="2279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0" h="224" extrusionOk="0">
                    <a:moveTo>
                      <a:pt x="23" y="0"/>
                    </a:moveTo>
                    <a:cubicBezTo>
                      <a:pt x="9" y="0"/>
                      <a:pt x="1" y="53"/>
                      <a:pt x="1" y="115"/>
                    </a:cubicBezTo>
                    <a:cubicBezTo>
                      <a:pt x="5" y="175"/>
                      <a:pt x="13" y="224"/>
                      <a:pt x="27" y="224"/>
                    </a:cubicBezTo>
                    <a:cubicBezTo>
                      <a:pt x="40" y="224"/>
                      <a:pt x="49" y="175"/>
                      <a:pt x="49" y="115"/>
                    </a:cubicBezTo>
                    <a:cubicBezTo>
                      <a:pt x="49" y="48"/>
                      <a:pt x="36" y="0"/>
                      <a:pt x="2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2" name="Google Shape;351;p26">
                <a:extLst>
                  <a:ext uri="{FF2B5EF4-FFF2-40B4-BE49-F238E27FC236}">
                    <a16:creationId xmlns:a16="http://schemas.microsoft.com/office/drawing/2014/main" id="{3BAEC8F3-C10E-FD35-F470-75010DF1685C}"/>
                  </a:ext>
                </a:extLst>
              </p:cNvPr>
              <p:cNvSpPr/>
              <p:nvPr/>
            </p:nvSpPr>
            <p:spPr>
              <a:xfrm>
                <a:off x="-163970" y="3804956"/>
                <a:ext cx="2234" cy="10165"/>
              </a:xfrm>
              <a:custGeom>
                <a:avLst/>
                <a:gdLst/>
                <a:ahLst/>
                <a:cxnLst/>
                <a:rect l="l" t="t" r="r" b="b"/>
                <a:pathLst>
                  <a:path w="49" h="223" extrusionOk="0">
                    <a:moveTo>
                      <a:pt x="22" y="0"/>
                    </a:moveTo>
                    <a:cubicBezTo>
                      <a:pt x="10" y="0"/>
                      <a:pt x="0" y="47"/>
                      <a:pt x="0" y="109"/>
                    </a:cubicBezTo>
                    <a:cubicBezTo>
                      <a:pt x="4" y="174"/>
                      <a:pt x="14" y="223"/>
                      <a:pt x="27" y="223"/>
                    </a:cubicBezTo>
                    <a:cubicBezTo>
                      <a:pt x="40" y="223"/>
                      <a:pt x="49" y="170"/>
                      <a:pt x="49" y="109"/>
                    </a:cubicBezTo>
                    <a:cubicBezTo>
                      <a:pt x="49" y="47"/>
                      <a:pt x="36" y="0"/>
                      <a:pt x="2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3" name="Google Shape;352;p26">
                <a:extLst>
                  <a:ext uri="{FF2B5EF4-FFF2-40B4-BE49-F238E27FC236}">
                    <a16:creationId xmlns:a16="http://schemas.microsoft.com/office/drawing/2014/main" id="{237CF339-4F83-B191-41AC-3B4AD4D14712}"/>
                  </a:ext>
                </a:extLst>
              </p:cNvPr>
              <p:cNvSpPr/>
              <p:nvPr/>
            </p:nvSpPr>
            <p:spPr>
              <a:xfrm>
                <a:off x="-163560" y="3825242"/>
                <a:ext cx="2462" cy="10393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8" extrusionOk="0">
                    <a:moveTo>
                      <a:pt x="22" y="1"/>
                    </a:moveTo>
                    <a:cubicBezTo>
                      <a:pt x="9" y="1"/>
                      <a:pt x="1" y="53"/>
                      <a:pt x="5" y="114"/>
                    </a:cubicBezTo>
                    <a:cubicBezTo>
                      <a:pt x="5" y="175"/>
                      <a:pt x="18" y="227"/>
                      <a:pt x="31" y="227"/>
                    </a:cubicBezTo>
                    <a:cubicBezTo>
                      <a:pt x="44" y="223"/>
                      <a:pt x="53" y="175"/>
                      <a:pt x="48" y="114"/>
                    </a:cubicBezTo>
                    <a:cubicBezTo>
                      <a:pt x="48" y="53"/>
                      <a:pt x="35" y="1"/>
                      <a:pt x="22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4" name="Google Shape;353;p26">
                <a:extLst>
                  <a:ext uri="{FF2B5EF4-FFF2-40B4-BE49-F238E27FC236}">
                    <a16:creationId xmlns:a16="http://schemas.microsoft.com/office/drawing/2014/main" id="{8BC52B90-8C18-D6C1-CA05-5981D9846C1D}"/>
                  </a:ext>
                </a:extLst>
              </p:cNvPr>
              <p:cNvSpPr/>
              <p:nvPr/>
            </p:nvSpPr>
            <p:spPr>
              <a:xfrm>
                <a:off x="-162967" y="3845755"/>
                <a:ext cx="2234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49" h="224" extrusionOk="0">
                    <a:moveTo>
                      <a:pt x="22" y="1"/>
                    </a:moveTo>
                    <a:cubicBezTo>
                      <a:pt x="9" y="1"/>
                      <a:pt x="0" y="49"/>
                      <a:pt x="0" y="114"/>
                    </a:cubicBezTo>
                    <a:cubicBezTo>
                      <a:pt x="0" y="175"/>
                      <a:pt x="14" y="223"/>
                      <a:pt x="27" y="223"/>
                    </a:cubicBezTo>
                    <a:cubicBezTo>
                      <a:pt x="40" y="223"/>
                      <a:pt x="49" y="175"/>
                      <a:pt x="49" y="110"/>
                    </a:cubicBezTo>
                    <a:cubicBezTo>
                      <a:pt x="44" y="49"/>
                      <a:pt x="35" y="1"/>
                      <a:pt x="22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5" name="Google Shape;354;p26">
                <a:extLst>
                  <a:ext uri="{FF2B5EF4-FFF2-40B4-BE49-F238E27FC236}">
                    <a16:creationId xmlns:a16="http://schemas.microsoft.com/office/drawing/2014/main" id="{C28CFF46-38C6-AE89-2391-304B21592AAB}"/>
                  </a:ext>
                </a:extLst>
              </p:cNvPr>
              <p:cNvSpPr/>
              <p:nvPr/>
            </p:nvSpPr>
            <p:spPr>
              <a:xfrm>
                <a:off x="-162603" y="3866086"/>
                <a:ext cx="2462" cy="10393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8" extrusionOk="0">
                    <a:moveTo>
                      <a:pt x="23" y="1"/>
                    </a:moveTo>
                    <a:cubicBezTo>
                      <a:pt x="10" y="1"/>
                      <a:pt x="1" y="53"/>
                      <a:pt x="6" y="114"/>
                    </a:cubicBezTo>
                    <a:cubicBezTo>
                      <a:pt x="6" y="175"/>
                      <a:pt x="19" y="227"/>
                      <a:pt x="32" y="227"/>
                    </a:cubicBezTo>
                    <a:cubicBezTo>
                      <a:pt x="45" y="227"/>
                      <a:pt x="53" y="175"/>
                      <a:pt x="49" y="114"/>
                    </a:cubicBezTo>
                    <a:cubicBezTo>
                      <a:pt x="49" y="53"/>
                      <a:pt x="36" y="1"/>
                      <a:pt x="2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6" name="Google Shape;355;p26">
                <a:extLst>
                  <a:ext uri="{FF2B5EF4-FFF2-40B4-BE49-F238E27FC236}">
                    <a16:creationId xmlns:a16="http://schemas.microsoft.com/office/drawing/2014/main" id="{9DAC91A8-62ED-41E7-68FE-24B5CDE2EBF7}"/>
                  </a:ext>
                </a:extLst>
              </p:cNvPr>
              <p:cNvSpPr/>
              <p:nvPr/>
            </p:nvSpPr>
            <p:spPr>
              <a:xfrm>
                <a:off x="-161964" y="3886599"/>
                <a:ext cx="2234" cy="10165"/>
              </a:xfrm>
              <a:custGeom>
                <a:avLst/>
                <a:gdLst/>
                <a:ahLst/>
                <a:cxnLst/>
                <a:rect l="l" t="t" r="r" b="b"/>
                <a:pathLst>
                  <a:path w="49" h="223" extrusionOk="0">
                    <a:moveTo>
                      <a:pt x="22" y="1"/>
                    </a:moveTo>
                    <a:cubicBezTo>
                      <a:pt x="9" y="1"/>
                      <a:pt x="0" y="53"/>
                      <a:pt x="0" y="114"/>
                    </a:cubicBezTo>
                    <a:cubicBezTo>
                      <a:pt x="5" y="176"/>
                      <a:pt x="13" y="223"/>
                      <a:pt x="27" y="223"/>
                    </a:cubicBezTo>
                    <a:cubicBezTo>
                      <a:pt x="39" y="223"/>
                      <a:pt x="49" y="176"/>
                      <a:pt x="49" y="114"/>
                    </a:cubicBezTo>
                    <a:cubicBezTo>
                      <a:pt x="49" y="49"/>
                      <a:pt x="35" y="1"/>
                      <a:pt x="22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7" name="Google Shape;356;p26">
                <a:extLst>
                  <a:ext uri="{FF2B5EF4-FFF2-40B4-BE49-F238E27FC236}">
                    <a16:creationId xmlns:a16="http://schemas.microsoft.com/office/drawing/2014/main" id="{199A4A17-6C46-6BF1-C818-CDDAAE015CF4}"/>
                  </a:ext>
                </a:extLst>
              </p:cNvPr>
              <p:cNvSpPr/>
              <p:nvPr/>
            </p:nvSpPr>
            <p:spPr>
              <a:xfrm>
                <a:off x="-161417" y="3907112"/>
                <a:ext cx="2279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0" h="224" extrusionOk="0">
                    <a:moveTo>
                      <a:pt x="24" y="0"/>
                    </a:moveTo>
                    <a:cubicBezTo>
                      <a:pt x="24" y="0"/>
                      <a:pt x="23" y="0"/>
                      <a:pt x="23" y="1"/>
                    </a:cubicBezTo>
                    <a:cubicBezTo>
                      <a:pt x="10" y="1"/>
                      <a:pt x="1" y="49"/>
                      <a:pt x="1" y="110"/>
                    </a:cubicBezTo>
                    <a:cubicBezTo>
                      <a:pt x="6" y="176"/>
                      <a:pt x="15" y="224"/>
                      <a:pt x="27" y="224"/>
                    </a:cubicBezTo>
                    <a:cubicBezTo>
                      <a:pt x="41" y="224"/>
                      <a:pt x="49" y="172"/>
                      <a:pt x="49" y="110"/>
                    </a:cubicBezTo>
                    <a:cubicBezTo>
                      <a:pt x="45" y="51"/>
                      <a:pt x="37" y="0"/>
                      <a:pt x="24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8" name="Google Shape;357;p26">
                <a:extLst>
                  <a:ext uri="{FF2B5EF4-FFF2-40B4-BE49-F238E27FC236}">
                    <a16:creationId xmlns:a16="http://schemas.microsoft.com/office/drawing/2014/main" id="{168EE939-1781-B2D3-C5ED-A63E117DA066}"/>
                  </a:ext>
                </a:extLst>
              </p:cNvPr>
              <p:cNvSpPr/>
              <p:nvPr/>
            </p:nvSpPr>
            <p:spPr>
              <a:xfrm>
                <a:off x="-160779" y="3927443"/>
                <a:ext cx="2234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49" h="224" extrusionOk="0">
                    <a:moveTo>
                      <a:pt x="23" y="0"/>
                    </a:moveTo>
                    <a:cubicBezTo>
                      <a:pt x="9" y="0"/>
                      <a:pt x="1" y="53"/>
                      <a:pt x="1" y="114"/>
                    </a:cubicBezTo>
                    <a:cubicBezTo>
                      <a:pt x="5" y="173"/>
                      <a:pt x="13" y="224"/>
                      <a:pt x="25" y="224"/>
                    </a:cubicBezTo>
                    <a:cubicBezTo>
                      <a:pt x="26" y="224"/>
                      <a:pt x="26" y="224"/>
                      <a:pt x="27" y="224"/>
                    </a:cubicBezTo>
                    <a:cubicBezTo>
                      <a:pt x="39" y="224"/>
                      <a:pt x="49" y="175"/>
                      <a:pt x="49" y="114"/>
                    </a:cubicBezTo>
                    <a:cubicBezTo>
                      <a:pt x="45" y="49"/>
                      <a:pt x="35" y="0"/>
                      <a:pt x="2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9" name="Google Shape;358;p26">
                <a:extLst>
                  <a:ext uri="{FF2B5EF4-FFF2-40B4-BE49-F238E27FC236}">
                    <a16:creationId xmlns:a16="http://schemas.microsoft.com/office/drawing/2014/main" id="{88115DDB-0695-6361-7F48-76F7FF146874}"/>
                  </a:ext>
                </a:extLst>
              </p:cNvPr>
              <p:cNvSpPr/>
              <p:nvPr/>
            </p:nvSpPr>
            <p:spPr>
              <a:xfrm>
                <a:off x="-160187" y="3947956"/>
                <a:ext cx="2234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49" h="224" extrusionOk="0">
                    <a:moveTo>
                      <a:pt x="22" y="0"/>
                    </a:moveTo>
                    <a:cubicBezTo>
                      <a:pt x="10" y="0"/>
                      <a:pt x="0" y="49"/>
                      <a:pt x="0" y="115"/>
                    </a:cubicBezTo>
                    <a:cubicBezTo>
                      <a:pt x="5" y="175"/>
                      <a:pt x="18" y="224"/>
                      <a:pt x="26" y="224"/>
                    </a:cubicBezTo>
                    <a:cubicBezTo>
                      <a:pt x="40" y="224"/>
                      <a:pt x="48" y="171"/>
                      <a:pt x="48" y="109"/>
                    </a:cubicBezTo>
                    <a:cubicBezTo>
                      <a:pt x="48" y="49"/>
                      <a:pt x="36" y="0"/>
                      <a:pt x="2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0" name="Google Shape;359;p26">
                <a:extLst>
                  <a:ext uri="{FF2B5EF4-FFF2-40B4-BE49-F238E27FC236}">
                    <a16:creationId xmlns:a16="http://schemas.microsoft.com/office/drawing/2014/main" id="{D0F7FB7C-7F55-042E-35B5-50D94E8E39AD}"/>
                  </a:ext>
                </a:extLst>
              </p:cNvPr>
              <p:cNvSpPr/>
              <p:nvPr/>
            </p:nvSpPr>
            <p:spPr>
              <a:xfrm>
                <a:off x="-159594" y="3968287"/>
                <a:ext cx="2462" cy="10393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8" extrusionOk="0">
                    <a:moveTo>
                      <a:pt x="23" y="0"/>
                    </a:moveTo>
                    <a:cubicBezTo>
                      <a:pt x="9" y="0"/>
                      <a:pt x="1" y="52"/>
                      <a:pt x="5" y="114"/>
                    </a:cubicBezTo>
                    <a:cubicBezTo>
                      <a:pt x="5" y="175"/>
                      <a:pt x="19" y="228"/>
                      <a:pt x="31" y="228"/>
                    </a:cubicBezTo>
                    <a:cubicBezTo>
                      <a:pt x="45" y="223"/>
                      <a:pt x="53" y="175"/>
                      <a:pt x="49" y="114"/>
                    </a:cubicBezTo>
                    <a:cubicBezTo>
                      <a:pt x="49" y="52"/>
                      <a:pt x="35" y="0"/>
                      <a:pt x="2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1" name="Google Shape;360;p26">
                <a:extLst>
                  <a:ext uri="{FF2B5EF4-FFF2-40B4-BE49-F238E27FC236}">
                    <a16:creationId xmlns:a16="http://schemas.microsoft.com/office/drawing/2014/main" id="{B8BC9E4B-D69A-4166-54EB-B78F5607FA8B}"/>
                  </a:ext>
                </a:extLst>
              </p:cNvPr>
              <p:cNvSpPr/>
              <p:nvPr/>
            </p:nvSpPr>
            <p:spPr>
              <a:xfrm>
                <a:off x="-158773" y="3988755"/>
                <a:ext cx="2188" cy="10257"/>
              </a:xfrm>
              <a:custGeom>
                <a:avLst/>
                <a:gdLst/>
                <a:ahLst/>
                <a:cxnLst/>
                <a:rect l="l" t="t" r="r" b="b"/>
                <a:pathLst>
                  <a:path w="48" h="225" extrusionOk="0">
                    <a:moveTo>
                      <a:pt x="17" y="1"/>
                    </a:moveTo>
                    <a:cubicBezTo>
                      <a:pt x="9" y="1"/>
                      <a:pt x="1" y="53"/>
                      <a:pt x="1" y="115"/>
                    </a:cubicBezTo>
                    <a:cubicBezTo>
                      <a:pt x="1" y="176"/>
                      <a:pt x="13" y="224"/>
                      <a:pt x="27" y="224"/>
                    </a:cubicBezTo>
                    <a:cubicBezTo>
                      <a:pt x="39" y="224"/>
                      <a:pt x="48" y="172"/>
                      <a:pt x="48" y="111"/>
                    </a:cubicBezTo>
                    <a:cubicBezTo>
                      <a:pt x="44" y="49"/>
                      <a:pt x="31" y="1"/>
                      <a:pt x="17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2" name="Google Shape;361;p26">
                <a:extLst>
                  <a:ext uri="{FF2B5EF4-FFF2-40B4-BE49-F238E27FC236}">
                    <a16:creationId xmlns:a16="http://schemas.microsoft.com/office/drawing/2014/main" id="{F5676B9E-0FA3-B66A-18DD-94DEA43341DE}"/>
                  </a:ext>
                </a:extLst>
              </p:cNvPr>
              <p:cNvSpPr/>
              <p:nvPr/>
            </p:nvSpPr>
            <p:spPr>
              <a:xfrm>
                <a:off x="-158181" y="4009086"/>
                <a:ext cx="2416" cy="10439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9" extrusionOk="0">
                    <a:moveTo>
                      <a:pt x="22" y="1"/>
                    </a:moveTo>
                    <a:cubicBezTo>
                      <a:pt x="9" y="6"/>
                      <a:pt x="0" y="53"/>
                      <a:pt x="4" y="115"/>
                    </a:cubicBezTo>
                    <a:cubicBezTo>
                      <a:pt x="4" y="176"/>
                      <a:pt x="18" y="228"/>
                      <a:pt x="31" y="228"/>
                    </a:cubicBezTo>
                    <a:cubicBezTo>
                      <a:pt x="44" y="228"/>
                      <a:pt x="53" y="176"/>
                      <a:pt x="48" y="115"/>
                    </a:cubicBezTo>
                    <a:cubicBezTo>
                      <a:pt x="48" y="53"/>
                      <a:pt x="35" y="1"/>
                      <a:pt x="22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3" name="Google Shape;362;p26">
                <a:extLst>
                  <a:ext uri="{FF2B5EF4-FFF2-40B4-BE49-F238E27FC236}">
                    <a16:creationId xmlns:a16="http://schemas.microsoft.com/office/drawing/2014/main" id="{7C9E7ED5-6BA5-464C-E2BC-3DB58EC48EA7}"/>
                  </a:ext>
                </a:extLst>
              </p:cNvPr>
              <p:cNvSpPr/>
              <p:nvPr/>
            </p:nvSpPr>
            <p:spPr>
              <a:xfrm>
                <a:off x="-157360" y="4029645"/>
                <a:ext cx="2234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49" h="224" extrusionOk="0">
                    <a:moveTo>
                      <a:pt x="22" y="1"/>
                    </a:moveTo>
                    <a:cubicBezTo>
                      <a:pt x="8" y="1"/>
                      <a:pt x="0" y="53"/>
                      <a:pt x="0" y="114"/>
                    </a:cubicBezTo>
                    <a:cubicBezTo>
                      <a:pt x="4" y="175"/>
                      <a:pt x="13" y="223"/>
                      <a:pt x="26" y="223"/>
                    </a:cubicBezTo>
                    <a:cubicBezTo>
                      <a:pt x="39" y="223"/>
                      <a:pt x="48" y="175"/>
                      <a:pt x="48" y="110"/>
                    </a:cubicBezTo>
                    <a:cubicBezTo>
                      <a:pt x="43" y="48"/>
                      <a:pt x="35" y="1"/>
                      <a:pt x="22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4" name="Google Shape;363;p26">
                <a:extLst>
                  <a:ext uri="{FF2B5EF4-FFF2-40B4-BE49-F238E27FC236}">
                    <a16:creationId xmlns:a16="http://schemas.microsoft.com/office/drawing/2014/main" id="{A5F7DDEC-3036-4669-7F1E-65414F19141A}"/>
                  </a:ext>
                </a:extLst>
              </p:cNvPr>
              <p:cNvSpPr/>
              <p:nvPr/>
            </p:nvSpPr>
            <p:spPr>
              <a:xfrm>
                <a:off x="-156813" y="4050158"/>
                <a:ext cx="2462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4" extrusionOk="0">
                    <a:moveTo>
                      <a:pt x="24" y="0"/>
                    </a:moveTo>
                    <a:cubicBezTo>
                      <a:pt x="24" y="0"/>
                      <a:pt x="23" y="1"/>
                      <a:pt x="23" y="1"/>
                    </a:cubicBezTo>
                    <a:cubicBezTo>
                      <a:pt x="10" y="1"/>
                      <a:pt x="1" y="49"/>
                      <a:pt x="5" y="110"/>
                    </a:cubicBezTo>
                    <a:cubicBezTo>
                      <a:pt x="5" y="175"/>
                      <a:pt x="18" y="223"/>
                      <a:pt x="31" y="223"/>
                    </a:cubicBezTo>
                    <a:cubicBezTo>
                      <a:pt x="45" y="223"/>
                      <a:pt x="53" y="171"/>
                      <a:pt x="53" y="110"/>
                    </a:cubicBezTo>
                    <a:cubicBezTo>
                      <a:pt x="49" y="51"/>
                      <a:pt x="37" y="0"/>
                      <a:pt x="24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5" name="Google Shape;364;p26">
                <a:extLst>
                  <a:ext uri="{FF2B5EF4-FFF2-40B4-BE49-F238E27FC236}">
                    <a16:creationId xmlns:a16="http://schemas.microsoft.com/office/drawing/2014/main" id="{BF738BA9-5B58-85A2-7045-CA5D1758D6A4}"/>
                  </a:ext>
                </a:extLst>
              </p:cNvPr>
              <p:cNvSpPr/>
              <p:nvPr/>
            </p:nvSpPr>
            <p:spPr>
              <a:xfrm>
                <a:off x="-155993" y="4070489"/>
                <a:ext cx="2416" cy="10165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3" extrusionOk="0">
                    <a:moveTo>
                      <a:pt x="22" y="0"/>
                    </a:moveTo>
                    <a:cubicBezTo>
                      <a:pt x="9" y="0"/>
                      <a:pt x="0" y="53"/>
                      <a:pt x="5" y="114"/>
                    </a:cubicBezTo>
                    <a:cubicBezTo>
                      <a:pt x="5" y="175"/>
                      <a:pt x="18" y="223"/>
                      <a:pt x="31" y="223"/>
                    </a:cubicBezTo>
                    <a:cubicBezTo>
                      <a:pt x="44" y="223"/>
                      <a:pt x="53" y="175"/>
                      <a:pt x="49" y="114"/>
                    </a:cubicBezTo>
                    <a:cubicBezTo>
                      <a:pt x="49" y="49"/>
                      <a:pt x="35" y="0"/>
                      <a:pt x="2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6" name="Google Shape;365;p26">
                <a:extLst>
                  <a:ext uri="{FF2B5EF4-FFF2-40B4-BE49-F238E27FC236}">
                    <a16:creationId xmlns:a16="http://schemas.microsoft.com/office/drawing/2014/main" id="{28CE1509-4D3A-3EAD-AA43-87EF80D7EB10}"/>
                  </a:ext>
                </a:extLst>
              </p:cNvPr>
              <p:cNvSpPr/>
              <p:nvPr/>
            </p:nvSpPr>
            <p:spPr>
              <a:xfrm>
                <a:off x="-155172" y="4091002"/>
                <a:ext cx="2416" cy="10165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3" extrusionOk="0">
                    <a:moveTo>
                      <a:pt x="21" y="0"/>
                    </a:moveTo>
                    <a:cubicBezTo>
                      <a:pt x="9" y="0"/>
                      <a:pt x="0" y="49"/>
                      <a:pt x="0" y="109"/>
                    </a:cubicBezTo>
                    <a:cubicBezTo>
                      <a:pt x="4" y="176"/>
                      <a:pt x="17" y="223"/>
                      <a:pt x="31" y="223"/>
                    </a:cubicBezTo>
                    <a:cubicBezTo>
                      <a:pt x="43" y="223"/>
                      <a:pt x="53" y="170"/>
                      <a:pt x="47" y="109"/>
                    </a:cubicBezTo>
                    <a:cubicBezTo>
                      <a:pt x="47" y="49"/>
                      <a:pt x="35" y="0"/>
                      <a:pt x="2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7" name="Google Shape;366;p26">
                <a:extLst>
                  <a:ext uri="{FF2B5EF4-FFF2-40B4-BE49-F238E27FC236}">
                    <a16:creationId xmlns:a16="http://schemas.microsoft.com/office/drawing/2014/main" id="{571E0A3B-43DE-7658-61F4-7BC2163DFDD0}"/>
                  </a:ext>
                </a:extLst>
              </p:cNvPr>
              <p:cNvSpPr/>
              <p:nvPr/>
            </p:nvSpPr>
            <p:spPr>
              <a:xfrm>
                <a:off x="-154397" y="4111333"/>
                <a:ext cx="2416" cy="10165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3" extrusionOk="0">
                    <a:moveTo>
                      <a:pt x="22" y="0"/>
                    </a:moveTo>
                    <a:cubicBezTo>
                      <a:pt x="9" y="0"/>
                      <a:pt x="0" y="53"/>
                      <a:pt x="0" y="113"/>
                    </a:cubicBezTo>
                    <a:cubicBezTo>
                      <a:pt x="4" y="172"/>
                      <a:pt x="17" y="223"/>
                      <a:pt x="29" y="223"/>
                    </a:cubicBezTo>
                    <a:cubicBezTo>
                      <a:pt x="29" y="223"/>
                      <a:pt x="30" y="223"/>
                      <a:pt x="30" y="222"/>
                    </a:cubicBezTo>
                    <a:cubicBezTo>
                      <a:pt x="44" y="222"/>
                      <a:pt x="52" y="175"/>
                      <a:pt x="48" y="113"/>
                    </a:cubicBezTo>
                    <a:cubicBezTo>
                      <a:pt x="48" y="48"/>
                      <a:pt x="36" y="0"/>
                      <a:pt x="2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8" name="Google Shape;367;p26">
                <a:extLst>
                  <a:ext uri="{FF2B5EF4-FFF2-40B4-BE49-F238E27FC236}">
                    <a16:creationId xmlns:a16="http://schemas.microsoft.com/office/drawing/2014/main" id="{6B888FAA-2C1F-C91F-8B18-7FE78A0421C4}"/>
                  </a:ext>
                </a:extLst>
              </p:cNvPr>
              <p:cNvSpPr/>
              <p:nvPr/>
            </p:nvSpPr>
            <p:spPr>
              <a:xfrm>
                <a:off x="-153622" y="4131846"/>
                <a:ext cx="2462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4" extrusionOk="0">
                    <a:moveTo>
                      <a:pt x="23" y="0"/>
                    </a:moveTo>
                    <a:cubicBezTo>
                      <a:pt x="9" y="0"/>
                      <a:pt x="1" y="48"/>
                      <a:pt x="1" y="113"/>
                    </a:cubicBezTo>
                    <a:cubicBezTo>
                      <a:pt x="5" y="175"/>
                      <a:pt x="19" y="223"/>
                      <a:pt x="31" y="223"/>
                    </a:cubicBezTo>
                    <a:cubicBezTo>
                      <a:pt x="45" y="223"/>
                      <a:pt x="53" y="171"/>
                      <a:pt x="49" y="109"/>
                    </a:cubicBezTo>
                    <a:cubicBezTo>
                      <a:pt x="45" y="48"/>
                      <a:pt x="35" y="0"/>
                      <a:pt x="2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9" name="Google Shape;368;p26">
                <a:extLst>
                  <a:ext uri="{FF2B5EF4-FFF2-40B4-BE49-F238E27FC236}">
                    <a16:creationId xmlns:a16="http://schemas.microsoft.com/office/drawing/2014/main" id="{C02F26FE-CBE5-ADDC-4AD7-91270472D542}"/>
                  </a:ext>
                </a:extLst>
              </p:cNvPr>
              <p:cNvSpPr/>
              <p:nvPr/>
            </p:nvSpPr>
            <p:spPr>
              <a:xfrm>
                <a:off x="-152802" y="4152131"/>
                <a:ext cx="2462" cy="10439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9" extrusionOk="0">
                    <a:moveTo>
                      <a:pt x="22" y="1"/>
                    </a:moveTo>
                    <a:cubicBezTo>
                      <a:pt x="9" y="1"/>
                      <a:pt x="1" y="53"/>
                      <a:pt x="1" y="114"/>
                    </a:cubicBezTo>
                    <a:cubicBezTo>
                      <a:pt x="5" y="176"/>
                      <a:pt x="17" y="228"/>
                      <a:pt x="31" y="228"/>
                    </a:cubicBezTo>
                    <a:cubicBezTo>
                      <a:pt x="44" y="224"/>
                      <a:pt x="53" y="176"/>
                      <a:pt x="48" y="114"/>
                    </a:cubicBezTo>
                    <a:cubicBezTo>
                      <a:pt x="48" y="53"/>
                      <a:pt x="35" y="1"/>
                      <a:pt x="22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0" name="Google Shape;369;p26">
                <a:extLst>
                  <a:ext uri="{FF2B5EF4-FFF2-40B4-BE49-F238E27FC236}">
                    <a16:creationId xmlns:a16="http://schemas.microsoft.com/office/drawing/2014/main" id="{BA0CF8CD-7620-5E1B-6E9F-839AE774F772}"/>
                  </a:ext>
                </a:extLst>
              </p:cNvPr>
              <p:cNvSpPr/>
              <p:nvPr/>
            </p:nvSpPr>
            <p:spPr>
              <a:xfrm>
                <a:off x="-152027" y="4172645"/>
                <a:ext cx="2416" cy="10257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5" extrusionOk="0">
                    <a:moveTo>
                      <a:pt x="23" y="1"/>
                    </a:moveTo>
                    <a:cubicBezTo>
                      <a:pt x="10" y="1"/>
                      <a:pt x="0" y="49"/>
                      <a:pt x="0" y="115"/>
                    </a:cubicBezTo>
                    <a:cubicBezTo>
                      <a:pt x="5" y="176"/>
                      <a:pt x="18" y="224"/>
                      <a:pt x="31" y="224"/>
                    </a:cubicBezTo>
                    <a:cubicBezTo>
                      <a:pt x="45" y="224"/>
                      <a:pt x="53" y="172"/>
                      <a:pt x="49" y="110"/>
                    </a:cubicBezTo>
                    <a:cubicBezTo>
                      <a:pt x="49" y="49"/>
                      <a:pt x="36" y="1"/>
                      <a:pt x="2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1" name="Google Shape;370;p26">
                <a:extLst>
                  <a:ext uri="{FF2B5EF4-FFF2-40B4-BE49-F238E27FC236}">
                    <a16:creationId xmlns:a16="http://schemas.microsoft.com/office/drawing/2014/main" id="{F0E8BBD0-6DC3-00D8-3582-17A907417A92}"/>
                  </a:ext>
                </a:extLst>
              </p:cNvPr>
              <p:cNvSpPr/>
              <p:nvPr/>
            </p:nvSpPr>
            <p:spPr>
              <a:xfrm>
                <a:off x="-151206" y="4192976"/>
                <a:ext cx="2416" cy="10439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9" extrusionOk="0">
                    <a:moveTo>
                      <a:pt x="22" y="1"/>
                    </a:moveTo>
                    <a:cubicBezTo>
                      <a:pt x="9" y="1"/>
                      <a:pt x="0" y="53"/>
                      <a:pt x="0" y="115"/>
                    </a:cubicBezTo>
                    <a:cubicBezTo>
                      <a:pt x="5" y="176"/>
                      <a:pt x="18" y="228"/>
                      <a:pt x="31" y="228"/>
                    </a:cubicBezTo>
                    <a:cubicBezTo>
                      <a:pt x="44" y="224"/>
                      <a:pt x="53" y="176"/>
                      <a:pt x="49" y="115"/>
                    </a:cubicBezTo>
                    <a:cubicBezTo>
                      <a:pt x="49" y="53"/>
                      <a:pt x="35" y="1"/>
                      <a:pt x="22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2" name="Google Shape;371;p26">
                <a:extLst>
                  <a:ext uri="{FF2B5EF4-FFF2-40B4-BE49-F238E27FC236}">
                    <a16:creationId xmlns:a16="http://schemas.microsoft.com/office/drawing/2014/main" id="{349A8773-9890-94A0-51E4-C18781E0D6F9}"/>
                  </a:ext>
                </a:extLst>
              </p:cNvPr>
              <p:cNvSpPr/>
              <p:nvPr/>
            </p:nvSpPr>
            <p:spPr>
              <a:xfrm>
                <a:off x="-150386" y="4213489"/>
                <a:ext cx="2416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4" extrusionOk="0">
                    <a:moveTo>
                      <a:pt x="21" y="0"/>
                    </a:moveTo>
                    <a:cubicBezTo>
                      <a:pt x="9" y="0"/>
                      <a:pt x="0" y="53"/>
                      <a:pt x="4" y="115"/>
                    </a:cubicBezTo>
                    <a:cubicBezTo>
                      <a:pt x="4" y="176"/>
                      <a:pt x="17" y="224"/>
                      <a:pt x="31" y="224"/>
                    </a:cubicBezTo>
                    <a:cubicBezTo>
                      <a:pt x="43" y="224"/>
                      <a:pt x="53" y="171"/>
                      <a:pt x="47" y="111"/>
                    </a:cubicBezTo>
                    <a:cubicBezTo>
                      <a:pt x="47" y="49"/>
                      <a:pt x="35" y="0"/>
                      <a:pt x="2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3" name="Google Shape;372;p26">
                <a:extLst>
                  <a:ext uri="{FF2B5EF4-FFF2-40B4-BE49-F238E27FC236}">
                    <a16:creationId xmlns:a16="http://schemas.microsoft.com/office/drawing/2014/main" id="{8A553EC6-3ABE-B6A4-10E1-A80FF546D0A2}"/>
                  </a:ext>
                </a:extLst>
              </p:cNvPr>
              <p:cNvSpPr/>
              <p:nvPr/>
            </p:nvSpPr>
            <p:spPr>
              <a:xfrm>
                <a:off x="-149656" y="4233820"/>
                <a:ext cx="2462" cy="10393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8" extrusionOk="0">
                    <a:moveTo>
                      <a:pt x="23" y="0"/>
                    </a:moveTo>
                    <a:cubicBezTo>
                      <a:pt x="10" y="5"/>
                      <a:pt x="1" y="53"/>
                      <a:pt x="5" y="115"/>
                    </a:cubicBezTo>
                    <a:cubicBezTo>
                      <a:pt x="5" y="175"/>
                      <a:pt x="19" y="228"/>
                      <a:pt x="31" y="228"/>
                    </a:cubicBezTo>
                    <a:cubicBezTo>
                      <a:pt x="45" y="228"/>
                      <a:pt x="53" y="175"/>
                      <a:pt x="49" y="115"/>
                    </a:cubicBezTo>
                    <a:cubicBezTo>
                      <a:pt x="49" y="53"/>
                      <a:pt x="37" y="0"/>
                      <a:pt x="2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4" name="Google Shape;373;p26">
                <a:extLst>
                  <a:ext uri="{FF2B5EF4-FFF2-40B4-BE49-F238E27FC236}">
                    <a16:creationId xmlns:a16="http://schemas.microsoft.com/office/drawing/2014/main" id="{BFDC82CD-616B-9A71-8F4D-1A0435991562}"/>
                  </a:ext>
                </a:extLst>
              </p:cNvPr>
              <p:cNvSpPr/>
              <p:nvPr/>
            </p:nvSpPr>
            <p:spPr>
              <a:xfrm>
                <a:off x="-148836" y="4254378"/>
                <a:ext cx="2462" cy="10165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3" extrusionOk="0">
                    <a:moveTo>
                      <a:pt x="23" y="0"/>
                    </a:moveTo>
                    <a:cubicBezTo>
                      <a:pt x="9" y="0"/>
                      <a:pt x="1" y="53"/>
                      <a:pt x="5" y="114"/>
                    </a:cubicBezTo>
                    <a:cubicBezTo>
                      <a:pt x="5" y="174"/>
                      <a:pt x="19" y="223"/>
                      <a:pt x="31" y="223"/>
                    </a:cubicBezTo>
                    <a:cubicBezTo>
                      <a:pt x="45" y="223"/>
                      <a:pt x="53" y="174"/>
                      <a:pt x="49" y="109"/>
                    </a:cubicBezTo>
                    <a:cubicBezTo>
                      <a:pt x="49" y="47"/>
                      <a:pt x="35" y="0"/>
                      <a:pt x="2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5" name="Google Shape;374;p26">
                <a:extLst>
                  <a:ext uri="{FF2B5EF4-FFF2-40B4-BE49-F238E27FC236}">
                    <a16:creationId xmlns:a16="http://schemas.microsoft.com/office/drawing/2014/main" id="{4D6695D9-8B3C-5644-3AD3-7B13FD291BD1}"/>
                  </a:ext>
                </a:extLst>
              </p:cNvPr>
              <p:cNvSpPr/>
              <p:nvPr/>
            </p:nvSpPr>
            <p:spPr>
              <a:xfrm>
                <a:off x="-148015" y="4274846"/>
                <a:ext cx="2462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4" extrusionOk="0">
                    <a:moveTo>
                      <a:pt x="23" y="1"/>
                    </a:moveTo>
                    <a:cubicBezTo>
                      <a:pt x="23" y="1"/>
                      <a:pt x="22" y="1"/>
                      <a:pt x="22" y="1"/>
                    </a:cubicBezTo>
                    <a:cubicBezTo>
                      <a:pt x="9" y="1"/>
                      <a:pt x="1" y="49"/>
                      <a:pt x="5" y="110"/>
                    </a:cubicBezTo>
                    <a:cubicBezTo>
                      <a:pt x="5" y="175"/>
                      <a:pt x="17" y="224"/>
                      <a:pt x="31" y="224"/>
                    </a:cubicBezTo>
                    <a:cubicBezTo>
                      <a:pt x="44" y="224"/>
                      <a:pt x="53" y="171"/>
                      <a:pt x="48" y="110"/>
                    </a:cubicBezTo>
                    <a:cubicBezTo>
                      <a:pt x="48" y="52"/>
                      <a:pt x="36" y="1"/>
                      <a:pt x="2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6" name="Google Shape;375;p26">
                <a:extLst>
                  <a:ext uri="{FF2B5EF4-FFF2-40B4-BE49-F238E27FC236}">
                    <a16:creationId xmlns:a16="http://schemas.microsoft.com/office/drawing/2014/main" id="{16855992-BA47-88F2-C291-686D99CDEF95}"/>
                  </a:ext>
                </a:extLst>
              </p:cNvPr>
              <p:cNvSpPr/>
              <p:nvPr/>
            </p:nvSpPr>
            <p:spPr>
              <a:xfrm>
                <a:off x="-147240" y="4295177"/>
                <a:ext cx="2416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4" extrusionOk="0">
                    <a:moveTo>
                      <a:pt x="22" y="1"/>
                    </a:moveTo>
                    <a:cubicBezTo>
                      <a:pt x="10" y="1"/>
                      <a:pt x="0" y="53"/>
                      <a:pt x="5" y="114"/>
                    </a:cubicBezTo>
                    <a:cubicBezTo>
                      <a:pt x="5" y="175"/>
                      <a:pt x="18" y="223"/>
                      <a:pt x="31" y="223"/>
                    </a:cubicBezTo>
                    <a:cubicBezTo>
                      <a:pt x="44" y="223"/>
                      <a:pt x="53" y="175"/>
                      <a:pt x="49" y="110"/>
                    </a:cubicBezTo>
                    <a:cubicBezTo>
                      <a:pt x="49" y="49"/>
                      <a:pt x="36" y="1"/>
                      <a:pt x="22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7" name="Google Shape;376;p26">
                <a:extLst>
                  <a:ext uri="{FF2B5EF4-FFF2-40B4-BE49-F238E27FC236}">
                    <a16:creationId xmlns:a16="http://schemas.microsoft.com/office/drawing/2014/main" id="{15F89578-085E-8E37-4813-5CD89722C4AE}"/>
                  </a:ext>
                </a:extLst>
              </p:cNvPr>
              <p:cNvSpPr/>
              <p:nvPr/>
            </p:nvSpPr>
            <p:spPr>
              <a:xfrm>
                <a:off x="-146420" y="4315690"/>
                <a:ext cx="2416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4" extrusionOk="0">
                    <a:moveTo>
                      <a:pt x="24" y="1"/>
                    </a:moveTo>
                    <a:cubicBezTo>
                      <a:pt x="23" y="1"/>
                      <a:pt x="23" y="1"/>
                      <a:pt x="22" y="1"/>
                    </a:cubicBezTo>
                    <a:cubicBezTo>
                      <a:pt x="9" y="1"/>
                      <a:pt x="0" y="49"/>
                      <a:pt x="4" y="110"/>
                    </a:cubicBezTo>
                    <a:cubicBezTo>
                      <a:pt x="4" y="176"/>
                      <a:pt x="18" y="223"/>
                      <a:pt x="31" y="223"/>
                    </a:cubicBezTo>
                    <a:cubicBezTo>
                      <a:pt x="44" y="223"/>
                      <a:pt x="53" y="171"/>
                      <a:pt x="48" y="110"/>
                    </a:cubicBezTo>
                    <a:cubicBezTo>
                      <a:pt x="48" y="51"/>
                      <a:pt x="36" y="1"/>
                      <a:pt x="24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8" name="Google Shape;377;p26">
                <a:extLst>
                  <a:ext uri="{FF2B5EF4-FFF2-40B4-BE49-F238E27FC236}">
                    <a16:creationId xmlns:a16="http://schemas.microsoft.com/office/drawing/2014/main" id="{BFF4F12A-0932-CA25-4E37-665329DBFE0C}"/>
                  </a:ext>
                </a:extLst>
              </p:cNvPr>
              <p:cNvSpPr/>
              <p:nvPr/>
            </p:nvSpPr>
            <p:spPr>
              <a:xfrm>
                <a:off x="-145599" y="4336021"/>
                <a:ext cx="2416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4" extrusionOk="0">
                    <a:moveTo>
                      <a:pt x="21" y="1"/>
                    </a:moveTo>
                    <a:cubicBezTo>
                      <a:pt x="8" y="1"/>
                      <a:pt x="0" y="53"/>
                      <a:pt x="4" y="114"/>
                    </a:cubicBezTo>
                    <a:cubicBezTo>
                      <a:pt x="4" y="173"/>
                      <a:pt x="16" y="223"/>
                      <a:pt x="29" y="223"/>
                    </a:cubicBezTo>
                    <a:cubicBezTo>
                      <a:pt x="29" y="223"/>
                      <a:pt x="30" y="223"/>
                      <a:pt x="30" y="223"/>
                    </a:cubicBezTo>
                    <a:cubicBezTo>
                      <a:pt x="43" y="223"/>
                      <a:pt x="52" y="176"/>
                      <a:pt x="47" y="114"/>
                    </a:cubicBezTo>
                    <a:cubicBezTo>
                      <a:pt x="47" y="49"/>
                      <a:pt x="35" y="1"/>
                      <a:pt x="21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9" name="Google Shape;378;p26">
                <a:extLst>
                  <a:ext uri="{FF2B5EF4-FFF2-40B4-BE49-F238E27FC236}">
                    <a16:creationId xmlns:a16="http://schemas.microsoft.com/office/drawing/2014/main" id="{C3FC886B-D670-B804-6340-0709DD767C65}"/>
                  </a:ext>
                </a:extLst>
              </p:cNvPr>
              <p:cNvSpPr/>
              <p:nvPr/>
            </p:nvSpPr>
            <p:spPr>
              <a:xfrm>
                <a:off x="-144870" y="4356534"/>
                <a:ext cx="2462" cy="10257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5" extrusionOk="0">
                    <a:moveTo>
                      <a:pt x="23" y="1"/>
                    </a:moveTo>
                    <a:cubicBezTo>
                      <a:pt x="10" y="1"/>
                      <a:pt x="1" y="49"/>
                      <a:pt x="5" y="114"/>
                    </a:cubicBezTo>
                    <a:cubicBezTo>
                      <a:pt x="5" y="176"/>
                      <a:pt x="19" y="224"/>
                      <a:pt x="31" y="224"/>
                    </a:cubicBezTo>
                    <a:cubicBezTo>
                      <a:pt x="45" y="224"/>
                      <a:pt x="53" y="172"/>
                      <a:pt x="49" y="110"/>
                    </a:cubicBezTo>
                    <a:cubicBezTo>
                      <a:pt x="49" y="49"/>
                      <a:pt x="36" y="1"/>
                      <a:pt x="23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0" name="Google Shape;379;p26">
                <a:extLst>
                  <a:ext uri="{FF2B5EF4-FFF2-40B4-BE49-F238E27FC236}">
                    <a16:creationId xmlns:a16="http://schemas.microsoft.com/office/drawing/2014/main" id="{67F1D979-6978-4B58-1E26-D33CE148D04D}"/>
                  </a:ext>
                </a:extLst>
              </p:cNvPr>
              <p:cNvSpPr/>
              <p:nvPr/>
            </p:nvSpPr>
            <p:spPr>
              <a:xfrm>
                <a:off x="-144049" y="4376865"/>
                <a:ext cx="2462" cy="10393"/>
              </a:xfrm>
              <a:custGeom>
                <a:avLst/>
                <a:gdLst/>
                <a:ahLst/>
                <a:cxnLst/>
                <a:rect l="l" t="t" r="r" b="b"/>
                <a:pathLst>
                  <a:path w="54" h="228" extrusionOk="0">
                    <a:moveTo>
                      <a:pt x="23" y="0"/>
                    </a:moveTo>
                    <a:cubicBezTo>
                      <a:pt x="9" y="0"/>
                      <a:pt x="1" y="53"/>
                      <a:pt x="1" y="114"/>
                    </a:cubicBezTo>
                    <a:cubicBezTo>
                      <a:pt x="5" y="176"/>
                      <a:pt x="18" y="228"/>
                      <a:pt x="31" y="228"/>
                    </a:cubicBezTo>
                    <a:cubicBezTo>
                      <a:pt x="45" y="224"/>
                      <a:pt x="53" y="176"/>
                      <a:pt x="49" y="114"/>
                    </a:cubicBezTo>
                    <a:cubicBezTo>
                      <a:pt x="45" y="53"/>
                      <a:pt x="35" y="0"/>
                      <a:pt x="2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1" name="Google Shape;380;p26">
                <a:extLst>
                  <a:ext uri="{FF2B5EF4-FFF2-40B4-BE49-F238E27FC236}">
                    <a16:creationId xmlns:a16="http://schemas.microsoft.com/office/drawing/2014/main" id="{223F682D-18AF-ED48-42A0-A2CD68640058}"/>
                  </a:ext>
                </a:extLst>
              </p:cNvPr>
              <p:cNvSpPr/>
              <p:nvPr/>
            </p:nvSpPr>
            <p:spPr>
              <a:xfrm>
                <a:off x="-143229" y="4397378"/>
                <a:ext cx="2188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48" h="224" extrusionOk="0">
                    <a:moveTo>
                      <a:pt x="17" y="0"/>
                    </a:moveTo>
                    <a:cubicBezTo>
                      <a:pt x="9" y="0"/>
                      <a:pt x="0" y="49"/>
                      <a:pt x="0" y="115"/>
                    </a:cubicBezTo>
                    <a:cubicBezTo>
                      <a:pt x="5" y="175"/>
                      <a:pt x="13" y="224"/>
                      <a:pt x="27" y="224"/>
                    </a:cubicBezTo>
                    <a:cubicBezTo>
                      <a:pt x="39" y="224"/>
                      <a:pt x="48" y="171"/>
                      <a:pt x="48" y="109"/>
                    </a:cubicBezTo>
                    <a:cubicBezTo>
                      <a:pt x="43" y="49"/>
                      <a:pt x="31" y="0"/>
                      <a:pt x="1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2" name="Google Shape;381;p26">
                <a:extLst>
                  <a:ext uri="{FF2B5EF4-FFF2-40B4-BE49-F238E27FC236}">
                    <a16:creationId xmlns:a16="http://schemas.microsoft.com/office/drawing/2014/main" id="{ACDC7EC1-B8A0-7327-AF03-618A472E6798}"/>
                  </a:ext>
                </a:extLst>
              </p:cNvPr>
              <p:cNvSpPr/>
              <p:nvPr/>
            </p:nvSpPr>
            <p:spPr>
              <a:xfrm>
                <a:off x="-142636" y="4417892"/>
                <a:ext cx="2416" cy="10211"/>
              </a:xfrm>
              <a:custGeom>
                <a:avLst/>
                <a:gdLst/>
                <a:ahLst/>
                <a:cxnLst/>
                <a:rect l="l" t="t" r="r" b="b"/>
                <a:pathLst>
                  <a:path w="53" h="224" extrusionOk="0">
                    <a:moveTo>
                      <a:pt x="24" y="0"/>
                    </a:moveTo>
                    <a:cubicBezTo>
                      <a:pt x="23" y="0"/>
                      <a:pt x="23" y="0"/>
                      <a:pt x="22" y="0"/>
                    </a:cubicBezTo>
                    <a:cubicBezTo>
                      <a:pt x="8" y="0"/>
                      <a:pt x="0" y="49"/>
                      <a:pt x="4" y="110"/>
                    </a:cubicBezTo>
                    <a:cubicBezTo>
                      <a:pt x="4" y="175"/>
                      <a:pt x="18" y="224"/>
                      <a:pt x="30" y="224"/>
                    </a:cubicBezTo>
                    <a:cubicBezTo>
                      <a:pt x="44" y="224"/>
                      <a:pt x="53" y="171"/>
                      <a:pt x="48" y="110"/>
                    </a:cubicBezTo>
                    <a:cubicBezTo>
                      <a:pt x="48" y="51"/>
                      <a:pt x="36" y="0"/>
                      <a:pt x="24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3" name="Google Shape;382;p26">
                <a:extLst>
                  <a:ext uri="{FF2B5EF4-FFF2-40B4-BE49-F238E27FC236}">
                    <a16:creationId xmlns:a16="http://schemas.microsoft.com/office/drawing/2014/main" id="{DC22AF06-629F-4E52-89A2-3D508DC9333F}"/>
                  </a:ext>
                </a:extLst>
              </p:cNvPr>
              <p:cNvSpPr/>
              <p:nvPr/>
            </p:nvSpPr>
            <p:spPr>
              <a:xfrm>
                <a:off x="-141861" y="4438223"/>
                <a:ext cx="2279" cy="10393"/>
              </a:xfrm>
              <a:custGeom>
                <a:avLst/>
                <a:gdLst/>
                <a:ahLst/>
                <a:cxnLst/>
                <a:rect l="l" t="t" r="r" b="b"/>
                <a:pathLst>
                  <a:path w="50" h="228" extrusionOk="0">
                    <a:moveTo>
                      <a:pt x="23" y="0"/>
                    </a:moveTo>
                    <a:cubicBezTo>
                      <a:pt x="9" y="5"/>
                      <a:pt x="1" y="52"/>
                      <a:pt x="1" y="114"/>
                    </a:cubicBezTo>
                    <a:cubicBezTo>
                      <a:pt x="5" y="179"/>
                      <a:pt x="13" y="228"/>
                      <a:pt x="27" y="228"/>
                    </a:cubicBezTo>
                    <a:cubicBezTo>
                      <a:pt x="40" y="228"/>
                      <a:pt x="49" y="175"/>
                      <a:pt x="49" y="114"/>
                    </a:cubicBezTo>
                    <a:cubicBezTo>
                      <a:pt x="44" y="52"/>
                      <a:pt x="36" y="0"/>
                      <a:pt x="2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4" name="Google Shape;383;p26">
                <a:extLst>
                  <a:ext uri="{FF2B5EF4-FFF2-40B4-BE49-F238E27FC236}">
                    <a16:creationId xmlns:a16="http://schemas.microsoft.com/office/drawing/2014/main" id="{F1A55BC5-DE29-4653-8746-A4E356F37562}"/>
                  </a:ext>
                </a:extLst>
              </p:cNvPr>
              <p:cNvSpPr/>
              <p:nvPr/>
            </p:nvSpPr>
            <p:spPr>
              <a:xfrm>
                <a:off x="-141269" y="4458781"/>
                <a:ext cx="2234" cy="4558"/>
              </a:xfrm>
              <a:custGeom>
                <a:avLst/>
                <a:gdLst/>
                <a:ahLst/>
                <a:cxnLst/>
                <a:rect l="l" t="t" r="r" b="b"/>
                <a:pathLst>
                  <a:path w="49" h="100" extrusionOk="0">
                    <a:moveTo>
                      <a:pt x="23" y="0"/>
                    </a:moveTo>
                    <a:cubicBezTo>
                      <a:pt x="10" y="0"/>
                      <a:pt x="0" y="21"/>
                      <a:pt x="0" y="52"/>
                    </a:cubicBezTo>
                    <a:cubicBezTo>
                      <a:pt x="0" y="79"/>
                      <a:pt x="14" y="100"/>
                      <a:pt x="27" y="100"/>
                    </a:cubicBezTo>
                    <a:cubicBezTo>
                      <a:pt x="40" y="100"/>
                      <a:pt x="49" y="79"/>
                      <a:pt x="49" y="47"/>
                    </a:cubicBezTo>
                    <a:cubicBezTo>
                      <a:pt x="49" y="21"/>
                      <a:pt x="36" y="0"/>
                      <a:pt x="2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5" name="Google Shape;384;p26">
                <a:extLst>
                  <a:ext uri="{FF2B5EF4-FFF2-40B4-BE49-F238E27FC236}">
                    <a16:creationId xmlns:a16="http://schemas.microsoft.com/office/drawing/2014/main" id="{2EE0E450-C93B-73C3-E23F-D90B15E2E9D8}"/>
                  </a:ext>
                </a:extLst>
              </p:cNvPr>
              <p:cNvSpPr/>
              <p:nvPr/>
            </p:nvSpPr>
            <p:spPr>
              <a:xfrm>
                <a:off x="-115741" y="2713425"/>
                <a:ext cx="34098" cy="228107"/>
              </a:xfrm>
              <a:custGeom>
                <a:avLst/>
                <a:gdLst/>
                <a:ahLst/>
                <a:cxnLst/>
                <a:rect l="l" t="t" r="r" b="b"/>
                <a:pathLst>
                  <a:path w="748" h="5004" extrusionOk="0">
                    <a:moveTo>
                      <a:pt x="5" y="0"/>
                    </a:moveTo>
                    <a:cubicBezTo>
                      <a:pt x="1" y="0"/>
                      <a:pt x="1" y="18"/>
                      <a:pt x="1" y="53"/>
                    </a:cubicBezTo>
                    <a:cubicBezTo>
                      <a:pt x="5" y="101"/>
                      <a:pt x="5" y="153"/>
                      <a:pt x="5" y="206"/>
                    </a:cubicBezTo>
                    <a:cubicBezTo>
                      <a:pt x="13" y="367"/>
                      <a:pt x="22" y="560"/>
                      <a:pt x="31" y="779"/>
                    </a:cubicBezTo>
                    <a:cubicBezTo>
                      <a:pt x="57" y="1290"/>
                      <a:pt x="88" y="1936"/>
                      <a:pt x="122" y="2654"/>
                    </a:cubicBezTo>
                    <a:cubicBezTo>
                      <a:pt x="166" y="3383"/>
                      <a:pt x="197" y="4044"/>
                      <a:pt x="237" y="4528"/>
                    </a:cubicBezTo>
                    <a:cubicBezTo>
                      <a:pt x="253" y="4647"/>
                      <a:pt x="284" y="4756"/>
                      <a:pt x="341" y="4839"/>
                    </a:cubicBezTo>
                    <a:cubicBezTo>
                      <a:pt x="398" y="4917"/>
                      <a:pt x="477" y="4965"/>
                      <a:pt x="538" y="4987"/>
                    </a:cubicBezTo>
                    <a:cubicBezTo>
                      <a:pt x="575" y="4999"/>
                      <a:pt x="608" y="5004"/>
                      <a:pt x="636" y="5004"/>
                    </a:cubicBezTo>
                    <a:cubicBezTo>
                      <a:pt x="705" y="5004"/>
                      <a:pt x="743" y="4978"/>
                      <a:pt x="747" y="4978"/>
                    </a:cubicBezTo>
                    <a:cubicBezTo>
                      <a:pt x="747" y="4978"/>
                      <a:pt x="747" y="4978"/>
                      <a:pt x="747" y="4978"/>
                    </a:cubicBezTo>
                    <a:lnTo>
                      <a:pt x="747" y="4978"/>
                    </a:lnTo>
                    <a:cubicBezTo>
                      <a:pt x="747" y="4977"/>
                      <a:pt x="747" y="4977"/>
                      <a:pt x="746" y="4977"/>
                    </a:cubicBezTo>
                    <a:cubicBezTo>
                      <a:pt x="739" y="4977"/>
                      <a:pt x="708" y="4991"/>
                      <a:pt x="657" y="4991"/>
                    </a:cubicBezTo>
                    <a:cubicBezTo>
                      <a:pt x="627" y="4991"/>
                      <a:pt x="590" y="4986"/>
                      <a:pt x="546" y="4970"/>
                    </a:cubicBezTo>
                    <a:cubicBezTo>
                      <a:pt x="485" y="4948"/>
                      <a:pt x="415" y="4899"/>
                      <a:pt x="362" y="4821"/>
                    </a:cubicBezTo>
                    <a:cubicBezTo>
                      <a:pt x="315" y="4746"/>
                      <a:pt x="284" y="4641"/>
                      <a:pt x="271" y="4524"/>
                    </a:cubicBezTo>
                    <a:cubicBezTo>
                      <a:pt x="245" y="4012"/>
                      <a:pt x="210" y="3366"/>
                      <a:pt x="170" y="2649"/>
                    </a:cubicBezTo>
                    <a:cubicBezTo>
                      <a:pt x="132" y="1932"/>
                      <a:pt x="92" y="1285"/>
                      <a:pt x="61" y="774"/>
                    </a:cubicBezTo>
                    <a:cubicBezTo>
                      <a:pt x="48" y="556"/>
                      <a:pt x="35" y="367"/>
                      <a:pt x="22" y="206"/>
                    </a:cubicBezTo>
                    <a:cubicBezTo>
                      <a:pt x="17" y="153"/>
                      <a:pt x="13" y="101"/>
                      <a:pt x="13" y="53"/>
                    </a:cubicBezTo>
                    <a:cubicBezTo>
                      <a:pt x="9" y="18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6" name="Google Shape;385;p26">
                <a:extLst>
                  <a:ext uri="{FF2B5EF4-FFF2-40B4-BE49-F238E27FC236}">
                    <a16:creationId xmlns:a16="http://schemas.microsoft.com/office/drawing/2014/main" id="{1719054C-9A41-3F4F-83EB-08D83C86E2DE}"/>
                  </a:ext>
                </a:extLst>
              </p:cNvPr>
              <p:cNvSpPr/>
              <p:nvPr/>
            </p:nvSpPr>
            <p:spPr>
              <a:xfrm>
                <a:off x="-478734" y="2928814"/>
                <a:ext cx="58622" cy="168619"/>
              </a:xfrm>
              <a:custGeom>
                <a:avLst/>
                <a:gdLst/>
                <a:ahLst/>
                <a:cxnLst/>
                <a:rect l="l" t="t" r="r" b="b"/>
                <a:pathLst>
                  <a:path w="1286" h="3699" extrusionOk="0">
                    <a:moveTo>
                      <a:pt x="717" y="0"/>
                    </a:moveTo>
                    <a:cubicBezTo>
                      <a:pt x="521" y="39"/>
                      <a:pt x="346" y="74"/>
                      <a:pt x="193" y="100"/>
                    </a:cubicBezTo>
                    <a:cubicBezTo>
                      <a:pt x="140" y="114"/>
                      <a:pt x="97" y="122"/>
                      <a:pt x="49" y="131"/>
                    </a:cubicBezTo>
                    <a:cubicBezTo>
                      <a:pt x="19" y="140"/>
                      <a:pt x="1" y="144"/>
                      <a:pt x="1" y="148"/>
                    </a:cubicBezTo>
                    <a:cubicBezTo>
                      <a:pt x="1" y="148"/>
                      <a:pt x="19" y="148"/>
                      <a:pt x="53" y="144"/>
                    </a:cubicBezTo>
                    <a:cubicBezTo>
                      <a:pt x="97" y="136"/>
                      <a:pt x="145" y="126"/>
                      <a:pt x="197" y="122"/>
                    </a:cubicBezTo>
                    <a:cubicBezTo>
                      <a:pt x="346" y="96"/>
                      <a:pt x="516" y="67"/>
                      <a:pt x="711" y="37"/>
                    </a:cubicBezTo>
                    <a:lnTo>
                      <a:pt x="711" y="37"/>
                    </a:lnTo>
                    <a:cubicBezTo>
                      <a:pt x="867" y="435"/>
                      <a:pt x="1037" y="987"/>
                      <a:pt x="1137" y="1617"/>
                    </a:cubicBezTo>
                    <a:cubicBezTo>
                      <a:pt x="1189" y="1941"/>
                      <a:pt x="1220" y="2255"/>
                      <a:pt x="1229" y="2538"/>
                    </a:cubicBezTo>
                    <a:cubicBezTo>
                      <a:pt x="1246" y="2823"/>
                      <a:pt x="1233" y="3081"/>
                      <a:pt x="1150" y="3278"/>
                    </a:cubicBezTo>
                    <a:cubicBezTo>
                      <a:pt x="1067" y="3474"/>
                      <a:pt x="927" y="3593"/>
                      <a:pt x="818" y="3645"/>
                    </a:cubicBezTo>
                    <a:cubicBezTo>
                      <a:pt x="713" y="3692"/>
                      <a:pt x="643" y="3692"/>
                      <a:pt x="643" y="3697"/>
                    </a:cubicBezTo>
                    <a:cubicBezTo>
                      <a:pt x="643" y="3697"/>
                      <a:pt x="648" y="3698"/>
                      <a:pt x="658" y="3698"/>
                    </a:cubicBezTo>
                    <a:cubicBezTo>
                      <a:pt x="685" y="3698"/>
                      <a:pt x="744" y="3694"/>
                      <a:pt x="826" y="3662"/>
                    </a:cubicBezTo>
                    <a:cubicBezTo>
                      <a:pt x="941" y="3614"/>
                      <a:pt x="1088" y="3496"/>
                      <a:pt x="1181" y="3290"/>
                    </a:cubicBezTo>
                    <a:cubicBezTo>
                      <a:pt x="1272" y="3089"/>
                      <a:pt x="1286" y="2823"/>
                      <a:pt x="1272" y="2534"/>
                    </a:cubicBezTo>
                    <a:cubicBezTo>
                      <a:pt x="1264" y="2250"/>
                      <a:pt x="1237" y="1935"/>
                      <a:pt x="1185" y="1608"/>
                    </a:cubicBezTo>
                    <a:cubicBezTo>
                      <a:pt x="1080" y="970"/>
                      <a:pt x="901" y="406"/>
                      <a:pt x="739" y="13"/>
                    </a:cubicBezTo>
                    <a:lnTo>
                      <a:pt x="731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7" name="Google Shape;386;p26">
                <a:extLst>
                  <a:ext uri="{FF2B5EF4-FFF2-40B4-BE49-F238E27FC236}">
                    <a16:creationId xmlns:a16="http://schemas.microsoft.com/office/drawing/2014/main" id="{59337EB7-7820-8DB0-3025-77341E4B6908}"/>
                  </a:ext>
                </a:extLst>
              </p:cNvPr>
              <p:cNvSpPr/>
              <p:nvPr/>
            </p:nvSpPr>
            <p:spPr>
              <a:xfrm>
                <a:off x="-477731" y="2960404"/>
                <a:ext cx="39887" cy="9208"/>
              </a:xfrm>
              <a:custGeom>
                <a:avLst/>
                <a:gdLst/>
                <a:ahLst/>
                <a:cxnLst/>
                <a:rect l="l" t="t" r="r" b="b"/>
                <a:pathLst>
                  <a:path w="875" h="202" extrusionOk="0">
                    <a:moveTo>
                      <a:pt x="863" y="0"/>
                    </a:moveTo>
                    <a:cubicBezTo>
                      <a:pt x="826" y="0"/>
                      <a:pt x="647" y="29"/>
                      <a:pt x="433" y="76"/>
                    </a:cubicBezTo>
                    <a:cubicBezTo>
                      <a:pt x="193" y="133"/>
                      <a:pt x="1" y="185"/>
                      <a:pt x="5" y="199"/>
                    </a:cubicBezTo>
                    <a:cubicBezTo>
                      <a:pt x="6" y="201"/>
                      <a:pt x="10" y="201"/>
                      <a:pt x="18" y="201"/>
                    </a:cubicBezTo>
                    <a:cubicBezTo>
                      <a:pt x="65" y="201"/>
                      <a:pt x="239" y="169"/>
                      <a:pt x="442" y="124"/>
                    </a:cubicBezTo>
                    <a:cubicBezTo>
                      <a:pt x="683" y="72"/>
                      <a:pt x="875" y="15"/>
                      <a:pt x="870" y="2"/>
                    </a:cubicBezTo>
                    <a:cubicBezTo>
                      <a:pt x="870" y="1"/>
                      <a:pt x="868" y="0"/>
                      <a:pt x="86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8" name="Google Shape;387;p26">
                <a:extLst>
                  <a:ext uri="{FF2B5EF4-FFF2-40B4-BE49-F238E27FC236}">
                    <a16:creationId xmlns:a16="http://schemas.microsoft.com/office/drawing/2014/main" id="{48AAE58C-0C66-AB68-70BD-C61D265859A8}"/>
                  </a:ext>
                </a:extLst>
              </p:cNvPr>
              <p:cNvSpPr/>
              <p:nvPr/>
            </p:nvSpPr>
            <p:spPr>
              <a:xfrm>
                <a:off x="-823767" y="1859801"/>
                <a:ext cx="1492954" cy="1042757"/>
              </a:xfrm>
              <a:custGeom>
                <a:avLst/>
                <a:gdLst/>
                <a:ahLst/>
                <a:cxnLst/>
                <a:rect l="l" t="t" r="r" b="b"/>
                <a:pathLst>
                  <a:path w="32751" h="22875" extrusionOk="0">
                    <a:moveTo>
                      <a:pt x="8496" y="11791"/>
                    </a:moveTo>
                    <a:cubicBezTo>
                      <a:pt x="8990" y="14807"/>
                      <a:pt x="9659" y="18281"/>
                      <a:pt x="9724" y="18621"/>
                    </a:cubicBezTo>
                    <a:cubicBezTo>
                      <a:pt x="8011" y="17463"/>
                      <a:pt x="5327" y="15589"/>
                      <a:pt x="5420" y="15283"/>
                    </a:cubicBezTo>
                    <a:cubicBezTo>
                      <a:pt x="5490" y="15043"/>
                      <a:pt x="7072" y="13316"/>
                      <a:pt x="8496" y="11791"/>
                    </a:cubicBezTo>
                    <a:close/>
                    <a:moveTo>
                      <a:pt x="30237" y="0"/>
                    </a:moveTo>
                    <a:cubicBezTo>
                      <a:pt x="24675" y="5018"/>
                      <a:pt x="17801" y="5482"/>
                      <a:pt x="15446" y="5482"/>
                    </a:cubicBezTo>
                    <a:cubicBezTo>
                      <a:pt x="14911" y="5482"/>
                      <a:pt x="14610" y="5459"/>
                      <a:pt x="14610" y="5459"/>
                    </a:cubicBezTo>
                    <a:lnTo>
                      <a:pt x="14610" y="5472"/>
                    </a:lnTo>
                    <a:cubicBezTo>
                      <a:pt x="14216" y="5411"/>
                      <a:pt x="12145" y="5079"/>
                      <a:pt x="11459" y="5065"/>
                    </a:cubicBezTo>
                    <a:cubicBezTo>
                      <a:pt x="11342" y="5063"/>
                      <a:pt x="11192" y="5057"/>
                      <a:pt x="11019" y="5057"/>
                    </a:cubicBezTo>
                    <a:cubicBezTo>
                      <a:pt x="10400" y="5057"/>
                      <a:pt x="9494" y="5137"/>
                      <a:pt x="8806" y="5787"/>
                    </a:cubicBezTo>
                    <a:cubicBezTo>
                      <a:pt x="8784" y="5805"/>
                      <a:pt x="8762" y="5826"/>
                      <a:pt x="8741" y="5848"/>
                    </a:cubicBezTo>
                    <a:cubicBezTo>
                      <a:pt x="7950" y="6622"/>
                      <a:pt x="0" y="14452"/>
                      <a:pt x="844" y="16393"/>
                    </a:cubicBezTo>
                    <a:cubicBezTo>
                      <a:pt x="1731" y="18438"/>
                      <a:pt x="9287" y="22874"/>
                      <a:pt x="9287" y="22874"/>
                    </a:cubicBezTo>
                    <a:lnTo>
                      <a:pt x="11114" y="19553"/>
                    </a:lnTo>
                    <a:cubicBezTo>
                      <a:pt x="11114" y="19553"/>
                      <a:pt x="10545" y="19177"/>
                      <a:pt x="9764" y="18653"/>
                    </a:cubicBezTo>
                    <a:lnTo>
                      <a:pt x="15934" y="18490"/>
                    </a:lnTo>
                    <a:lnTo>
                      <a:pt x="16205" y="13875"/>
                    </a:lnTo>
                    <a:cubicBezTo>
                      <a:pt x="16205" y="13875"/>
                      <a:pt x="17258" y="12701"/>
                      <a:pt x="17258" y="11852"/>
                    </a:cubicBezTo>
                    <a:cubicBezTo>
                      <a:pt x="17258" y="11267"/>
                      <a:pt x="16935" y="10297"/>
                      <a:pt x="16515" y="9292"/>
                    </a:cubicBezTo>
                    <a:cubicBezTo>
                      <a:pt x="26239" y="8479"/>
                      <a:pt x="32750" y="2059"/>
                      <a:pt x="32750" y="2059"/>
                    </a:cubicBezTo>
                    <a:lnTo>
                      <a:pt x="30237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9" name="Google Shape;388;p26">
                <a:extLst>
                  <a:ext uri="{FF2B5EF4-FFF2-40B4-BE49-F238E27FC236}">
                    <a16:creationId xmlns:a16="http://schemas.microsoft.com/office/drawing/2014/main" id="{4D48996F-9AC6-A73B-0A6E-64F22311AEE7}"/>
                  </a:ext>
                </a:extLst>
              </p:cNvPr>
              <p:cNvSpPr/>
              <p:nvPr/>
            </p:nvSpPr>
            <p:spPr>
              <a:xfrm>
                <a:off x="147238" y="2058825"/>
                <a:ext cx="69335" cy="177964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3904" extrusionOk="0">
                    <a:moveTo>
                      <a:pt x="1364" y="1"/>
                    </a:moveTo>
                    <a:cubicBezTo>
                      <a:pt x="1358" y="5"/>
                      <a:pt x="1402" y="53"/>
                      <a:pt x="1451" y="149"/>
                    </a:cubicBezTo>
                    <a:cubicBezTo>
                      <a:pt x="1468" y="197"/>
                      <a:pt x="1485" y="263"/>
                      <a:pt x="1473" y="337"/>
                    </a:cubicBezTo>
                    <a:cubicBezTo>
                      <a:pt x="1459" y="411"/>
                      <a:pt x="1424" y="495"/>
                      <a:pt x="1376" y="578"/>
                    </a:cubicBezTo>
                    <a:cubicBezTo>
                      <a:pt x="1280" y="752"/>
                      <a:pt x="1149" y="945"/>
                      <a:pt x="965" y="1128"/>
                    </a:cubicBezTo>
                    <a:cubicBezTo>
                      <a:pt x="787" y="1320"/>
                      <a:pt x="563" y="1517"/>
                      <a:pt x="402" y="1779"/>
                    </a:cubicBezTo>
                    <a:cubicBezTo>
                      <a:pt x="65" y="2304"/>
                      <a:pt x="0" y="2885"/>
                      <a:pt x="43" y="3282"/>
                    </a:cubicBezTo>
                    <a:cubicBezTo>
                      <a:pt x="61" y="3479"/>
                      <a:pt x="105" y="3641"/>
                      <a:pt x="140" y="3746"/>
                    </a:cubicBezTo>
                    <a:cubicBezTo>
                      <a:pt x="177" y="3847"/>
                      <a:pt x="203" y="3904"/>
                      <a:pt x="205" y="3904"/>
                    </a:cubicBezTo>
                    <a:cubicBezTo>
                      <a:pt x="205" y="3904"/>
                      <a:pt x="205" y="3904"/>
                      <a:pt x="205" y="3903"/>
                    </a:cubicBezTo>
                    <a:cubicBezTo>
                      <a:pt x="222" y="3898"/>
                      <a:pt x="118" y="3672"/>
                      <a:pt x="91" y="3278"/>
                    </a:cubicBezTo>
                    <a:cubicBezTo>
                      <a:pt x="61" y="2889"/>
                      <a:pt x="135" y="2321"/>
                      <a:pt x="458" y="1818"/>
                    </a:cubicBezTo>
                    <a:cubicBezTo>
                      <a:pt x="616" y="1560"/>
                      <a:pt x="830" y="1368"/>
                      <a:pt x="1009" y="1176"/>
                    </a:cubicBezTo>
                    <a:cubicBezTo>
                      <a:pt x="1197" y="983"/>
                      <a:pt x="1328" y="778"/>
                      <a:pt x="1420" y="604"/>
                    </a:cubicBezTo>
                    <a:cubicBezTo>
                      <a:pt x="1468" y="516"/>
                      <a:pt x="1503" y="424"/>
                      <a:pt x="1511" y="346"/>
                    </a:cubicBezTo>
                    <a:cubicBezTo>
                      <a:pt x="1521" y="263"/>
                      <a:pt x="1499" y="188"/>
                      <a:pt x="1473" y="140"/>
                    </a:cubicBezTo>
                    <a:cubicBezTo>
                      <a:pt x="1420" y="35"/>
                      <a:pt x="1364" y="1"/>
                      <a:pt x="136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0" name="Google Shape;389;p26">
                <a:extLst>
                  <a:ext uri="{FF2B5EF4-FFF2-40B4-BE49-F238E27FC236}">
                    <a16:creationId xmlns:a16="http://schemas.microsoft.com/office/drawing/2014/main" id="{DDC4F4B0-3F1F-0021-B428-124A1012BBB9}"/>
                  </a:ext>
                </a:extLst>
              </p:cNvPr>
              <p:cNvSpPr/>
              <p:nvPr/>
            </p:nvSpPr>
            <p:spPr>
              <a:xfrm>
                <a:off x="402560" y="1972943"/>
                <a:ext cx="56070" cy="146100"/>
              </a:xfrm>
              <a:custGeom>
                <a:avLst/>
                <a:gdLst/>
                <a:ahLst/>
                <a:cxnLst/>
                <a:rect l="l" t="t" r="r" b="b"/>
                <a:pathLst>
                  <a:path w="1230" h="3205" extrusionOk="0">
                    <a:moveTo>
                      <a:pt x="12" y="0"/>
                    </a:moveTo>
                    <a:cubicBezTo>
                      <a:pt x="11" y="0"/>
                      <a:pt x="11" y="1"/>
                      <a:pt x="10" y="1"/>
                    </a:cubicBezTo>
                    <a:cubicBezTo>
                      <a:pt x="1" y="14"/>
                      <a:pt x="202" y="97"/>
                      <a:pt x="451" y="320"/>
                    </a:cubicBezTo>
                    <a:cubicBezTo>
                      <a:pt x="578" y="429"/>
                      <a:pt x="705" y="582"/>
                      <a:pt x="814" y="774"/>
                    </a:cubicBezTo>
                    <a:cubicBezTo>
                      <a:pt x="923" y="967"/>
                      <a:pt x="1007" y="1199"/>
                      <a:pt x="1054" y="1447"/>
                    </a:cubicBezTo>
                    <a:cubicBezTo>
                      <a:pt x="1155" y="1946"/>
                      <a:pt x="1054" y="2417"/>
                      <a:pt x="928" y="2724"/>
                    </a:cubicBezTo>
                    <a:cubicBezTo>
                      <a:pt x="801" y="3034"/>
                      <a:pt x="666" y="3200"/>
                      <a:pt x="678" y="3204"/>
                    </a:cubicBezTo>
                    <a:cubicBezTo>
                      <a:pt x="678" y="3204"/>
                      <a:pt x="679" y="3204"/>
                      <a:pt x="679" y="3204"/>
                    </a:cubicBezTo>
                    <a:cubicBezTo>
                      <a:pt x="682" y="3204"/>
                      <a:pt x="721" y="3166"/>
                      <a:pt x="775" y="3095"/>
                    </a:cubicBezTo>
                    <a:cubicBezTo>
                      <a:pt x="832" y="3016"/>
                      <a:pt x="906" y="2898"/>
                      <a:pt x="975" y="2746"/>
                    </a:cubicBezTo>
                    <a:cubicBezTo>
                      <a:pt x="1116" y="2435"/>
                      <a:pt x="1229" y="1950"/>
                      <a:pt x="1124" y="1435"/>
                    </a:cubicBezTo>
                    <a:cubicBezTo>
                      <a:pt x="1072" y="1177"/>
                      <a:pt x="985" y="941"/>
                      <a:pt x="870" y="744"/>
                    </a:cubicBezTo>
                    <a:cubicBezTo>
                      <a:pt x="757" y="547"/>
                      <a:pt x="618" y="390"/>
                      <a:pt x="487" y="281"/>
                    </a:cubicBezTo>
                    <a:cubicBezTo>
                      <a:pt x="351" y="171"/>
                      <a:pt x="233" y="102"/>
                      <a:pt x="150" y="58"/>
                    </a:cubicBezTo>
                    <a:cubicBezTo>
                      <a:pt x="70" y="22"/>
                      <a:pt x="23" y="0"/>
                      <a:pt x="1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1" name="Google Shape;390;p26">
                <a:extLst>
                  <a:ext uri="{FF2B5EF4-FFF2-40B4-BE49-F238E27FC236}">
                    <a16:creationId xmlns:a16="http://schemas.microsoft.com/office/drawing/2014/main" id="{D836326A-4B11-A7C5-700A-0665B6101CDE}"/>
                  </a:ext>
                </a:extLst>
              </p:cNvPr>
              <p:cNvSpPr/>
              <p:nvPr/>
            </p:nvSpPr>
            <p:spPr>
              <a:xfrm>
                <a:off x="-397639" y="2540430"/>
                <a:ext cx="305237" cy="36377"/>
              </a:xfrm>
              <a:custGeom>
                <a:avLst/>
                <a:gdLst/>
                <a:ahLst/>
                <a:cxnLst/>
                <a:rect l="l" t="t" r="r" b="b"/>
                <a:pathLst>
                  <a:path w="6696" h="798" extrusionOk="0">
                    <a:moveTo>
                      <a:pt x="1819" y="0"/>
                    </a:moveTo>
                    <a:cubicBezTo>
                      <a:pt x="1441" y="0"/>
                      <a:pt x="1098" y="71"/>
                      <a:pt x="826" y="177"/>
                    </a:cubicBezTo>
                    <a:cubicBezTo>
                      <a:pt x="521" y="291"/>
                      <a:pt x="306" y="453"/>
                      <a:pt x="175" y="580"/>
                    </a:cubicBezTo>
                    <a:cubicBezTo>
                      <a:pt x="49" y="711"/>
                      <a:pt x="1" y="798"/>
                      <a:pt x="1" y="798"/>
                    </a:cubicBezTo>
                    <a:cubicBezTo>
                      <a:pt x="1" y="798"/>
                      <a:pt x="1" y="798"/>
                      <a:pt x="1" y="798"/>
                    </a:cubicBezTo>
                    <a:cubicBezTo>
                      <a:pt x="8" y="798"/>
                      <a:pt x="65" y="716"/>
                      <a:pt x="197" y="602"/>
                    </a:cubicBezTo>
                    <a:cubicBezTo>
                      <a:pt x="328" y="483"/>
                      <a:pt x="542" y="326"/>
                      <a:pt x="844" y="221"/>
                    </a:cubicBezTo>
                    <a:cubicBezTo>
                      <a:pt x="1102" y="126"/>
                      <a:pt x="1424" y="63"/>
                      <a:pt x="1780" y="63"/>
                    </a:cubicBezTo>
                    <a:cubicBezTo>
                      <a:pt x="1833" y="63"/>
                      <a:pt x="1887" y="65"/>
                      <a:pt x="1941" y="68"/>
                    </a:cubicBezTo>
                    <a:cubicBezTo>
                      <a:pt x="2365" y="81"/>
                      <a:pt x="2819" y="182"/>
                      <a:pt x="3295" y="300"/>
                    </a:cubicBezTo>
                    <a:cubicBezTo>
                      <a:pt x="3772" y="413"/>
                      <a:pt x="4231" y="531"/>
                      <a:pt x="4654" y="570"/>
                    </a:cubicBezTo>
                    <a:cubicBezTo>
                      <a:pt x="4788" y="583"/>
                      <a:pt x="4918" y="589"/>
                      <a:pt x="5042" y="589"/>
                    </a:cubicBezTo>
                    <a:cubicBezTo>
                      <a:pt x="5318" y="589"/>
                      <a:pt x="5569" y="559"/>
                      <a:pt x="5786" y="505"/>
                    </a:cubicBezTo>
                    <a:cubicBezTo>
                      <a:pt x="6106" y="426"/>
                      <a:pt x="6337" y="295"/>
                      <a:pt x="6486" y="190"/>
                    </a:cubicBezTo>
                    <a:cubicBezTo>
                      <a:pt x="6635" y="86"/>
                      <a:pt x="6695" y="3"/>
                      <a:pt x="6695" y="3"/>
                    </a:cubicBezTo>
                    <a:cubicBezTo>
                      <a:pt x="6695" y="2"/>
                      <a:pt x="6695" y="2"/>
                      <a:pt x="6694" y="2"/>
                    </a:cubicBezTo>
                    <a:cubicBezTo>
                      <a:pt x="6669" y="2"/>
                      <a:pt x="6387" y="318"/>
                      <a:pt x="5778" y="457"/>
                    </a:cubicBezTo>
                    <a:cubicBezTo>
                      <a:pt x="5576" y="503"/>
                      <a:pt x="5343" y="528"/>
                      <a:pt x="5089" y="528"/>
                    </a:cubicBezTo>
                    <a:cubicBezTo>
                      <a:pt x="4953" y="528"/>
                      <a:pt x="4811" y="520"/>
                      <a:pt x="4664" y="505"/>
                    </a:cubicBezTo>
                    <a:cubicBezTo>
                      <a:pt x="4244" y="465"/>
                      <a:pt x="3789" y="348"/>
                      <a:pt x="3313" y="229"/>
                    </a:cubicBezTo>
                    <a:cubicBezTo>
                      <a:pt x="2837" y="112"/>
                      <a:pt x="2373" y="15"/>
                      <a:pt x="1945" y="3"/>
                    </a:cubicBezTo>
                    <a:cubicBezTo>
                      <a:pt x="1903" y="1"/>
                      <a:pt x="1861" y="0"/>
                      <a:pt x="181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2" name="Google Shape;391;p26">
                <a:extLst>
                  <a:ext uri="{FF2B5EF4-FFF2-40B4-BE49-F238E27FC236}">
                    <a16:creationId xmlns:a16="http://schemas.microsoft.com/office/drawing/2014/main" id="{06F69315-D799-07F9-B1BE-4D23C461C8A0}"/>
                  </a:ext>
                </a:extLst>
              </p:cNvPr>
              <p:cNvSpPr/>
              <p:nvPr/>
            </p:nvSpPr>
            <p:spPr>
              <a:xfrm>
                <a:off x="-676755" y="2382934"/>
                <a:ext cx="140903" cy="125951"/>
              </a:xfrm>
              <a:custGeom>
                <a:avLst/>
                <a:gdLst/>
                <a:ahLst/>
                <a:cxnLst/>
                <a:rect l="l" t="t" r="r" b="b"/>
                <a:pathLst>
                  <a:path w="3091" h="2763" extrusionOk="0">
                    <a:moveTo>
                      <a:pt x="285" y="1"/>
                    </a:moveTo>
                    <a:cubicBezTo>
                      <a:pt x="285" y="1"/>
                      <a:pt x="220" y="35"/>
                      <a:pt x="145" y="144"/>
                    </a:cubicBezTo>
                    <a:cubicBezTo>
                      <a:pt x="71" y="255"/>
                      <a:pt x="1" y="442"/>
                      <a:pt x="1" y="678"/>
                    </a:cubicBezTo>
                    <a:cubicBezTo>
                      <a:pt x="5" y="914"/>
                      <a:pt x="62" y="1207"/>
                      <a:pt x="259" y="1461"/>
                    </a:cubicBezTo>
                    <a:cubicBezTo>
                      <a:pt x="456" y="1709"/>
                      <a:pt x="783" y="1889"/>
                      <a:pt x="1146" y="1919"/>
                    </a:cubicBezTo>
                    <a:cubicBezTo>
                      <a:pt x="1179" y="1921"/>
                      <a:pt x="1212" y="1923"/>
                      <a:pt x="1245" y="1923"/>
                    </a:cubicBezTo>
                    <a:cubicBezTo>
                      <a:pt x="1572" y="1923"/>
                      <a:pt x="1868" y="1813"/>
                      <a:pt x="2142" y="1802"/>
                    </a:cubicBezTo>
                    <a:cubicBezTo>
                      <a:pt x="2170" y="1800"/>
                      <a:pt x="2198" y="1798"/>
                      <a:pt x="2226" y="1798"/>
                    </a:cubicBezTo>
                    <a:cubicBezTo>
                      <a:pt x="2490" y="1798"/>
                      <a:pt x="2730" y="1894"/>
                      <a:pt x="2837" y="2076"/>
                    </a:cubicBezTo>
                    <a:cubicBezTo>
                      <a:pt x="2968" y="2264"/>
                      <a:pt x="3034" y="2443"/>
                      <a:pt x="3052" y="2570"/>
                    </a:cubicBezTo>
                    <a:cubicBezTo>
                      <a:pt x="3068" y="2697"/>
                      <a:pt x="3025" y="2758"/>
                      <a:pt x="3030" y="2762"/>
                    </a:cubicBezTo>
                    <a:cubicBezTo>
                      <a:pt x="3030" y="2762"/>
                      <a:pt x="3030" y="2763"/>
                      <a:pt x="3030" y="2763"/>
                    </a:cubicBezTo>
                    <a:cubicBezTo>
                      <a:pt x="3033" y="2763"/>
                      <a:pt x="3090" y="2697"/>
                      <a:pt x="3078" y="2566"/>
                    </a:cubicBezTo>
                    <a:cubicBezTo>
                      <a:pt x="3068" y="2435"/>
                      <a:pt x="3008" y="2247"/>
                      <a:pt x="2876" y="2050"/>
                    </a:cubicBezTo>
                    <a:cubicBezTo>
                      <a:pt x="2810" y="1954"/>
                      <a:pt x="2715" y="1849"/>
                      <a:pt x="2580" y="1802"/>
                    </a:cubicBezTo>
                    <a:cubicBezTo>
                      <a:pt x="2469" y="1753"/>
                      <a:pt x="2343" y="1733"/>
                      <a:pt x="2213" y="1733"/>
                    </a:cubicBezTo>
                    <a:cubicBezTo>
                      <a:pt x="2188" y="1733"/>
                      <a:pt x="2163" y="1734"/>
                      <a:pt x="2138" y="1736"/>
                    </a:cubicBezTo>
                    <a:cubicBezTo>
                      <a:pt x="1852" y="1743"/>
                      <a:pt x="1555" y="1852"/>
                      <a:pt x="1244" y="1852"/>
                    </a:cubicBezTo>
                    <a:cubicBezTo>
                      <a:pt x="1213" y="1852"/>
                      <a:pt x="1181" y="1851"/>
                      <a:pt x="1150" y="1849"/>
                    </a:cubicBezTo>
                    <a:cubicBezTo>
                      <a:pt x="805" y="1818"/>
                      <a:pt x="495" y="1653"/>
                      <a:pt x="307" y="1417"/>
                    </a:cubicBezTo>
                    <a:cubicBezTo>
                      <a:pt x="119" y="1185"/>
                      <a:pt x="62" y="905"/>
                      <a:pt x="53" y="678"/>
                    </a:cubicBezTo>
                    <a:cubicBezTo>
                      <a:pt x="45" y="451"/>
                      <a:pt x="101" y="267"/>
                      <a:pt x="167" y="158"/>
                    </a:cubicBezTo>
                    <a:cubicBezTo>
                      <a:pt x="232" y="49"/>
                      <a:pt x="289" y="5"/>
                      <a:pt x="285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3" name="Google Shape;392;p26">
                <a:extLst>
                  <a:ext uri="{FF2B5EF4-FFF2-40B4-BE49-F238E27FC236}">
                    <a16:creationId xmlns:a16="http://schemas.microsoft.com/office/drawing/2014/main" id="{D626B76D-0748-5EA0-7B08-EE60CDBEA43C}"/>
                  </a:ext>
                </a:extLst>
              </p:cNvPr>
              <p:cNvSpPr/>
              <p:nvPr/>
            </p:nvSpPr>
            <p:spPr>
              <a:xfrm>
                <a:off x="-517162" y="2667156"/>
                <a:ext cx="68742" cy="148972"/>
              </a:xfrm>
              <a:custGeom>
                <a:avLst/>
                <a:gdLst/>
                <a:ahLst/>
                <a:cxnLst/>
                <a:rect l="l" t="t" r="r" b="b"/>
                <a:pathLst>
                  <a:path w="1508" h="3268" extrusionOk="0">
                    <a:moveTo>
                      <a:pt x="1144" y="0"/>
                    </a:moveTo>
                    <a:cubicBezTo>
                      <a:pt x="1051" y="0"/>
                      <a:pt x="942" y="9"/>
                      <a:pt x="822" y="37"/>
                    </a:cubicBezTo>
                    <a:cubicBezTo>
                      <a:pt x="616" y="89"/>
                      <a:pt x="372" y="212"/>
                      <a:pt x="201" y="444"/>
                    </a:cubicBezTo>
                    <a:cubicBezTo>
                      <a:pt x="114" y="561"/>
                      <a:pt x="53" y="706"/>
                      <a:pt x="39" y="863"/>
                    </a:cubicBezTo>
                    <a:cubicBezTo>
                      <a:pt x="23" y="1021"/>
                      <a:pt x="49" y="1182"/>
                      <a:pt x="96" y="1339"/>
                    </a:cubicBezTo>
                    <a:cubicBezTo>
                      <a:pt x="197" y="1654"/>
                      <a:pt x="368" y="1912"/>
                      <a:pt x="459" y="2169"/>
                    </a:cubicBezTo>
                    <a:cubicBezTo>
                      <a:pt x="555" y="2427"/>
                      <a:pt x="573" y="2685"/>
                      <a:pt x="489" y="2873"/>
                    </a:cubicBezTo>
                    <a:cubicBezTo>
                      <a:pt x="416" y="3066"/>
                      <a:pt x="280" y="3179"/>
                      <a:pt x="175" y="3223"/>
                    </a:cubicBezTo>
                    <a:cubicBezTo>
                      <a:pt x="66" y="3266"/>
                      <a:pt x="1" y="3258"/>
                      <a:pt x="1" y="3262"/>
                    </a:cubicBezTo>
                    <a:cubicBezTo>
                      <a:pt x="1" y="3262"/>
                      <a:pt x="18" y="3268"/>
                      <a:pt x="53" y="3268"/>
                    </a:cubicBezTo>
                    <a:cubicBezTo>
                      <a:pt x="84" y="3268"/>
                      <a:pt x="128" y="3263"/>
                      <a:pt x="184" y="3244"/>
                    </a:cubicBezTo>
                    <a:cubicBezTo>
                      <a:pt x="297" y="3209"/>
                      <a:pt x="451" y="3092"/>
                      <a:pt x="533" y="2891"/>
                    </a:cubicBezTo>
                    <a:cubicBezTo>
                      <a:pt x="630" y="2689"/>
                      <a:pt x="616" y="2414"/>
                      <a:pt x="516" y="2148"/>
                    </a:cubicBezTo>
                    <a:cubicBezTo>
                      <a:pt x="428" y="1881"/>
                      <a:pt x="263" y="1618"/>
                      <a:pt x="166" y="1317"/>
                    </a:cubicBezTo>
                    <a:cubicBezTo>
                      <a:pt x="118" y="1168"/>
                      <a:pt x="92" y="1015"/>
                      <a:pt x="105" y="872"/>
                    </a:cubicBezTo>
                    <a:cubicBezTo>
                      <a:pt x="118" y="727"/>
                      <a:pt x="175" y="592"/>
                      <a:pt x="253" y="482"/>
                    </a:cubicBezTo>
                    <a:cubicBezTo>
                      <a:pt x="411" y="260"/>
                      <a:pt x="638" y="142"/>
                      <a:pt x="835" y="85"/>
                    </a:cubicBezTo>
                    <a:cubicBezTo>
                      <a:pt x="1002" y="44"/>
                      <a:pt x="1145" y="33"/>
                      <a:pt x="1256" y="33"/>
                    </a:cubicBezTo>
                    <a:cubicBezTo>
                      <a:pt x="1385" y="33"/>
                      <a:pt x="1471" y="48"/>
                      <a:pt x="1498" y="48"/>
                    </a:cubicBezTo>
                    <a:cubicBezTo>
                      <a:pt x="1505" y="48"/>
                      <a:pt x="1508" y="47"/>
                      <a:pt x="1508" y="45"/>
                    </a:cubicBezTo>
                    <a:cubicBezTo>
                      <a:pt x="1508" y="41"/>
                      <a:pt x="1443" y="24"/>
                      <a:pt x="1324" y="10"/>
                    </a:cubicBezTo>
                    <a:cubicBezTo>
                      <a:pt x="1274" y="5"/>
                      <a:pt x="1214" y="0"/>
                      <a:pt x="114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4" name="Google Shape;393;p26">
                <a:extLst>
                  <a:ext uri="{FF2B5EF4-FFF2-40B4-BE49-F238E27FC236}">
                    <a16:creationId xmlns:a16="http://schemas.microsoft.com/office/drawing/2014/main" id="{2727691E-14EE-2B02-DCC0-FC1E560422EB}"/>
                  </a:ext>
                </a:extLst>
              </p:cNvPr>
              <p:cNvSpPr/>
              <p:nvPr/>
            </p:nvSpPr>
            <p:spPr>
              <a:xfrm>
                <a:off x="-454438" y="2101083"/>
                <a:ext cx="152026" cy="315038"/>
              </a:xfrm>
              <a:custGeom>
                <a:avLst/>
                <a:gdLst/>
                <a:ahLst/>
                <a:cxnLst/>
                <a:rect l="l" t="t" r="r" b="b"/>
                <a:pathLst>
                  <a:path w="3335" h="6911" extrusionOk="0">
                    <a:moveTo>
                      <a:pt x="1815" y="0"/>
                    </a:moveTo>
                    <a:cubicBezTo>
                      <a:pt x="1765" y="0"/>
                      <a:pt x="1723" y="4"/>
                      <a:pt x="1692" y="8"/>
                    </a:cubicBezTo>
                    <a:cubicBezTo>
                      <a:pt x="1631" y="18"/>
                      <a:pt x="1600" y="22"/>
                      <a:pt x="1600" y="26"/>
                    </a:cubicBezTo>
                    <a:cubicBezTo>
                      <a:pt x="1600" y="30"/>
                      <a:pt x="1609" y="30"/>
                      <a:pt x="1625" y="30"/>
                    </a:cubicBezTo>
                    <a:cubicBezTo>
                      <a:pt x="1640" y="30"/>
                      <a:pt x="1663" y="30"/>
                      <a:pt x="1691" y="30"/>
                    </a:cubicBezTo>
                    <a:cubicBezTo>
                      <a:pt x="1750" y="30"/>
                      <a:pt x="1836" y="33"/>
                      <a:pt x="1945" y="52"/>
                    </a:cubicBezTo>
                    <a:cubicBezTo>
                      <a:pt x="2164" y="92"/>
                      <a:pt x="2479" y="218"/>
                      <a:pt x="2754" y="506"/>
                    </a:cubicBezTo>
                    <a:cubicBezTo>
                      <a:pt x="3030" y="786"/>
                      <a:pt x="3217" y="1250"/>
                      <a:pt x="3217" y="1779"/>
                    </a:cubicBezTo>
                    <a:cubicBezTo>
                      <a:pt x="3222" y="2303"/>
                      <a:pt x="3046" y="2876"/>
                      <a:pt x="2776" y="3417"/>
                    </a:cubicBezTo>
                    <a:cubicBezTo>
                      <a:pt x="2641" y="3693"/>
                      <a:pt x="2470" y="3933"/>
                      <a:pt x="2291" y="4165"/>
                    </a:cubicBezTo>
                    <a:cubicBezTo>
                      <a:pt x="2112" y="4397"/>
                      <a:pt x="1937" y="4615"/>
                      <a:pt x="1767" y="4820"/>
                    </a:cubicBezTo>
                    <a:cubicBezTo>
                      <a:pt x="1426" y="5231"/>
                      <a:pt x="1106" y="5589"/>
                      <a:pt x="840" y="5895"/>
                    </a:cubicBezTo>
                    <a:cubicBezTo>
                      <a:pt x="573" y="6202"/>
                      <a:pt x="364" y="6454"/>
                      <a:pt x="220" y="6629"/>
                    </a:cubicBezTo>
                    <a:cubicBezTo>
                      <a:pt x="75" y="6805"/>
                      <a:pt x="1" y="6904"/>
                      <a:pt x="10" y="6910"/>
                    </a:cubicBezTo>
                    <a:cubicBezTo>
                      <a:pt x="10" y="6910"/>
                      <a:pt x="11" y="6910"/>
                      <a:pt x="11" y="6910"/>
                    </a:cubicBezTo>
                    <a:cubicBezTo>
                      <a:pt x="22" y="6910"/>
                      <a:pt x="108" y="6819"/>
                      <a:pt x="254" y="6660"/>
                    </a:cubicBezTo>
                    <a:cubicBezTo>
                      <a:pt x="420" y="6476"/>
                      <a:pt x="639" y="6240"/>
                      <a:pt x="902" y="5952"/>
                    </a:cubicBezTo>
                    <a:cubicBezTo>
                      <a:pt x="1176" y="5655"/>
                      <a:pt x="1505" y="5296"/>
                      <a:pt x="1850" y="4891"/>
                    </a:cubicBezTo>
                    <a:cubicBezTo>
                      <a:pt x="2024" y="4685"/>
                      <a:pt x="2203" y="4466"/>
                      <a:pt x="2383" y="4235"/>
                    </a:cubicBezTo>
                    <a:cubicBezTo>
                      <a:pt x="2562" y="4007"/>
                      <a:pt x="2741" y="3749"/>
                      <a:pt x="2881" y="3469"/>
                    </a:cubicBezTo>
                    <a:cubicBezTo>
                      <a:pt x="3157" y="2915"/>
                      <a:pt x="3335" y="2325"/>
                      <a:pt x="3326" y="1774"/>
                    </a:cubicBezTo>
                    <a:cubicBezTo>
                      <a:pt x="3318" y="1228"/>
                      <a:pt x="3113" y="738"/>
                      <a:pt x="2810" y="446"/>
                    </a:cubicBezTo>
                    <a:cubicBezTo>
                      <a:pt x="2518" y="153"/>
                      <a:pt x="2181" y="34"/>
                      <a:pt x="1955" y="8"/>
                    </a:cubicBezTo>
                    <a:cubicBezTo>
                      <a:pt x="1903" y="3"/>
                      <a:pt x="1856" y="0"/>
                      <a:pt x="181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5" name="Google Shape;394;p26">
                <a:extLst>
                  <a:ext uri="{FF2B5EF4-FFF2-40B4-BE49-F238E27FC236}">
                    <a16:creationId xmlns:a16="http://schemas.microsoft.com/office/drawing/2014/main" id="{D90FEF4C-6C4D-79CE-BBE5-260EF9989486}"/>
                  </a:ext>
                </a:extLst>
              </p:cNvPr>
              <p:cNvSpPr/>
              <p:nvPr/>
            </p:nvSpPr>
            <p:spPr>
              <a:xfrm>
                <a:off x="-640880" y="2556339"/>
                <a:ext cx="73118" cy="22337"/>
              </a:xfrm>
              <a:custGeom>
                <a:avLst/>
                <a:gdLst/>
                <a:ahLst/>
                <a:cxnLst/>
                <a:rect l="l" t="t" r="r" b="b"/>
                <a:pathLst>
                  <a:path w="1604" h="490" extrusionOk="0">
                    <a:moveTo>
                      <a:pt x="1572" y="1"/>
                    </a:moveTo>
                    <a:cubicBezTo>
                      <a:pt x="1484" y="1"/>
                      <a:pt x="1163" y="78"/>
                      <a:pt x="787" y="191"/>
                    </a:cubicBezTo>
                    <a:cubicBezTo>
                      <a:pt x="345" y="322"/>
                      <a:pt x="0" y="453"/>
                      <a:pt x="10" y="483"/>
                    </a:cubicBezTo>
                    <a:cubicBezTo>
                      <a:pt x="11" y="488"/>
                      <a:pt x="19" y="490"/>
                      <a:pt x="34" y="490"/>
                    </a:cubicBezTo>
                    <a:cubicBezTo>
                      <a:pt x="123" y="490"/>
                      <a:pt x="443" y="412"/>
                      <a:pt x="817" y="300"/>
                    </a:cubicBezTo>
                    <a:cubicBezTo>
                      <a:pt x="1255" y="169"/>
                      <a:pt x="1604" y="38"/>
                      <a:pt x="1595" y="7"/>
                    </a:cubicBezTo>
                    <a:cubicBezTo>
                      <a:pt x="1594" y="3"/>
                      <a:pt x="1586" y="1"/>
                      <a:pt x="1572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6" name="Google Shape;395;p26">
                <a:extLst>
                  <a:ext uri="{FF2B5EF4-FFF2-40B4-BE49-F238E27FC236}">
                    <a16:creationId xmlns:a16="http://schemas.microsoft.com/office/drawing/2014/main" id="{988A77C0-4E30-8B4C-0210-D131424D5B59}"/>
                  </a:ext>
                </a:extLst>
              </p:cNvPr>
              <p:cNvSpPr/>
              <p:nvPr/>
            </p:nvSpPr>
            <p:spPr>
              <a:xfrm>
                <a:off x="-616994" y="2555109"/>
                <a:ext cx="45084" cy="46633"/>
              </a:xfrm>
              <a:custGeom>
                <a:avLst/>
                <a:gdLst/>
                <a:ahLst/>
                <a:cxnLst/>
                <a:rect l="l" t="t" r="r" b="b"/>
                <a:pathLst>
                  <a:path w="989" h="1023" extrusionOk="0">
                    <a:moveTo>
                      <a:pt x="961" y="0"/>
                    </a:moveTo>
                    <a:cubicBezTo>
                      <a:pt x="906" y="0"/>
                      <a:pt x="629" y="130"/>
                      <a:pt x="377" y="401"/>
                    </a:cubicBezTo>
                    <a:cubicBezTo>
                      <a:pt x="105" y="694"/>
                      <a:pt x="1" y="1014"/>
                      <a:pt x="31" y="1022"/>
                    </a:cubicBezTo>
                    <a:cubicBezTo>
                      <a:pt x="32" y="1022"/>
                      <a:pt x="32" y="1023"/>
                      <a:pt x="33" y="1023"/>
                    </a:cubicBezTo>
                    <a:cubicBezTo>
                      <a:pt x="69" y="1023"/>
                      <a:pt x="212" y="750"/>
                      <a:pt x="464" y="480"/>
                    </a:cubicBezTo>
                    <a:cubicBezTo>
                      <a:pt x="722" y="201"/>
                      <a:pt x="989" y="34"/>
                      <a:pt x="971" y="4"/>
                    </a:cubicBezTo>
                    <a:cubicBezTo>
                      <a:pt x="970" y="1"/>
                      <a:pt x="966" y="0"/>
                      <a:pt x="96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7" name="Google Shape;396;p26">
                <a:extLst>
                  <a:ext uri="{FF2B5EF4-FFF2-40B4-BE49-F238E27FC236}">
                    <a16:creationId xmlns:a16="http://schemas.microsoft.com/office/drawing/2014/main" id="{C8847A17-9238-6C7D-F027-DB275E2DDD71}"/>
                  </a:ext>
                </a:extLst>
              </p:cNvPr>
              <p:cNvSpPr/>
              <p:nvPr/>
            </p:nvSpPr>
            <p:spPr>
              <a:xfrm>
                <a:off x="-112961" y="2157836"/>
                <a:ext cx="55842" cy="155035"/>
              </a:xfrm>
              <a:custGeom>
                <a:avLst/>
                <a:gdLst/>
                <a:ahLst/>
                <a:cxnLst/>
                <a:rect l="l" t="t" r="r" b="b"/>
                <a:pathLst>
                  <a:path w="1225" h="3401" extrusionOk="0">
                    <a:moveTo>
                      <a:pt x="14" y="1"/>
                    </a:moveTo>
                    <a:cubicBezTo>
                      <a:pt x="13" y="1"/>
                      <a:pt x="13" y="1"/>
                      <a:pt x="13" y="1"/>
                    </a:cubicBezTo>
                    <a:cubicBezTo>
                      <a:pt x="0" y="5"/>
                      <a:pt x="27" y="205"/>
                      <a:pt x="101" y="525"/>
                    </a:cubicBezTo>
                    <a:cubicBezTo>
                      <a:pt x="176" y="844"/>
                      <a:pt x="293" y="1280"/>
                      <a:pt x="459" y="1752"/>
                    </a:cubicBezTo>
                    <a:cubicBezTo>
                      <a:pt x="625" y="2224"/>
                      <a:pt x="805" y="2644"/>
                      <a:pt x="949" y="2938"/>
                    </a:cubicBezTo>
                    <a:cubicBezTo>
                      <a:pt x="1090" y="3227"/>
                      <a:pt x="1193" y="3400"/>
                      <a:pt x="1210" y="3400"/>
                    </a:cubicBezTo>
                    <a:cubicBezTo>
                      <a:pt x="1210" y="3400"/>
                      <a:pt x="1210" y="3400"/>
                      <a:pt x="1211" y="3400"/>
                    </a:cubicBezTo>
                    <a:cubicBezTo>
                      <a:pt x="1224" y="3392"/>
                      <a:pt x="1150" y="3208"/>
                      <a:pt x="1023" y="2902"/>
                    </a:cubicBezTo>
                    <a:cubicBezTo>
                      <a:pt x="900" y="2601"/>
                      <a:pt x="735" y="2186"/>
                      <a:pt x="573" y="1714"/>
                    </a:cubicBezTo>
                    <a:cubicBezTo>
                      <a:pt x="406" y="1246"/>
                      <a:pt x="275" y="818"/>
                      <a:pt x="180" y="503"/>
                    </a:cubicBezTo>
                    <a:cubicBezTo>
                      <a:pt x="89" y="197"/>
                      <a:pt x="32" y="1"/>
                      <a:pt x="1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8" name="Google Shape;397;p26">
                <a:extLst>
                  <a:ext uri="{FF2B5EF4-FFF2-40B4-BE49-F238E27FC236}">
                    <a16:creationId xmlns:a16="http://schemas.microsoft.com/office/drawing/2014/main" id="{6B5CD3AD-F373-3A38-C23E-6F53F91148B3}"/>
                  </a:ext>
                </a:extLst>
              </p:cNvPr>
              <p:cNvSpPr/>
              <p:nvPr/>
            </p:nvSpPr>
            <p:spPr>
              <a:xfrm>
                <a:off x="-310982" y="2410787"/>
                <a:ext cx="145644" cy="67420"/>
              </a:xfrm>
              <a:custGeom>
                <a:avLst/>
                <a:gdLst/>
                <a:ahLst/>
                <a:cxnLst/>
                <a:rect l="l" t="t" r="r" b="b"/>
                <a:pathLst>
                  <a:path w="3195" h="1479" extrusionOk="0">
                    <a:moveTo>
                      <a:pt x="3180" y="1"/>
                    </a:moveTo>
                    <a:cubicBezTo>
                      <a:pt x="3157" y="1"/>
                      <a:pt x="3048" y="176"/>
                      <a:pt x="2828" y="404"/>
                    </a:cubicBezTo>
                    <a:cubicBezTo>
                      <a:pt x="2600" y="640"/>
                      <a:pt x="2243" y="923"/>
                      <a:pt x="1779" y="1125"/>
                    </a:cubicBezTo>
                    <a:cubicBezTo>
                      <a:pt x="1321" y="1322"/>
                      <a:pt x="865" y="1391"/>
                      <a:pt x="538" y="1395"/>
                    </a:cubicBezTo>
                    <a:cubicBezTo>
                      <a:pt x="282" y="1395"/>
                      <a:pt x="101" y="1372"/>
                      <a:pt x="32" y="1372"/>
                    </a:cubicBezTo>
                    <a:cubicBezTo>
                      <a:pt x="12" y="1372"/>
                      <a:pt x="1" y="1373"/>
                      <a:pt x="0" y="1378"/>
                    </a:cubicBezTo>
                    <a:cubicBezTo>
                      <a:pt x="0" y="1387"/>
                      <a:pt x="197" y="1457"/>
                      <a:pt x="538" y="1474"/>
                    </a:cubicBezTo>
                    <a:cubicBezTo>
                      <a:pt x="583" y="1477"/>
                      <a:pt x="630" y="1478"/>
                      <a:pt x="679" y="1478"/>
                    </a:cubicBezTo>
                    <a:cubicBezTo>
                      <a:pt x="1001" y="1478"/>
                      <a:pt x="1414" y="1412"/>
                      <a:pt x="1827" y="1234"/>
                    </a:cubicBezTo>
                    <a:cubicBezTo>
                      <a:pt x="2303" y="1024"/>
                      <a:pt x="2670" y="719"/>
                      <a:pt x="2889" y="461"/>
                    </a:cubicBezTo>
                    <a:cubicBezTo>
                      <a:pt x="3108" y="198"/>
                      <a:pt x="3195" y="5"/>
                      <a:pt x="3182" y="1"/>
                    </a:cubicBezTo>
                    <a:cubicBezTo>
                      <a:pt x="3182" y="1"/>
                      <a:pt x="3181" y="1"/>
                      <a:pt x="318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9" name="Google Shape;398;p26">
                <a:extLst>
                  <a:ext uri="{FF2B5EF4-FFF2-40B4-BE49-F238E27FC236}">
                    <a16:creationId xmlns:a16="http://schemas.microsoft.com/office/drawing/2014/main" id="{3AC902CA-5339-2965-B7E6-847E0B08F72A}"/>
                  </a:ext>
                </a:extLst>
              </p:cNvPr>
              <p:cNvSpPr/>
              <p:nvPr/>
            </p:nvSpPr>
            <p:spPr>
              <a:xfrm>
                <a:off x="-326526" y="2889930"/>
                <a:ext cx="89483" cy="35830"/>
              </a:xfrm>
              <a:custGeom>
                <a:avLst/>
                <a:gdLst/>
                <a:ahLst/>
                <a:cxnLst/>
                <a:rect l="l" t="t" r="r" b="b"/>
                <a:pathLst>
                  <a:path w="1963" h="786" extrusionOk="0">
                    <a:moveTo>
                      <a:pt x="206" y="1"/>
                    </a:moveTo>
                    <a:cubicBezTo>
                      <a:pt x="206" y="1"/>
                      <a:pt x="31" y="114"/>
                      <a:pt x="44" y="276"/>
                    </a:cubicBezTo>
                    <a:cubicBezTo>
                      <a:pt x="52" y="374"/>
                      <a:pt x="219" y="394"/>
                      <a:pt x="349" y="394"/>
                    </a:cubicBezTo>
                    <a:cubicBezTo>
                      <a:pt x="434" y="394"/>
                      <a:pt x="503" y="386"/>
                      <a:pt x="503" y="386"/>
                    </a:cubicBezTo>
                    <a:lnTo>
                      <a:pt x="503" y="386"/>
                    </a:lnTo>
                    <a:cubicBezTo>
                      <a:pt x="503" y="386"/>
                      <a:pt x="0" y="569"/>
                      <a:pt x="206" y="739"/>
                    </a:cubicBezTo>
                    <a:cubicBezTo>
                      <a:pt x="247" y="772"/>
                      <a:pt x="340" y="785"/>
                      <a:pt x="465" y="785"/>
                    </a:cubicBezTo>
                    <a:cubicBezTo>
                      <a:pt x="966" y="785"/>
                      <a:pt x="1963" y="569"/>
                      <a:pt x="1963" y="569"/>
                    </a:cubicBezTo>
                    <a:lnTo>
                      <a:pt x="206" y="1"/>
                    </a:lnTo>
                    <a:close/>
                  </a:path>
                </a:pathLst>
              </a:custGeom>
              <a:solidFill>
                <a:srgbClr val="E5BAA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0" name="Google Shape;399;p26">
                <a:extLst>
                  <a:ext uri="{FF2B5EF4-FFF2-40B4-BE49-F238E27FC236}">
                    <a16:creationId xmlns:a16="http://schemas.microsoft.com/office/drawing/2014/main" id="{BD4D6921-F7D2-7C8D-7CC1-66D87B89EF4C}"/>
                  </a:ext>
                </a:extLst>
              </p:cNvPr>
              <p:cNvSpPr/>
              <p:nvPr/>
            </p:nvSpPr>
            <p:spPr>
              <a:xfrm>
                <a:off x="-376761" y="2778976"/>
                <a:ext cx="149109" cy="138897"/>
              </a:xfrm>
              <a:custGeom>
                <a:avLst/>
                <a:gdLst/>
                <a:ahLst/>
                <a:cxnLst/>
                <a:rect l="l" t="t" r="r" b="b"/>
                <a:pathLst>
                  <a:path w="3271" h="3047" extrusionOk="0">
                    <a:moveTo>
                      <a:pt x="971" y="0"/>
                    </a:moveTo>
                    <a:lnTo>
                      <a:pt x="1" y="1761"/>
                    </a:lnTo>
                    <a:cubicBezTo>
                      <a:pt x="1" y="1761"/>
                      <a:pt x="2346" y="3047"/>
                      <a:pt x="2941" y="3047"/>
                    </a:cubicBezTo>
                    <a:cubicBezTo>
                      <a:pt x="3002" y="3047"/>
                      <a:pt x="3045" y="3033"/>
                      <a:pt x="3065" y="3003"/>
                    </a:cubicBezTo>
                    <a:cubicBezTo>
                      <a:pt x="3270" y="2684"/>
                      <a:pt x="3204" y="1132"/>
                      <a:pt x="3178" y="1053"/>
                    </a:cubicBezTo>
                    <a:cubicBezTo>
                      <a:pt x="3147" y="980"/>
                      <a:pt x="971" y="0"/>
                      <a:pt x="971" y="0"/>
                    </a:cubicBezTo>
                    <a:close/>
                  </a:path>
                </a:pathLst>
              </a:custGeom>
              <a:solidFill>
                <a:srgbClr val="E5BAA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1" name="Google Shape;400;p26">
                <a:extLst>
                  <a:ext uri="{FF2B5EF4-FFF2-40B4-BE49-F238E27FC236}">
                    <a16:creationId xmlns:a16="http://schemas.microsoft.com/office/drawing/2014/main" id="{08DEA411-F2B6-B4E9-D805-524A615C5439}"/>
                  </a:ext>
                </a:extLst>
              </p:cNvPr>
              <p:cNvSpPr/>
              <p:nvPr/>
            </p:nvSpPr>
            <p:spPr>
              <a:xfrm>
                <a:off x="-377308" y="2857656"/>
                <a:ext cx="118384" cy="41893"/>
              </a:xfrm>
              <a:custGeom>
                <a:avLst/>
                <a:gdLst/>
                <a:ahLst/>
                <a:cxnLst/>
                <a:rect l="l" t="t" r="r" b="b"/>
                <a:pathLst>
                  <a:path w="2597" h="919" extrusionOk="0">
                    <a:moveTo>
                      <a:pt x="2" y="0"/>
                    </a:moveTo>
                    <a:cubicBezTo>
                      <a:pt x="1" y="0"/>
                      <a:pt x="1" y="0"/>
                      <a:pt x="0" y="1"/>
                    </a:cubicBezTo>
                    <a:cubicBezTo>
                      <a:pt x="0" y="1"/>
                      <a:pt x="31" y="27"/>
                      <a:pt x="87" y="67"/>
                    </a:cubicBezTo>
                    <a:cubicBezTo>
                      <a:pt x="170" y="123"/>
                      <a:pt x="249" y="176"/>
                      <a:pt x="337" y="237"/>
                    </a:cubicBezTo>
                    <a:cubicBezTo>
                      <a:pt x="537" y="386"/>
                      <a:pt x="852" y="555"/>
                      <a:pt x="1223" y="665"/>
                    </a:cubicBezTo>
                    <a:cubicBezTo>
                      <a:pt x="1590" y="779"/>
                      <a:pt x="1941" y="835"/>
                      <a:pt x="2189" y="870"/>
                    </a:cubicBezTo>
                    <a:cubicBezTo>
                      <a:pt x="2290" y="884"/>
                      <a:pt x="2386" y="896"/>
                      <a:pt x="2482" y="910"/>
                    </a:cubicBezTo>
                    <a:cubicBezTo>
                      <a:pt x="2552" y="918"/>
                      <a:pt x="2592" y="918"/>
                      <a:pt x="2592" y="918"/>
                    </a:cubicBezTo>
                    <a:cubicBezTo>
                      <a:pt x="2596" y="914"/>
                      <a:pt x="2556" y="906"/>
                      <a:pt x="2487" y="892"/>
                    </a:cubicBezTo>
                    <a:cubicBezTo>
                      <a:pt x="2391" y="874"/>
                      <a:pt x="2294" y="858"/>
                      <a:pt x="2194" y="840"/>
                    </a:cubicBezTo>
                    <a:cubicBezTo>
                      <a:pt x="1945" y="791"/>
                      <a:pt x="1604" y="731"/>
                      <a:pt x="1237" y="622"/>
                    </a:cubicBezTo>
                    <a:cubicBezTo>
                      <a:pt x="870" y="512"/>
                      <a:pt x="559" y="350"/>
                      <a:pt x="354" y="206"/>
                    </a:cubicBezTo>
                    <a:cubicBezTo>
                      <a:pt x="267" y="154"/>
                      <a:pt x="180" y="101"/>
                      <a:pt x="101" y="53"/>
                    </a:cubicBezTo>
                    <a:cubicBezTo>
                      <a:pt x="45" y="18"/>
                      <a:pt x="11" y="0"/>
                      <a:pt x="2" y="0"/>
                    </a:cubicBezTo>
                    <a:close/>
                  </a:path>
                </a:pathLst>
              </a:custGeom>
              <a:solidFill>
                <a:srgbClr val="D7877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2" name="Google Shape;401;p26">
                <a:extLst>
                  <a:ext uri="{FF2B5EF4-FFF2-40B4-BE49-F238E27FC236}">
                    <a16:creationId xmlns:a16="http://schemas.microsoft.com/office/drawing/2014/main" id="{608FFF36-BBD3-5828-60B5-CD1EE55CC7E7}"/>
                  </a:ext>
                </a:extLst>
              </p:cNvPr>
              <p:cNvSpPr/>
              <p:nvPr/>
            </p:nvSpPr>
            <p:spPr>
              <a:xfrm>
                <a:off x="-305785" y="2901007"/>
                <a:ext cx="46406" cy="7522"/>
              </a:xfrm>
              <a:custGeom>
                <a:avLst/>
                <a:gdLst/>
                <a:ahLst/>
                <a:cxnLst/>
                <a:rect l="l" t="t" r="r" b="b"/>
                <a:pathLst>
                  <a:path w="1018" h="165" extrusionOk="0">
                    <a:moveTo>
                      <a:pt x="1006" y="0"/>
                    </a:moveTo>
                    <a:cubicBezTo>
                      <a:pt x="963" y="0"/>
                      <a:pt x="758" y="46"/>
                      <a:pt x="507" y="86"/>
                    </a:cubicBezTo>
                    <a:cubicBezTo>
                      <a:pt x="227" y="125"/>
                      <a:pt x="0" y="143"/>
                      <a:pt x="0" y="155"/>
                    </a:cubicBezTo>
                    <a:cubicBezTo>
                      <a:pt x="0" y="161"/>
                      <a:pt x="37" y="164"/>
                      <a:pt x="99" y="164"/>
                    </a:cubicBezTo>
                    <a:cubicBezTo>
                      <a:pt x="192" y="164"/>
                      <a:pt x="344" y="155"/>
                      <a:pt x="515" y="129"/>
                    </a:cubicBezTo>
                    <a:cubicBezTo>
                      <a:pt x="795" y="90"/>
                      <a:pt x="1018" y="16"/>
                      <a:pt x="1014" y="2"/>
                    </a:cubicBezTo>
                    <a:cubicBezTo>
                      <a:pt x="1013" y="1"/>
                      <a:pt x="1010" y="0"/>
                      <a:pt x="1006" y="0"/>
                    </a:cubicBezTo>
                    <a:close/>
                  </a:path>
                </a:pathLst>
              </a:custGeom>
              <a:solidFill>
                <a:srgbClr val="D7877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3" name="Google Shape;402;p26">
                <a:extLst>
                  <a:ext uri="{FF2B5EF4-FFF2-40B4-BE49-F238E27FC236}">
                    <a16:creationId xmlns:a16="http://schemas.microsoft.com/office/drawing/2014/main" id="{729227BA-7288-448F-28D5-D8EECDB77BAF}"/>
                  </a:ext>
                </a:extLst>
              </p:cNvPr>
              <p:cNvSpPr/>
              <p:nvPr/>
            </p:nvSpPr>
            <p:spPr>
              <a:xfrm>
                <a:off x="-525322" y="2223980"/>
                <a:ext cx="443086" cy="75534"/>
              </a:xfrm>
              <a:custGeom>
                <a:avLst/>
                <a:gdLst/>
                <a:ahLst/>
                <a:cxnLst/>
                <a:rect l="l" t="t" r="r" b="b"/>
                <a:pathLst>
                  <a:path w="9720" h="1657" extrusionOk="0">
                    <a:moveTo>
                      <a:pt x="309" y="0"/>
                    </a:moveTo>
                    <a:cubicBezTo>
                      <a:pt x="105" y="0"/>
                      <a:pt x="5" y="92"/>
                      <a:pt x="0" y="92"/>
                    </a:cubicBezTo>
                    <a:lnTo>
                      <a:pt x="0" y="92"/>
                    </a:lnTo>
                    <a:cubicBezTo>
                      <a:pt x="0" y="92"/>
                      <a:pt x="0" y="92"/>
                      <a:pt x="0" y="92"/>
                    </a:cubicBezTo>
                    <a:lnTo>
                      <a:pt x="0" y="92"/>
                    </a:lnTo>
                    <a:cubicBezTo>
                      <a:pt x="0" y="92"/>
                      <a:pt x="0" y="92"/>
                      <a:pt x="0" y="92"/>
                    </a:cubicBezTo>
                    <a:cubicBezTo>
                      <a:pt x="0" y="92"/>
                      <a:pt x="0" y="92"/>
                      <a:pt x="0" y="92"/>
                    </a:cubicBezTo>
                    <a:lnTo>
                      <a:pt x="0" y="92"/>
                    </a:lnTo>
                    <a:cubicBezTo>
                      <a:pt x="0" y="92"/>
                      <a:pt x="1" y="93"/>
                      <a:pt x="1" y="93"/>
                    </a:cubicBezTo>
                    <a:cubicBezTo>
                      <a:pt x="13" y="93"/>
                      <a:pt x="109" y="23"/>
                      <a:pt x="284" y="23"/>
                    </a:cubicBezTo>
                    <a:cubicBezTo>
                      <a:pt x="322" y="23"/>
                      <a:pt x="365" y="27"/>
                      <a:pt x="411" y="35"/>
                    </a:cubicBezTo>
                    <a:cubicBezTo>
                      <a:pt x="547" y="61"/>
                      <a:pt x="700" y="136"/>
                      <a:pt x="857" y="254"/>
                    </a:cubicBezTo>
                    <a:cubicBezTo>
                      <a:pt x="1009" y="367"/>
                      <a:pt x="1176" y="525"/>
                      <a:pt x="1368" y="678"/>
                    </a:cubicBezTo>
                    <a:cubicBezTo>
                      <a:pt x="1556" y="839"/>
                      <a:pt x="1739" y="1041"/>
                      <a:pt x="1971" y="1224"/>
                    </a:cubicBezTo>
                    <a:cubicBezTo>
                      <a:pt x="2203" y="1403"/>
                      <a:pt x="2495" y="1547"/>
                      <a:pt x="2824" y="1608"/>
                    </a:cubicBezTo>
                    <a:cubicBezTo>
                      <a:pt x="2989" y="1641"/>
                      <a:pt x="3159" y="1657"/>
                      <a:pt x="3333" y="1657"/>
                    </a:cubicBezTo>
                    <a:cubicBezTo>
                      <a:pt x="3850" y="1657"/>
                      <a:pt x="4398" y="1521"/>
                      <a:pt x="4921" y="1311"/>
                    </a:cubicBezTo>
                    <a:cubicBezTo>
                      <a:pt x="5624" y="1031"/>
                      <a:pt x="6267" y="695"/>
                      <a:pt x="6896" y="521"/>
                    </a:cubicBezTo>
                    <a:cubicBezTo>
                      <a:pt x="7193" y="437"/>
                      <a:pt x="7484" y="385"/>
                      <a:pt x="7761" y="385"/>
                    </a:cubicBezTo>
                    <a:cubicBezTo>
                      <a:pt x="7774" y="385"/>
                      <a:pt x="7787" y="385"/>
                      <a:pt x="7800" y="385"/>
                    </a:cubicBezTo>
                    <a:cubicBezTo>
                      <a:pt x="8089" y="389"/>
                      <a:pt x="8356" y="438"/>
                      <a:pt x="8587" y="516"/>
                    </a:cubicBezTo>
                    <a:cubicBezTo>
                      <a:pt x="9055" y="674"/>
                      <a:pt x="9369" y="944"/>
                      <a:pt x="9523" y="1176"/>
                    </a:cubicBezTo>
                    <a:cubicBezTo>
                      <a:pt x="9674" y="1400"/>
                      <a:pt x="9705" y="1552"/>
                      <a:pt x="9719" y="1552"/>
                    </a:cubicBezTo>
                    <a:cubicBezTo>
                      <a:pt x="9719" y="1552"/>
                      <a:pt x="9720" y="1552"/>
                      <a:pt x="9720" y="1552"/>
                    </a:cubicBezTo>
                    <a:cubicBezTo>
                      <a:pt x="9720" y="1552"/>
                      <a:pt x="9710" y="1517"/>
                      <a:pt x="9684" y="1447"/>
                    </a:cubicBezTo>
                    <a:cubicBezTo>
                      <a:pt x="9676" y="1412"/>
                      <a:pt x="9658" y="1368"/>
                      <a:pt x="9636" y="1320"/>
                    </a:cubicBezTo>
                    <a:cubicBezTo>
                      <a:pt x="9610" y="1272"/>
                      <a:pt x="9583" y="1215"/>
                      <a:pt x="9545" y="1158"/>
                    </a:cubicBezTo>
                    <a:cubicBezTo>
                      <a:pt x="9396" y="922"/>
                      <a:pt x="9081" y="634"/>
                      <a:pt x="8605" y="468"/>
                    </a:cubicBezTo>
                    <a:cubicBezTo>
                      <a:pt x="8369" y="385"/>
                      <a:pt x="8098" y="333"/>
                      <a:pt x="7806" y="328"/>
                    </a:cubicBezTo>
                    <a:cubicBezTo>
                      <a:pt x="7785" y="327"/>
                      <a:pt x="7764" y="327"/>
                      <a:pt x="7743" y="327"/>
                    </a:cubicBezTo>
                    <a:cubicBezTo>
                      <a:pt x="7464" y="327"/>
                      <a:pt x="7171" y="378"/>
                      <a:pt x="6878" y="459"/>
                    </a:cubicBezTo>
                    <a:cubicBezTo>
                      <a:pt x="6237" y="630"/>
                      <a:pt x="5594" y="971"/>
                      <a:pt x="4895" y="1245"/>
                    </a:cubicBezTo>
                    <a:cubicBezTo>
                      <a:pt x="4373" y="1456"/>
                      <a:pt x="3834" y="1590"/>
                      <a:pt x="3328" y="1590"/>
                    </a:cubicBezTo>
                    <a:cubicBezTo>
                      <a:pt x="3160" y="1590"/>
                      <a:pt x="2995" y="1575"/>
                      <a:pt x="2836" y="1543"/>
                    </a:cubicBezTo>
                    <a:cubicBezTo>
                      <a:pt x="2517" y="1487"/>
                      <a:pt x="2233" y="1350"/>
                      <a:pt x="2006" y="1176"/>
                    </a:cubicBezTo>
                    <a:cubicBezTo>
                      <a:pt x="1779" y="1001"/>
                      <a:pt x="1595" y="800"/>
                      <a:pt x="1403" y="638"/>
                    </a:cubicBezTo>
                    <a:cubicBezTo>
                      <a:pt x="1202" y="490"/>
                      <a:pt x="1041" y="337"/>
                      <a:pt x="878" y="223"/>
                    </a:cubicBezTo>
                    <a:cubicBezTo>
                      <a:pt x="717" y="105"/>
                      <a:pt x="559" y="31"/>
                      <a:pt x="420" y="9"/>
                    </a:cubicBezTo>
                    <a:cubicBezTo>
                      <a:pt x="380" y="3"/>
                      <a:pt x="343" y="0"/>
                      <a:pt x="30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29" name="Google Shape;403;p26">
              <a:extLst>
                <a:ext uri="{FF2B5EF4-FFF2-40B4-BE49-F238E27FC236}">
                  <a16:creationId xmlns:a16="http://schemas.microsoft.com/office/drawing/2014/main" id="{BB2313EB-FB22-E2A1-106A-5BBA349C743D}"/>
                </a:ext>
              </a:extLst>
            </p:cNvPr>
            <p:cNvGrpSpPr/>
            <p:nvPr/>
          </p:nvGrpSpPr>
          <p:grpSpPr>
            <a:xfrm>
              <a:off x="4613836" y="3195116"/>
              <a:ext cx="1354694" cy="671293"/>
              <a:chOff x="4161633" y="3060816"/>
              <a:chExt cx="1579322" cy="671293"/>
            </a:xfrm>
          </p:grpSpPr>
          <p:sp>
            <p:nvSpPr>
              <p:cNvPr id="36" name="Google Shape;404;p26">
                <a:extLst>
                  <a:ext uri="{FF2B5EF4-FFF2-40B4-BE49-F238E27FC236}">
                    <a16:creationId xmlns:a16="http://schemas.microsoft.com/office/drawing/2014/main" id="{0B4A4B66-F95D-FA7D-10F1-9D9C656D2B2E}"/>
                  </a:ext>
                </a:extLst>
              </p:cNvPr>
              <p:cNvSpPr/>
              <p:nvPr/>
            </p:nvSpPr>
            <p:spPr>
              <a:xfrm>
                <a:off x="4161633" y="3060816"/>
                <a:ext cx="1579322" cy="671293"/>
              </a:xfrm>
              <a:custGeom>
                <a:avLst/>
                <a:gdLst/>
                <a:ahLst/>
                <a:cxnLst/>
                <a:rect l="l" t="t" r="r" b="b"/>
                <a:pathLst>
                  <a:path w="35998" h="15301" extrusionOk="0">
                    <a:moveTo>
                      <a:pt x="888" y="1"/>
                    </a:moveTo>
                    <a:cubicBezTo>
                      <a:pt x="398" y="1"/>
                      <a:pt x="1" y="398"/>
                      <a:pt x="1" y="887"/>
                    </a:cubicBezTo>
                    <a:lnTo>
                      <a:pt x="1" y="14413"/>
                    </a:lnTo>
                    <a:cubicBezTo>
                      <a:pt x="1" y="14903"/>
                      <a:pt x="398" y="15300"/>
                      <a:pt x="888" y="15300"/>
                    </a:cubicBezTo>
                    <a:lnTo>
                      <a:pt x="35110" y="15300"/>
                    </a:lnTo>
                    <a:cubicBezTo>
                      <a:pt x="35600" y="15300"/>
                      <a:pt x="35998" y="14903"/>
                      <a:pt x="35998" y="14413"/>
                    </a:cubicBezTo>
                    <a:lnTo>
                      <a:pt x="35998" y="887"/>
                    </a:lnTo>
                    <a:cubicBezTo>
                      <a:pt x="35998" y="398"/>
                      <a:pt x="35600" y="1"/>
                      <a:pt x="35110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405;p26">
                <a:extLst>
                  <a:ext uri="{FF2B5EF4-FFF2-40B4-BE49-F238E27FC236}">
                    <a16:creationId xmlns:a16="http://schemas.microsoft.com/office/drawing/2014/main" id="{7063B9C1-4D72-BF58-4A4F-C83E40059F44}"/>
                  </a:ext>
                </a:extLst>
              </p:cNvPr>
              <p:cNvSpPr/>
              <p:nvPr/>
            </p:nvSpPr>
            <p:spPr>
              <a:xfrm>
                <a:off x="4276884" y="3249069"/>
                <a:ext cx="173735" cy="205016"/>
              </a:xfrm>
              <a:custGeom>
                <a:avLst/>
                <a:gdLst/>
                <a:ahLst/>
                <a:cxnLst/>
                <a:rect l="l" t="t" r="r" b="b"/>
                <a:pathLst>
                  <a:path w="3960" h="4673" extrusionOk="0">
                    <a:moveTo>
                      <a:pt x="3938" y="1"/>
                    </a:moveTo>
                    <a:cubicBezTo>
                      <a:pt x="3025" y="5"/>
                      <a:pt x="2093" y="368"/>
                      <a:pt x="1381" y="997"/>
                    </a:cubicBezTo>
                    <a:cubicBezTo>
                      <a:pt x="538" y="1741"/>
                      <a:pt x="0" y="2859"/>
                      <a:pt x="145" y="4214"/>
                    </a:cubicBezTo>
                    <a:cubicBezTo>
                      <a:pt x="163" y="4357"/>
                      <a:pt x="184" y="4511"/>
                      <a:pt x="219" y="4664"/>
                    </a:cubicBezTo>
                    <a:lnTo>
                      <a:pt x="219" y="4672"/>
                    </a:lnTo>
                    <a:lnTo>
                      <a:pt x="3959" y="3833"/>
                    </a:lnTo>
                    <a:lnTo>
                      <a:pt x="3959" y="3104"/>
                    </a:lnTo>
                    <a:lnTo>
                      <a:pt x="3938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406;p26">
                <a:extLst>
                  <a:ext uri="{FF2B5EF4-FFF2-40B4-BE49-F238E27FC236}">
                    <a16:creationId xmlns:a16="http://schemas.microsoft.com/office/drawing/2014/main" id="{36904F8B-C3C7-CC74-4EA9-9C7AB49F662B}"/>
                  </a:ext>
                </a:extLst>
              </p:cNvPr>
              <p:cNvSpPr/>
              <p:nvPr/>
            </p:nvSpPr>
            <p:spPr>
              <a:xfrm>
                <a:off x="4295266" y="3434077"/>
                <a:ext cx="328517" cy="168383"/>
              </a:xfrm>
              <a:custGeom>
                <a:avLst/>
                <a:gdLst/>
                <a:ahLst/>
                <a:cxnLst/>
                <a:rect l="l" t="t" r="r" b="b"/>
                <a:pathLst>
                  <a:path w="7488" h="3838" extrusionOk="0">
                    <a:moveTo>
                      <a:pt x="3742" y="1"/>
                    </a:moveTo>
                    <a:lnTo>
                      <a:pt x="1" y="844"/>
                    </a:lnTo>
                    <a:cubicBezTo>
                      <a:pt x="385" y="2558"/>
                      <a:pt x="1915" y="3838"/>
                      <a:pt x="3742" y="3838"/>
                    </a:cubicBezTo>
                    <a:cubicBezTo>
                      <a:pt x="5577" y="3838"/>
                      <a:pt x="7112" y="2544"/>
                      <a:pt x="7487" y="818"/>
                    </a:cubicBezTo>
                    <a:lnTo>
                      <a:pt x="374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407;p26">
                <a:extLst>
                  <a:ext uri="{FF2B5EF4-FFF2-40B4-BE49-F238E27FC236}">
                    <a16:creationId xmlns:a16="http://schemas.microsoft.com/office/drawing/2014/main" id="{B989C532-9186-93B4-F1BE-3DC98251482F}"/>
                  </a:ext>
                </a:extLst>
              </p:cNvPr>
              <p:cNvSpPr/>
              <p:nvPr/>
            </p:nvSpPr>
            <p:spPr>
              <a:xfrm>
                <a:off x="4746970" y="3289739"/>
                <a:ext cx="833709" cy="37774"/>
              </a:xfrm>
              <a:custGeom>
                <a:avLst/>
                <a:gdLst/>
                <a:ahLst/>
                <a:cxnLst/>
                <a:rect l="l" t="t" r="r" b="b"/>
                <a:pathLst>
                  <a:path w="19003" h="861" extrusionOk="0">
                    <a:moveTo>
                      <a:pt x="1" y="1"/>
                    </a:moveTo>
                    <a:lnTo>
                      <a:pt x="1" y="861"/>
                    </a:lnTo>
                    <a:lnTo>
                      <a:pt x="19003" y="861"/>
                    </a:lnTo>
                    <a:lnTo>
                      <a:pt x="19003" y="1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408;p26">
                <a:extLst>
                  <a:ext uri="{FF2B5EF4-FFF2-40B4-BE49-F238E27FC236}">
                    <a16:creationId xmlns:a16="http://schemas.microsoft.com/office/drawing/2014/main" id="{3042512B-FA55-2F7F-D803-836F8E536503}"/>
                  </a:ext>
                </a:extLst>
              </p:cNvPr>
              <p:cNvSpPr/>
              <p:nvPr/>
            </p:nvSpPr>
            <p:spPr>
              <a:xfrm>
                <a:off x="4746970" y="3389240"/>
                <a:ext cx="833709" cy="37818"/>
              </a:xfrm>
              <a:custGeom>
                <a:avLst/>
                <a:gdLst/>
                <a:ahLst/>
                <a:cxnLst/>
                <a:rect l="l" t="t" r="r" b="b"/>
                <a:pathLst>
                  <a:path w="19003" h="862" extrusionOk="0">
                    <a:moveTo>
                      <a:pt x="1" y="0"/>
                    </a:moveTo>
                    <a:lnTo>
                      <a:pt x="1" y="861"/>
                    </a:lnTo>
                    <a:lnTo>
                      <a:pt x="19003" y="861"/>
                    </a:lnTo>
                    <a:lnTo>
                      <a:pt x="19003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409;p26">
                <a:extLst>
                  <a:ext uri="{FF2B5EF4-FFF2-40B4-BE49-F238E27FC236}">
                    <a16:creationId xmlns:a16="http://schemas.microsoft.com/office/drawing/2014/main" id="{88E97CE2-2223-3682-899A-27D89382C069}"/>
                  </a:ext>
                </a:extLst>
              </p:cNvPr>
              <p:cNvSpPr/>
              <p:nvPr/>
            </p:nvSpPr>
            <p:spPr>
              <a:xfrm>
                <a:off x="4746970" y="3499489"/>
                <a:ext cx="450658" cy="37818"/>
              </a:xfrm>
              <a:custGeom>
                <a:avLst/>
                <a:gdLst/>
                <a:ahLst/>
                <a:cxnLst/>
                <a:rect l="l" t="t" r="r" b="b"/>
                <a:pathLst>
                  <a:path w="10272" h="862" extrusionOk="0">
                    <a:moveTo>
                      <a:pt x="1" y="0"/>
                    </a:moveTo>
                    <a:lnTo>
                      <a:pt x="1" y="861"/>
                    </a:lnTo>
                    <a:lnTo>
                      <a:pt x="10271" y="861"/>
                    </a:lnTo>
                    <a:lnTo>
                      <a:pt x="10271" y="0"/>
                    </a:ln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410;p26">
                <a:extLst>
                  <a:ext uri="{FF2B5EF4-FFF2-40B4-BE49-F238E27FC236}">
                    <a16:creationId xmlns:a16="http://schemas.microsoft.com/office/drawing/2014/main" id="{FD0F2006-2930-E1FF-480C-3EF194610E1E}"/>
                  </a:ext>
                </a:extLst>
              </p:cNvPr>
              <p:cNvSpPr/>
              <p:nvPr/>
            </p:nvSpPr>
            <p:spPr>
              <a:xfrm flipH="1">
                <a:off x="4468091" y="3249069"/>
                <a:ext cx="173735" cy="205016"/>
              </a:xfrm>
              <a:custGeom>
                <a:avLst/>
                <a:gdLst/>
                <a:ahLst/>
                <a:cxnLst/>
                <a:rect l="l" t="t" r="r" b="b"/>
                <a:pathLst>
                  <a:path w="3960" h="4673" extrusionOk="0">
                    <a:moveTo>
                      <a:pt x="3938" y="1"/>
                    </a:moveTo>
                    <a:cubicBezTo>
                      <a:pt x="3025" y="5"/>
                      <a:pt x="2093" y="368"/>
                      <a:pt x="1381" y="997"/>
                    </a:cubicBezTo>
                    <a:cubicBezTo>
                      <a:pt x="538" y="1741"/>
                      <a:pt x="0" y="2859"/>
                      <a:pt x="145" y="4214"/>
                    </a:cubicBezTo>
                    <a:cubicBezTo>
                      <a:pt x="163" y="4357"/>
                      <a:pt x="184" y="4511"/>
                      <a:pt x="219" y="4664"/>
                    </a:cubicBezTo>
                    <a:lnTo>
                      <a:pt x="219" y="4672"/>
                    </a:lnTo>
                    <a:lnTo>
                      <a:pt x="3959" y="3833"/>
                    </a:lnTo>
                    <a:lnTo>
                      <a:pt x="3959" y="3104"/>
                    </a:lnTo>
                    <a:lnTo>
                      <a:pt x="3938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30" name="Google Shape;411;p26">
              <a:extLst>
                <a:ext uri="{FF2B5EF4-FFF2-40B4-BE49-F238E27FC236}">
                  <a16:creationId xmlns:a16="http://schemas.microsoft.com/office/drawing/2014/main" id="{231DB87A-EA16-0831-51C4-21152231D5AA}"/>
                </a:ext>
              </a:extLst>
            </p:cNvPr>
            <p:cNvSpPr/>
            <p:nvPr/>
          </p:nvSpPr>
          <p:spPr>
            <a:xfrm rot="-5400000">
              <a:off x="7251250" y="2108625"/>
              <a:ext cx="69000" cy="15900"/>
            </a:xfrm>
            <a:prstGeom prst="rtTriangle">
              <a:avLst/>
            </a:prstGeom>
            <a:solidFill>
              <a:srgbClr val="DD7E6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412;p26">
              <a:extLst>
                <a:ext uri="{FF2B5EF4-FFF2-40B4-BE49-F238E27FC236}">
                  <a16:creationId xmlns:a16="http://schemas.microsoft.com/office/drawing/2014/main" id="{777F2A40-5B57-2C39-8524-B54ECD91BC82}"/>
                </a:ext>
              </a:extLst>
            </p:cNvPr>
            <p:cNvSpPr/>
            <p:nvPr/>
          </p:nvSpPr>
          <p:spPr>
            <a:xfrm>
              <a:off x="5794118" y="2303902"/>
              <a:ext cx="21498" cy="21322"/>
            </a:xfrm>
            <a:custGeom>
              <a:avLst/>
              <a:gdLst/>
              <a:ahLst/>
              <a:cxnLst/>
              <a:rect l="l" t="t" r="r" b="b"/>
              <a:pathLst>
                <a:path w="490" h="486" extrusionOk="0">
                  <a:moveTo>
                    <a:pt x="245" y="1"/>
                  </a:moveTo>
                  <a:cubicBezTo>
                    <a:pt x="110" y="1"/>
                    <a:pt x="1" y="110"/>
                    <a:pt x="1" y="241"/>
                  </a:cubicBezTo>
                  <a:cubicBezTo>
                    <a:pt x="1" y="376"/>
                    <a:pt x="110" y="485"/>
                    <a:pt x="245" y="485"/>
                  </a:cubicBezTo>
                  <a:cubicBezTo>
                    <a:pt x="380" y="485"/>
                    <a:pt x="489" y="376"/>
                    <a:pt x="489" y="241"/>
                  </a:cubicBezTo>
                  <a:cubicBezTo>
                    <a:pt x="489" y="110"/>
                    <a:pt x="380" y="1"/>
                    <a:pt x="24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413;p26">
              <a:extLst>
                <a:ext uri="{FF2B5EF4-FFF2-40B4-BE49-F238E27FC236}">
                  <a16:creationId xmlns:a16="http://schemas.microsoft.com/office/drawing/2014/main" id="{5563DC41-669A-FB84-97C2-30505D921BB8}"/>
                </a:ext>
              </a:extLst>
            </p:cNvPr>
            <p:cNvSpPr/>
            <p:nvPr/>
          </p:nvSpPr>
          <p:spPr>
            <a:xfrm>
              <a:off x="7622393" y="1996627"/>
              <a:ext cx="21498" cy="21322"/>
            </a:xfrm>
            <a:custGeom>
              <a:avLst/>
              <a:gdLst/>
              <a:ahLst/>
              <a:cxnLst/>
              <a:rect l="l" t="t" r="r" b="b"/>
              <a:pathLst>
                <a:path w="490" h="486" extrusionOk="0">
                  <a:moveTo>
                    <a:pt x="245" y="1"/>
                  </a:moveTo>
                  <a:cubicBezTo>
                    <a:pt x="110" y="1"/>
                    <a:pt x="1" y="110"/>
                    <a:pt x="1" y="241"/>
                  </a:cubicBezTo>
                  <a:cubicBezTo>
                    <a:pt x="1" y="376"/>
                    <a:pt x="110" y="485"/>
                    <a:pt x="245" y="485"/>
                  </a:cubicBezTo>
                  <a:cubicBezTo>
                    <a:pt x="380" y="485"/>
                    <a:pt x="489" y="376"/>
                    <a:pt x="489" y="241"/>
                  </a:cubicBezTo>
                  <a:cubicBezTo>
                    <a:pt x="489" y="110"/>
                    <a:pt x="380" y="1"/>
                    <a:pt x="24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414;p26">
              <a:extLst>
                <a:ext uri="{FF2B5EF4-FFF2-40B4-BE49-F238E27FC236}">
                  <a16:creationId xmlns:a16="http://schemas.microsoft.com/office/drawing/2014/main" id="{0D6DD116-234E-5064-6146-0E87CFFA9051}"/>
                </a:ext>
              </a:extLst>
            </p:cNvPr>
            <p:cNvSpPr/>
            <p:nvPr/>
          </p:nvSpPr>
          <p:spPr>
            <a:xfrm>
              <a:off x="4322798" y="3275550"/>
              <a:ext cx="1579326" cy="644066"/>
            </a:xfrm>
            <a:custGeom>
              <a:avLst/>
              <a:gdLst/>
              <a:ahLst/>
              <a:cxnLst/>
              <a:rect l="l" t="t" r="r" b="b"/>
              <a:pathLst>
                <a:path w="28297" h="7936" extrusionOk="0">
                  <a:moveTo>
                    <a:pt x="722" y="0"/>
                  </a:moveTo>
                  <a:cubicBezTo>
                    <a:pt x="324" y="0"/>
                    <a:pt x="0" y="323"/>
                    <a:pt x="0" y="725"/>
                  </a:cubicBezTo>
                  <a:lnTo>
                    <a:pt x="0" y="7211"/>
                  </a:lnTo>
                  <a:cubicBezTo>
                    <a:pt x="0" y="7613"/>
                    <a:pt x="324" y="7936"/>
                    <a:pt x="722" y="7936"/>
                  </a:cubicBezTo>
                  <a:lnTo>
                    <a:pt x="27576" y="7936"/>
                  </a:lnTo>
                  <a:cubicBezTo>
                    <a:pt x="27973" y="7936"/>
                    <a:pt x="28296" y="7613"/>
                    <a:pt x="28296" y="7211"/>
                  </a:cubicBezTo>
                  <a:lnTo>
                    <a:pt x="28296" y="725"/>
                  </a:lnTo>
                  <a:cubicBezTo>
                    <a:pt x="28296" y="323"/>
                    <a:pt x="27973" y="0"/>
                    <a:pt x="27576" y="0"/>
                  </a:cubicBezTo>
                  <a:close/>
                </a:path>
              </a:pathLst>
            </a:custGeom>
            <a:noFill/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415;p26">
              <a:extLst>
                <a:ext uri="{FF2B5EF4-FFF2-40B4-BE49-F238E27FC236}">
                  <a16:creationId xmlns:a16="http://schemas.microsoft.com/office/drawing/2014/main" id="{262A3D4A-ECB5-2231-73FD-E4043ED72216}"/>
                </a:ext>
              </a:extLst>
            </p:cNvPr>
            <p:cNvSpPr/>
            <p:nvPr/>
          </p:nvSpPr>
          <p:spPr>
            <a:xfrm>
              <a:off x="3703893" y="2892765"/>
              <a:ext cx="1241460" cy="348172"/>
            </a:xfrm>
            <a:custGeom>
              <a:avLst/>
              <a:gdLst/>
              <a:ahLst/>
              <a:cxnLst/>
              <a:rect l="l" t="t" r="r" b="b"/>
              <a:pathLst>
                <a:path w="28297" h="7936" extrusionOk="0">
                  <a:moveTo>
                    <a:pt x="722" y="0"/>
                  </a:moveTo>
                  <a:cubicBezTo>
                    <a:pt x="324" y="0"/>
                    <a:pt x="0" y="323"/>
                    <a:pt x="0" y="725"/>
                  </a:cubicBezTo>
                  <a:lnTo>
                    <a:pt x="0" y="7211"/>
                  </a:lnTo>
                  <a:cubicBezTo>
                    <a:pt x="0" y="7613"/>
                    <a:pt x="324" y="7936"/>
                    <a:pt x="722" y="7936"/>
                  </a:cubicBezTo>
                  <a:lnTo>
                    <a:pt x="27576" y="7936"/>
                  </a:lnTo>
                  <a:cubicBezTo>
                    <a:pt x="27973" y="7936"/>
                    <a:pt x="28296" y="7613"/>
                    <a:pt x="28296" y="7211"/>
                  </a:cubicBezTo>
                  <a:lnTo>
                    <a:pt x="28296" y="725"/>
                  </a:lnTo>
                  <a:cubicBezTo>
                    <a:pt x="28296" y="323"/>
                    <a:pt x="27973" y="0"/>
                    <a:pt x="27576" y="0"/>
                  </a:cubicBezTo>
                  <a:close/>
                </a:path>
              </a:pathLst>
            </a:custGeom>
            <a:noFill/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416;p26">
              <a:extLst>
                <a:ext uri="{FF2B5EF4-FFF2-40B4-BE49-F238E27FC236}">
                  <a16:creationId xmlns:a16="http://schemas.microsoft.com/office/drawing/2014/main" id="{6CDC1128-590A-E395-C924-93EA7FD07B42}"/>
                </a:ext>
              </a:extLst>
            </p:cNvPr>
            <p:cNvSpPr/>
            <p:nvPr/>
          </p:nvSpPr>
          <p:spPr>
            <a:xfrm>
              <a:off x="5951893" y="1353648"/>
              <a:ext cx="1241460" cy="348172"/>
            </a:xfrm>
            <a:custGeom>
              <a:avLst/>
              <a:gdLst/>
              <a:ahLst/>
              <a:cxnLst/>
              <a:rect l="l" t="t" r="r" b="b"/>
              <a:pathLst>
                <a:path w="28297" h="7936" extrusionOk="0">
                  <a:moveTo>
                    <a:pt x="722" y="0"/>
                  </a:moveTo>
                  <a:cubicBezTo>
                    <a:pt x="324" y="0"/>
                    <a:pt x="0" y="323"/>
                    <a:pt x="0" y="725"/>
                  </a:cubicBezTo>
                  <a:lnTo>
                    <a:pt x="0" y="7211"/>
                  </a:lnTo>
                  <a:cubicBezTo>
                    <a:pt x="0" y="7613"/>
                    <a:pt x="324" y="7936"/>
                    <a:pt x="722" y="7936"/>
                  </a:cubicBezTo>
                  <a:lnTo>
                    <a:pt x="27576" y="7936"/>
                  </a:lnTo>
                  <a:cubicBezTo>
                    <a:pt x="27973" y="7936"/>
                    <a:pt x="28296" y="7613"/>
                    <a:pt x="28296" y="7211"/>
                  </a:cubicBezTo>
                  <a:lnTo>
                    <a:pt x="28296" y="725"/>
                  </a:lnTo>
                  <a:cubicBezTo>
                    <a:pt x="28296" y="323"/>
                    <a:pt x="27973" y="0"/>
                    <a:pt x="27576" y="0"/>
                  </a:cubicBezTo>
                  <a:close/>
                </a:path>
              </a:pathLst>
            </a:custGeom>
            <a:noFill/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7123073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15059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441;p28">
            <a:extLst>
              <a:ext uri="{FF2B5EF4-FFF2-40B4-BE49-F238E27FC236}">
                <a16:creationId xmlns:a16="http://schemas.microsoft.com/office/drawing/2014/main" id="{CE189FD6-74B8-340F-19BE-F8262A18405F}"/>
              </a:ext>
            </a:extLst>
          </p:cNvPr>
          <p:cNvSpPr/>
          <p:nvPr/>
        </p:nvSpPr>
        <p:spPr>
          <a:xfrm>
            <a:off x="4420763" y="1030049"/>
            <a:ext cx="3946548" cy="3717111"/>
          </a:xfrm>
          <a:prstGeom prst="roundRect">
            <a:avLst>
              <a:gd name="adj" fmla="val 4313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B08374B-4352-8BAF-DA14-8167B7FC8C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flipH="1">
            <a:off x="0" y="1030049"/>
            <a:ext cx="8298450" cy="3905845"/>
          </a:xfrm>
        </p:spPr>
        <p:txBody>
          <a:bodyPr anchor="t"/>
          <a:lstStyle/>
          <a:p>
            <a:pPr marL="57150" indent="0" algn="l">
              <a:buNone/>
            </a:pPr>
            <a:endParaRPr lang="en-US" sz="1500" b="0" i="0" u="none" strike="noStrike" baseline="0" dirty="0">
              <a:highlight>
                <a:srgbClr val="FFFF0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52400" indent="0">
              <a:buNone/>
            </a:pPr>
            <a:endParaRPr lang="en-US" sz="1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396340"/>
            <a:ext cx="4688410" cy="481200"/>
          </a:xfrm>
        </p:spPr>
        <p:txBody>
          <a:bodyPr vert="horz"/>
          <a:lstStyle/>
          <a:p>
            <a:pPr algn="l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DATA DESCRIP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C1D7F6-2615-751F-4121-1E85BDB3A3A2}"/>
              </a:ext>
            </a:extLst>
          </p:cNvPr>
          <p:cNvSpPr txBox="1"/>
          <p:nvPr/>
        </p:nvSpPr>
        <p:spPr>
          <a:xfrm>
            <a:off x="68862" y="820950"/>
            <a:ext cx="3946548" cy="4278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Dataset Source </a:t>
            </a:r>
            <a:r>
              <a:rPr lang="en-US" sz="1600" dirty="0">
                <a:latin typeface="+mn-lt"/>
                <a:hlinkClick r:id="rId5"/>
              </a:rPr>
              <a:t>https://www.kaggle.com/datasets/rikdifos/credit-card-approval-prediction?resource=download</a:t>
            </a:r>
            <a:endParaRPr lang="en-US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1,048,575  ro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19  Features</a:t>
            </a:r>
          </a:p>
          <a:p>
            <a:endParaRPr lang="en-US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Dataset is obtained by merging two datasets i.e. </a:t>
            </a:r>
            <a:r>
              <a:rPr lang="en-US" sz="1600" dirty="0" err="1">
                <a:latin typeface="+mn-lt"/>
              </a:rPr>
              <a:t>application_record</a:t>
            </a:r>
            <a:r>
              <a:rPr lang="en-US" sz="1600" dirty="0">
                <a:latin typeface="+mn-lt"/>
              </a:rPr>
              <a:t> and </a:t>
            </a:r>
            <a:r>
              <a:rPr lang="en-US" sz="1600" dirty="0" err="1">
                <a:latin typeface="+mn-lt"/>
              </a:rPr>
              <a:t>credit_record</a:t>
            </a:r>
            <a:endParaRPr lang="en-US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Contains information about gender, demographic factors, credit record, delinquency data, </a:t>
            </a:r>
            <a:r>
              <a:rPr lang="en-US" sz="1600" dirty="0" err="1">
                <a:latin typeface="+mn-lt"/>
              </a:rPr>
              <a:t>etc</a:t>
            </a:r>
            <a:endParaRPr lang="en-US" sz="1600" dirty="0">
              <a:latin typeface="+mn-lt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348E9CAE-7D4F-E5EB-97F5-9EE5385EDC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390322"/>
              </p:ext>
            </p:extLst>
          </p:nvPr>
        </p:nvGraphicFramePr>
        <p:xfrm>
          <a:off x="4572000" y="1048848"/>
          <a:ext cx="3657599" cy="3698316"/>
        </p:xfrm>
        <a:graphic>
          <a:graphicData uri="http://schemas.openxmlformats.org/drawingml/2006/table">
            <a:tbl>
              <a:tblPr>
                <a:tableStyleId>{EABC6E64-5619-4B6F-A03A-FF5DB9559D19}</a:tableStyleId>
              </a:tblPr>
              <a:tblGrid>
                <a:gridCol w="1032284">
                  <a:extLst>
                    <a:ext uri="{9D8B030D-6E8A-4147-A177-3AD203B41FA5}">
                      <a16:colId xmlns:a16="http://schemas.microsoft.com/office/drawing/2014/main" val="1496464350"/>
                    </a:ext>
                  </a:extLst>
                </a:gridCol>
                <a:gridCol w="974935">
                  <a:extLst>
                    <a:ext uri="{9D8B030D-6E8A-4147-A177-3AD203B41FA5}">
                      <a16:colId xmlns:a16="http://schemas.microsoft.com/office/drawing/2014/main" val="3606271196"/>
                    </a:ext>
                  </a:extLst>
                </a:gridCol>
                <a:gridCol w="1650380">
                  <a:extLst>
                    <a:ext uri="{9D8B030D-6E8A-4147-A177-3AD203B41FA5}">
                      <a16:colId xmlns:a16="http://schemas.microsoft.com/office/drawing/2014/main" val="1497886326"/>
                    </a:ext>
                  </a:extLst>
                </a:gridCol>
              </a:tblGrid>
              <a:tr h="9573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effectLst/>
                        </a:rPr>
                        <a:t>Feature name</a:t>
                      </a:r>
                      <a:endParaRPr lang="en-US" sz="600" b="1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effectLst/>
                        </a:rPr>
                        <a:t>Explanation</a:t>
                      </a:r>
                      <a:endParaRPr lang="en-US" sz="600" b="1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effectLst/>
                        </a:rPr>
                        <a:t>Remarks</a:t>
                      </a:r>
                      <a:endParaRPr lang="en-US" sz="600" b="1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2779131"/>
                  </a:ext>
                </a:extLst>
              </a:tr>
              <a:tr h="957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 dirty="0">
                          <a:effectLst/>
                        </a:rPr>
                        <a:t>ID</a:t>
                      </a:r>
                      <a:endParaRPr lang="en-US" sz="600" b="1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Client number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1832780"/>
                  </a:ext>
                </a:extLst>
              </a:tr>
              <a:tr h="100772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 dirty="0">
                          <a:effectLst/>
                        </a:rPr>
                        <a:t>CODE_GENDER</a:t>
                      </a:r>
                      <a:endParaRPr lang="en-US" sz="600" b="1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Gender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M/F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2054617"/>
                  </a:ext>
                </a:extLst>
              </a:tr>
              <a:tr h="100772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 dirty="0">
                          <a:effectLst/>
                        </a:rPr>
                        <a:t>FLAG_OWN_CAR</a:t>
                      </a:r>
                      <a:endParaRPr lang="en-US" sz="600" b="1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Is there a car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Y/N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4790144"/>
                  </a:ext>
                </a:extLst>
              </a:tr>
              <a:tr h="100772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 dirty="0">
                          <a:effectLst/>
                        </a:rPr>
                        <a:t>FLAG_OWN_REALTY</a:t>
                      </a:r>
                      <a:endParaRPr lang="en-US" sz="600" b="1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Is there a property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Y/N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3736504"/>
                  </a:ext>
                </a:extLst>
              </a:tr>
              <a:tr h="957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>
                          <a:effectLst/>
                        </a:rPr>
                        <a:t>CNT_CHILDREN</a:t>
                      </a:r>
                      <a:endParaRPr lang="en-US" sz="600" b="1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Number of children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1925084"/>
                  </a:ext>
                </a:extLst>
              </a:tr>
              <a:tr h="957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 dirty="0">
                          <a:effectLst/>
                        </a:rPr>
                        <a:t>AMT_INCOME_TOTAL</a:t>
                      </a:r>
                      <a:endParaRPr lang="en-US" sz="600" b="1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Annual income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 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5285230"/>
                  </a:ext>
                </a:extLst>
              </a:tr>
              <a:tr h="201542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 dirty="0">
                          <a:effectLst/>
                        </a:rPr>
                        <a:t>NAME_INCOME_TYPE</a:t>
                      </a:r>
                      <a:endParaRPr lang="en-US" sz="600" b="1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Income category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Commercial associate, Pensioner, State servant,  Student, Working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476905"/>
                  </a:ext>
                </a:extLst>
              </a:tr>
              <a:tr h="3023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 dirty="0">
                          <a:effectLst/>
                        </a:rPr>
                        <a:t>NAME_EDUCATION_TYPE</a:t>
                      </a:r>
                      <a:endParaRPr lang="en-US" sz="600" b="1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Education level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Academic degree, Higher education, Incomplete higher, Lower secondary, Secondary / secondary special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548864"/>
                  </a:ext>
                </a:extLst>
              </a:tr>
              <a:tr h="201542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>
                          <a:effectLst/>
                        </a:rPr>
                        <a:t>NAME_FAMILY_STATUS</a:t>
                      </a:r>
                      <a:endParaRPr lang="en-US" sz="600" b="1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Marital status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Civil marriage, Married, Separated, Widow Single / Not married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1079108"/>
                  </a:ext>
                </a:extLst>
              </a:tr>
              <a:tr h="3023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 dirty="0">
                          <a:effectLst/>
                        </a:rPr>
                        <a:t>NAME_HOUSING_TYPE</a:t>
                      </a:r>
                      <a:endParaRPr lang="en-US" sz="600" b="1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Way of living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Co-op apartment, House/Apartment, Municipal apartment, Office apartment Rented apartment, With parents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4096730"/>
                  </a:ext>
                </a:extLst>
              </a:tr>
              <a:tr h="201542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>
                          <a:effectLst/>
                        </a:rPr>
                        <a:t>DAYS_BIRTH</a:t>
                      </a:r>
                      <a:endParaRPr lang="en-US" sz="600" b="1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Birthday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Count backwards from current day (0), -1 means yesterday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1536142"/>
                  </a:ext>
                </a:extLst>
              </a:tr>
              <a:tr h="3023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>
                          <a:effectLst/>
                        </a:rPr>
                        <a:t>DAYS_EMPLOYED</a:t>
                      </a:r>
                      <a:endParaRPr lang="en-US" sz="600" b="1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Start date of employment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Count backwards from current day(0). If positive, it means the person currently unemployed.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6322214"/>
                  </a:ext>
                </a:extLst>
              </a:tr>
              <a:tr h="100772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>
                          <a:effectLst/>
                        </a:rPr>
                        <a:t>FLAG_MOBIL</a:t>
                      </a:r>
                      <a:endParaRPr lang="en-US" sz="600" b="1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Is there a mobile phone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Yes/No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782584"/>
                  </a:ext>
                </a:extLst>
              </a:tr>
              <a:tr h="100772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>
                          <a:effectLst/>
                        </a:rPr>
                        <a:t>FLAG_WORK_PHONE</a:t>
                      </a:r>
                      <a:endParaRPr lang="en-US" sz="600" b="1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Is there a work phone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Yes/No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7066481"/>
                  </a:ext>
                </a:extLst>
              </a:tr>
              <a:tr h="100772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>
                          <a:effectLst/>
                        </a:rPr>
                        <a:t>FLAG_PHONE</a:t>
                      </a:r>
                      <a:endParaRPr lang="en-US" sz="600" b="1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Is there a phone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Yes/No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6380720"/>
                  </a:ext>
                </a:extLst>
              </a:tr>
              <a:tr h="100772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>
                          <a:effectLst/>
                        </a:rPr>
                        <a:t>FLAG_EMAIL</a:t>
                      </a:r>
                      <a:endParaRPr lang="en-US" sz="600" b="1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Is there an email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Yes/No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426284"/>
                  </a:ext>
                </a:extLst>
              </a:tr>
              <a:tr h="957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>
                          <a:effectLst/>
                        </a:rPr>
                        <a:t>OCCUPATION_TYPE</a:t>
                      </a:r>
                      <a:endParaRPr lang="en-US" sz="600" b="1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Occupation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1287374"/>
                  </a:ext>
                </a:extLst>
              </a:tr>
              <a:tr h="957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>
                          <a:effectLst/>
                        </a:rPr>
                        <a:t>CNT_FAM_MEMBERS</a:t>
                      </a:r>
                      <a:endParaRPr lang="en-US" sz="600" b="1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Family size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 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6991634"/>
                  </a:ext>
                </a:extLst>
              </a:tr>
              <a:tr h="3023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>
                          <a:effectLst/>
                        </a:rPr>
                        <a:t>MONTHS_BALANCE</a:t>
                      </a:r>
                      <a:endParaRPr lang="en-US" sz="600" b="1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Record month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The month of the extracted data is the starting point, backwards, 0 is the current month, -1 is the previous month, and so on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3565364"/>
                  </a:ext>
                </a:extLst>
              </a:tr>
              <a:tr h="604628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1" u="none" strike="noStrike" dirty="0">
                          <a:effectLst/>
                        </a:rPr>
                        <a:t>STATUS</a:t>
                      </a:r>
                      <a:endParaRPr lang="en-US" sz="600" b="1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>
                          <a:effectLst/>
                        </a:rPr>
                        <a:t>Status</a:t>
                      </a:r>
                      <a:endParaRPr lang="en-US" sz="600" b="0" i="0" u="none" strike="noStrike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u="none" strike="noStrike" dirty="0">
                          <a:effectLst/>
                        </a:rPr>
                        <a:t>0: 1-29 days past due 1: 30-59 days past due 2: 60-89 days overdue 3: 90-119 days overdue 4: 120-149 days overdue 5: Overdue or bad debts, write-offs for more than 150 days C: paid off that month X: No loan for the month</a:t>
                      </a:r>
                      <a:endParaRPr lang="en-US" sz="600" b="0" i="0" u="none" strike="noStrike" dirty="0">
                        <a:solidFill>
                          <a:srgbClr val="20212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91" marR="3491" marT="3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0467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47719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BC2BB19-1420-0832-5E93-A0ED454972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05425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BC2BB19-1420-0832-5E93-A0ED45497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8" name="Google Shape;698;p31"/>
          <p:cNvSpPr txBox="1">
            <a:spLocks noGrp="1"/>
          </p:cNvSpPr>
          <p:nvPr>
            <p:ph type="ctrTitle"/>
          </p:nvPr>
        </p:nvSpPr>
        <p:spPr>
          <a:xfrm>
            <a:off x="1456650" y="1715300"/>
            <a:ext cx="1745100" cy="1104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>
              <a:buClr>
                <a:srgbClr val="000000"/>
              </a:buClr>
            </a:pPr>
            <a:r>
              <a:rPr lang="en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02. </a:t>
            </a:r>
            <a:br>
              <a:rPr lang="en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lang="en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ETHODOLOGY</a:t>
            </a:r>
            <a:endParaRPr sz="18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D754616-EE46-61ED-12FE-E5795E6414AB}"/>
              </a:ext>
            </a:extLst>
          </p:cNvPr>
          <p:cNvGrpSpPr/>
          <p:nvPr/>
        </p:nvGrpSpPr>
        <p:grpSpPr>
          <a:xfrm>
            <a:off x="4572000" y="943911"/>
            <a:ext cx="3970684" cy="2980014"/>
            <a:chOff x="4394088" y="1329593"/>
            <a:chExt cx="4740975" cy="3379253"/>
          </a:xfrm>
        </p:grpSpPr>
        <p:grpSp>
          <p:nvGrpSpPr>
            <p:cNvPr id="682" name="Google Shape;682;p31"/>
            <p:cNvGrpSpPr/>
            <p:nvPr/>
          </p:nvGrpSpPr>
          <p:grpSpPr>
            <a:xfrm>
              <a:off x="4534350" y="4313399"/>
              <a:ext cx="4600713" cy="150450"/>
              <a:chOff x="0" y="4397412"/>
              <a:chExt cx="4600713" cy="150450"/>
            </a:xfrm>
          </p:grpSpPr>
          <p:sp>
            <p:nvSpPr>
              <p:cNvPr id="683" name="Google Shape;683;p31"/>
              <p:cNvSpPr/>
              <p:nvPr/>
            </p:nvSpPr>
            <p:spPr>
              <a:xfrm>
                <a:off x="0" y="4397412"/>
                <a:ext cx="4600713" cy="2416"/>
              </a:xfrm>
              <a:custGeom>
                <a:avLst/>
                <a:gdLst/>
                <a:ahLst/>
                <a:cxnLst/>
                <a:rect l="l" t="t" r="r" b="b"/>
                <a:pathLst>
                  <a:path w="131402" h="69" extrusionOk="0">
                    <a:moveTo>
                      <a:pt x="0" y="1"/>
                    </a:moveTo>
                    <a:lnTo>
                      <a:pt x="0" y="69"/>
                    </a:lnTo>
                    <a:lnTo>
                      <a:pt x="131401" y="69"/>
                    </a:lnTo>
                    <a:lnTo>
                      <a:pt x="131401" y="1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4" name="Google Shape;684;p31"/>
              <p:cNvSpPr/>
              <p:nvPr/>
            </p:nvSpPr>
            <p:spPr>
              <a:xfrm>
                <a:off x="755786" y="4545586"/>
                <a:ext cx="305519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8726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8726" y="65"/>
                    </a:lnTo>
                    <a:lnTo>
                      <a:pt x="8726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5" name="Google Shape;685;p31"/>
              <p:cNvSpPr/>
              <p:nvPr/>
            </p:nvSpPr>
            <p:spPr>
              <a:xfrm>
                <a:off x="1619552" y="4536412"/>
                <a:ext cx="497808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14218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14217" y="65"/>
                    </a:lnTo>
                    <a:lnTo>
                      <a:pt x="14217" y="0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6" name="Google Shape;686;p31"/>
              <p:cNvSpPr/>
              <p:nvPr/>
            </p:nvSpPr>
            <p:spPr>
              <a:xfrm>
                <a:off x="1070481" y="4460119"/>
                <a:ext cx="175833" cy="2311"/>
              </a:xfrm>
              <a:custGeom>
                <a:avLst/>
                <a:gdLst/>
                <a:ahLst/>
                <a:cxnLst/>
                <a:rect l="l" t="t" r="r" b="b"/>
                <a:pathLst>
                  <a:path w="5022" h="66" extrusionOk="0">
                    <a:moveTo>
                      <a:pt x="1" y="1"/>
                    </a:moveTo>
                    <a:lnTo>
                      <a:pt x="1" y="65"/>
                    </a:lnTo>
                    <a:lnTo>
                      <a:pt x="5022" y="65"/>
                    </a:lnTo>
                    <a:lnTo>
                      <a:pt x="5022" y="1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87" name="Google Shape;687;p31"/>
              <p:cNvSpPr/>
              <p:nvPr/>
            </p:nvSpPr>
            <p:spPr>
              <a:xfrm>
                <a:off x="2732853" y="4514424"/>
                <a:ext cx="418259" cy="2276"/>
              </a:xfrm>
              <a:custGeom>
                <a:avLst/>
                <a:gdLst/>
                <a:ahLst/>
                <a:cxnLst/>
                <a:rect l="l" t="t" r="r" b="b"/>
                <a:pathLst>
                  <a:path w="11946" h="65" extrusionOk="0">
                    <a:moveTo>
                      <a:pt x="0" y="0"/>
                    </a:moveTo>
                    <a:lnTo>
                      <a:pt x="0" y="65"/>
                    </a:lnTo>
                    <a:lnTo>
                      <a:pt x="11946" y="65"/>
                    </a:lnTo>
                    <a:lnTo>
                      <a:pt x="11946" y="0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688" name="Google Shape;688;p31"/>
            <p:cNvGrpSpPr/>
            <p:nvPr/>
          </p:nvGrpSpPr>
          <p:grpSpPr>
            <a:xfrm>
              <a:off x="5215723" y="1329593"/>
              <a:ext cx="3081703" cy="2757573"/>
              <a:chOff x="5215723" y="1479118"/>
              <a:chExt cx="3081703" cy="2757573"/>
            </a:xfrm>
          </p:grpSpPr>
          <p:grpSp>
            <p:nvGrpSpPr>
              <p:cNvPr id="689" name="Google Shape;689;p31"/>
              <p:cNvGrpSpPr/>
              <p:nvPr/>
            </p:nvGrpSpPr>
            <p:grpSpPr>
              <a:xfrm>
                <a:off x="5215723" y="1707350"/>
                <a:ext cx="3081703" cy="2529341"/>
                <a:chOff x="5150194" y="1591500"/>
                <a:chExt cx="3081703" cy="2529341"/>
              </a:xfrm>
            </p:grpSpPr>
            <p:sp>
              <p:nvSpPr>
                <p:cNvPr id="690" name="Google Shape;690;p31"/>
                <p:cNvSpPr/>
                <p:nvPr/>
              </p:nvSpPr>
              <p:spPr>
                <a:xfrm>
                  <a:off x="5150194" y="1591500"/>
                  <a:ext cx="1147444" cy="25293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540" h="64368" extrusionOk="0">
                      <a:moveTo>
                        <a:pt x="45240" y="58"/>
                      </a:moveTo>
                      <a:cubicBezTo>
                        <a:pt x="45926" y="58"/>
                        <a:pt x="46482" y="614"/>
                        <a:pt x="46482" y="1299"/>
                      </a:cubicBezTo>
                      <a:lnTo>
                        <a:pt x="46482" y="63068"/>
                      </a:lnTo>
                      <a:cubicBezTo>
                        <a:pt x="46482" y="63753"/>
                        <a:pt x="45926" y="64310"/>
                        <a:pt x="45240" y="64310"/>
                      </a:cubicBezTo>
                      <a:lnTo>
                        <a:pt x="1299" y="64310"/>
                      </a:lnTo>
                      <a:cubicBezTo>
                        <a:pt x="615" y="64310"/>
                        <a:pt x="58" y="63753"/>
                        <a:pt x="58" y="63068"/>
                      </a:cubicBezTo>
                      <a:lnTo>
                        <a:pt x="58" y="1299"/>
                      </a:lnTo>
                      <a:cubicBezTo>
                        <a:pt x="58" y="614"/>
                        <a:pt x="615" y="58"/>
                        <a:pt x="1299" y="58"/>
                      </a:cubicBezTo>
                      <a:close/>
                      <a:moveTo>
                        <a:pt x="1299" y="0"/>
                      </a:moveTo>
                      <a:cubicBezTo>
                        <a:pt x="582" y="0"/>
                        <a:pt x="0" y="582"/>
                        <a:pt x="0" y="1299"/>
                      </a:cubicBezTo>
                      <a:lnTo>
                        <a:pt x="0" y="63068"/>
                      </a:lnTo>
                      <a:cubicBezTo>
                        <a:pt x="0" y="63786"/>
                        <a:pt x="582" y="64368"/>
                        <a:pt x="1299" y="64368"/>
                      </a:cubicBezTo>
                      <a:lnTo>
                        <a:pt x="45240" y="64368"/>
                      </a:lnTo>
                      <a:cubicBezTo>
                        <a:pt x="45958" y="64368"/>
                        <a:pt x="46539" y="63786"/>
                        <a:pt x="46539" y="63068"/>
                      </a:cubicBezTo>
                      <a:lnTo>
                        <a:pt x="46539" y="1299"/>
                      </a:lnTo>
                      <a:cubicBezTo>
                        <a:pt x="46539" y="582"/>
                        <a:pt x="45958" y="0"/>
                        <a:pt x="45240" y="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1" name="Google Shape;691;p31"/>
                <p:cNvSpPr/>
                <p:nvPr/>
              </p:nvSpPr>
              <p:spPr>
                <a:xfrm>
                  <a:off x="6402990" y="1591500"/>
                  <a:ext cx="1828907" cy="25293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543" h="64368" extrusionOk="0">
                      <a:moveTo>
                        <a:pt x="45243" y="58"/>
                      </a:moveTo>
                      <a:cubicBezTo>
                        <a:pt x="45928" y="58"/>
                        <a:pt x="46485" y="614"/>
                        <a:pt x="46485" y="1299"/>
                      </a:cubicBezTo>
                      <a:lnTo>
                        <a:pt x="46485" y="63068"/>
                      </a:lnTo>
                      <a:cubicBezTo>
                        <a:pt x="46485" y="63753"/>
                        <a:pt x="45928" y="64310"/>
                        <a:pt x="45243" y="64310"/>
                      </a:cubicBezTo>
                      <a:lnTo>
                        <a:pt x="1299" y="64310"/>
                      </a:lnTo>
                      <a:cubicBezTo>
                        <a:pt x="617" y="64310"/>
                        <a:pt x="57" y="63753"/>
                        <a:pt x="57" y="63068"/>
                      </a:cubicBezTo>
                      <a:lnTo>
                        <a:pt x="57" y="1299"/>
                      </a:lnTo>
                      <a:cubicBezTo>
                        <a:pt x="57" y="614"/>
                        <a:pt x="617" y="58"/>
                        <a:pt x="1299" y="58"/>
                      </a:cubicBezTo>
                      <a:close/>
                      <a:moveTo>
                        <a:pt x="1299" y="0"/>
                      </a:moveTo>
                      <a:cubicBezTo>
                        <a:pt x="585" y="0"/>
                        <a:pt x="0" y="582"/>
                        <a:pt x="0" y="1299"/>
                      </a:cubicBezTo>
                      <a:lnTo>
                        <a:pt x="0" y="63068"/>
                      </a:lnTo>
                      <a:cubicBezTo>
                        <a:pt x="0" y="63786"/>
                        <a:pt x="585" y="64368"/>
                        <a:pt x="1299" y="64368"/>
                      </a:cubicBezTo>
                      <a:lnTo>
                        <a:pt x="45243" y="64368"/>
                      </a:lnTo>
                      <a:cubicBezTo>
                        <a:pt x="45961" y="64368"/>
                        <a:pt x="46542" y="63786"/>
                        <a:pt x="46542" y="63068"/>
                      </a:cubicBezTo>
                      <a:lnTo>
                        <a:pt x="46542" y="1299"/>
                      </a:lnTo>
                      <a:cubicBezTo>
                        <a:pt x="46542" y="582"/>
                        <a:pt x="45961" y="0"/>
                        <a:pt x="45243" y="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692" name="Google Shape;692;p31"/>
              <p:cNvGrpSpPr/>
              <p:nvPr/>
            </p:nvGrpSpPr>
            <p:grpSpPr>
              <a:xfrm>
                <a:off x="5723516" y="1479118"/>
                <a:ext cx="2288423" cy="1787926"/>
                <a:chOff x="5723516" y="1479118"/>
                <a:chExt cx="2288423" cy="1787926"/>
              </a:xfrm>
            </p:grpSpPr>
            <p:sp>
              <p:nvSpPr>
                <p:cNvPr id="693" name="Google Shape;693;p31"/>
                <p:cNvSpPr/>
                <p:nvPr/>
              </p:nvSpPr>
              <p:spPr>
                <a:xfrm>
                  <a:off x="5723516" y="1479118"/>
                  <a:ext cx="2288423" cy="2912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237" h="7413" extrusionOk="0">
                      <a:moveTo>
                        <a:pt x="1756" y="1"/>
                      </a:moveTo>
                      <a:cubicBezTo>
                        <a:pt x="791" y="1"/>
                        <a:pt x="1" y="794"/>
                        <a:pt x="1" y="1760"/>
                      </a:cubicBezTo>
                      <a:lnTo>
                        <a:pt x="1" y="7413"/>
                      </a:lnTo>
                      <a:lnTo>
                        <a:pt x="58237" y="7413"/>
                      </a:lnTo>
                      <a:lnTo>
                        <a:pt x="58237" y="1760"/>
                      </a:lnTo>
                      <a:cubicBezTo>
                        <a:pt x="58237" y="794"/>
                        <a:pt x="57448" y="1"/>
                        <a:pt x="56482" y="1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4" name="Google Shape;694;p31"/>
                <p:cNvSpPr/>
                <p:nvPr/>
              </p:nvSpPr>
              <p:spPr>
                <a:xfrm>
                  <a:off x="6229445" y="1572681"/>
                  <a:ext cx="104407" cy="1043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7" h="2656" extrusionOk="0">
                      <a:moveTo>
                        <a:pt x="1329" y="0"/>
                      </a:moveTo>
                      <a:cubicBezTo>
                        <a:pt x="597" y="0"/>
                        <a:pt x="1" y="595"/>
                        <a:pt x="1" y="1328"/>
                      </a:cubicBezTo>
                      <a:cubicBezTo>
                        <a:pt x="1" y="2060"/>
                        <a:pt x="597" y="2656"/>
                        <a:pt x="1329" y="2656"/>
                      </a:cubicBezTo>
                      <a:cubicBezTo>
                        <a:pt x="2065" y="2656"/>
                        <a:pt x="2656" y="2060"/>
                        <a:pt x="2656" y="1328"/>
                      </a:cubicBezTo>
                      <a:cubicBezTo>
                        <a:pt x="2656" y="595"/>
                        <a:pt x="2065" y="0"/>
                        <a:pt x="1329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5" name="Google Shape;695;p31"/>
                <p:cNvSpPr/>
                <p:nvPr/>
              </p:nvSpPr>
              <p:spPr>
                <a:xfrm>
                  <a:off x="6044560" y="1572681"/>
                  <a:ext cx="104407" cy="1043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7" h="2656" extrusionOk="0">
                      <a:moveTo>
                        <a:pt x="1328" y="0"/>
                      </a:moveTo>
                      <a:cubicBezTo>
                        <a:pt x="596" y="0"/>
                        <a:pt x="0" y="595"/>
                        <a:pt x="0" y="1328"/>
                      </a:cubicBezTo>
                      <a:cubicBezTo>
                        <a:pt x="0" y="2060"/>
                        <a:pt x="596" y="2656"/>
                        <a:pt x="1328" y="2656"/>
                      </a:cubicBezTo>
                      <a:cubicBezTo>
                        <a:pt x="2060" y="2656"/>
                        <a:pt x="2656" y="2060"/>
                        <a:pt x="2656" y="1328"/>
                      </a:cubicBezTo>
                      <a:cubicBezTo>
                        <a:pt x="2656" y="595"/>
                        <a:pt x="2060" y="0"/>
                        <a:pt x="1328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6" name="Google Shape;696;p31"/>
                <p:cNvSpPr/>
                <p:nvPr/>
              </p:nvSpPr>
              <p:spPr>
                <a:xfrm>
                  <a:off x="5859635" y="1572681"/>
                  <a:ext cx="104407" cy="1043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7" h="2656" extrusionOk="0">
                      <a:moveTo>
                        <a:pt x="1329" y="0"/>
                      </a:moveTo>
                      <a:cubicBezTo>
                        <a:pt x="593" y="0"/>
                        <a:pt x="0" y="595"/>
                        <a:pt x="0" y="1328"/>
                      </a:cubicBezTo>
                      <a:cubicBezTo>
                        <a:pt x="0" y="2060"/>
                        <a:pt x="593" y="2656"/>
                        <a:pt x="1329" y="2656"/>
                      </a:cubicBezTo>
                      <a:cubicBezTo>
                        <a:pt x="2061" y="2656"/>
                        <a:pt x="2656" y="2060"/>
                        <a:pt x="2656" y="1328"/>
                      </a:cubicBezTo>
                      <a:cubicBezTo>
                        <a:pt x="2656" y="595"/>
                        <a:pt x="2061" y="0"/>
                        <a:pt x="1329" y="0"/>
                      </a:cubicBezTo>
                      <a:close/>
                    </a:path>
                  </a:pathLst>
                </a:custGeom>
                <a:solidFill>
                  <a:schemeClr val="lt1"/>
                </a:solidFill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697" name="Google Shape;697;p31"/>
                <p:cNvSpPr/>
                <p:nvPr/>
              </p:nvSpPr>
              <p:spPr>
                <a:xfrm>
                  <a:off x="5723516" y="1770377"/>
                  <a:ext cx="2288423" cy="149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237" h="38088" extrusionOk="0">
                      <a:moveTo>
                        <a:pt x="1" y="1"/>
                      </a:moveTo>
                      <a:lnTo>
                        <a:pt x="1" y="36332"/>
                      </a:lnTo>
                      <a:cubicBezTo>
                        <a:pt x="1" y="37297"/>
                        <a:pt x="791" y="38087"/>
                        <a:pt x="1756" y="38087"/>
                      </a:cubicBezTo>
                      <a:lnTo>
                        <a:pt x="56482" y="38087"/>
                      </a:lnTo>
                      <a:cubicBezTo>
                        <a:pt x="57448" y="38087"/>
                        <a:pt x="58237" y="37297"/>
                        <a:pt x="58237" y="36332"/>
                      </a:cubicBezTo>
                      <a:lnTo>
                        <a:pt x="58237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00" name="Google Shape;700;p31"/>
            <p:cNvGrpSpPr/>
            <p:nvPr/>
          </p:nvGrpSpPr>
          <p:grpSpPr>
            <a:xfrm>
              <a:off x="4394088" y="3149994"/>
              <a:ext cx="1221060" cy="1220197"/>
              <a:chOff x="4394088" y="3299519"/>
              <a:chExt cx="1221060" cy="1220197"/>
            </a:xfrm>
          </p:grpSpPr>
          <p:sp>
            <p:nvSpPr>
              <p:cNvPr id="701" name="Google Shape;701;p31"/>
              <p:cNvSpPr/>
              <p:nvPr/>
            </p:nvSpPr>
            <p:spPr>
              <a:xfrm>
                <a:off x="5004504" y="3380350"/>
                <a:ext cx="610644" cy="1139359"/>
              </a:xfrm>
              <a:custGeom>
                <a:avLst/>
                <a:gdLst/>
                <a:ahLst/>
                <a:cxnLst/>
                <a:rect l="l" t="t" r="r" b="b"/>
                <a:pathLst>
                  <a:path w="15540" h="28995" extrusionOk="0">
                    <a:moveTo>
                      <a:pt x="7768" y="1"/>
                    </a:moveTo>
                    <a:lnTo>
                      <a:pt x="5740" y="3515"/>
                    </a:lnTo>
                    <a:cubicBezTo>
                      <a:pt x="9175" y="5492"/>
                      <a:pt x="11486" y="9203"/>
                      <a:pt x="11486" y="13457"/>
                    </a:cubicBezTo>
                    <a:cubicBezTo>
                      <a:pt x="11486" y="19799"/>
                      <a:pt x="6343" y="24939"/>
                      <a:pt x="1" y="24939"/>
                    </a:cubicBezTo>
                    <a:lnTo>
                      <a:pt x="1" y="28995"/>
                    </a:lnTo>
                    <a:cubicBezTo>
                      <a:pt x="8579" y="28995"/>
                      <a:pt x="15539" y="22035"/>
                      <a:pt x="15539" y="13457"/>
                    </a:cubicBezTo>
                    <a:cubicBezTo>
                      <a:pt x="15539" y="7707"/>
                      <a:pt x="12412" y="2685"/>
                      <a:pt x="776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2" name="Google Shape;702;p31"/>
              <p:cNvSpPr/>
              <p:nvPr/>
            </p:nvSpPr>
            <p:spPr>
              <a:xfrm>
                <a:off x="4394088" y="3909150"/>
                <a:ext cx="610448" cy="610566"/>
              </a:xfrm>
              <a:custGeom>
                <a:avLst/>
                <a:gdLst/>
                <a:ahLst/>
                <a:cxnLst/>
                <a:rect l="l" t="t" r="r" b="b"/>
                <a:pathLst>
                  <a:path w="15535" h="15538" extrusionOk="0">
                    <a:moveTo>
                      <a:pt x="0" y="0"/>
                    </a:moveTo>
                    <a:cubicBezTo>
                      <a:pt x="0" y="4117"/>
                      <a:pt x="1641" y="8076"/>
                      <a:pt x="4551" y="10984"/>
                    </a:cubicBezTo>
                    <a:cubicBezTo>
                      <a:pt x="7462" y="13894"/>
                      <a:pt x="11418" y="15538"/>
                      <a:pt x="15535" y="15538"/>
                    </a:cubicBezTo>
                    <a:lnTo>
                      <a:pt x="15535" y="11482"/>
                    </a:lnTo>
                    <a:cubicBezTo>
                      <a:pt x="9196" y="11482"/>
                      <a:pt x="4053" y="6342"/>
                      <a:pt x="4053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03" name="Google Shape;703;p31"/>
              <p:cNvSpPr/>
              <p:nvPr/>
            </p:nvSpPr>
            <p:spPr>
              <a:xfrm>
                <a:off x="4394088" y="3299519"/>
                <a:ext cx="915691" cy="609662"/>
              </a:xfrm>
              <a:custGeom>
                <a:avLst/>
                <a:gdLst/>
                <a:ahLst/>
                <a:cxnLst/>
                <a:rect l="l" t="t" r="r" b="b"/>
                <a:pathLst>
                  <a:path w="23303" h="15515" extrusionOk="0">
                    <a:moveTo>
                      <a:pt x="15601" y="0"/>
                    </a:moveTo>
                    <a:cubicBezTo>
                      <a:pt x="10214" y="0"/>
                      <a:pt x="4947" y="2787"/>
                      <a:pt x="2078" y="7750"/>
                    </a:cubicBezTo>
                    <a:cubicBezTo>
                      <a:pt x="721" y="10104"/>
                      <a:pt x="0" y="12790"/>
                      <a:pt x="0" y="15514"/>
                    </a:cubicBezTo>
                    <a:lnTo>
                      <a:pt x="4053" y="15514"/>
                    </a:lnTo>
                    <a:cubicBezTo>
                      <a:pt x="4053" y="9168"/>
                      <a:pt x="9196" y="4031"/>
                      <a:pt x="15535" y="4031"/>
                    </a:cubicBezTo>
                    <a:cubicBezTo>
                      <a:pt x="17627" y="4031"/>
                      <a:pt x="19590" y="4588"/>
                      <a:pt x="21274" y="5572"/>
                    </a:cubicBezTo>
                    <a:lnTo>
                      <a:pt x="23302" y="2058"/>
                    </a:lnTo>
                    <a:cubicBezTo>
                      <a:pt x="20882" y="662"/>
                      <a:pt x="18227" y="0"/>
                      <a:pt x="1560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04" name="Google Shape;704;p31"/>
            <p:cNvSpPr/>
            <p:nvPr/>
          </p:nvSpPr>
          <p:spPr>
            <a:xfrm>
              <a:off x="4670099" y="3237152"/>
              <a:ext cx="2593" cy="5973"/>
            </a:xfrm>
            <a:custGeom>
              <a:avLst/>
              <a:gdLst/>
              <a:ahLst/>
              <a:cxnLst/>
              <a:rect l="l" t="t" r="r" b="b"/>
              <a:pathLst>
                <a:path w="66" h="152" extrusionOk="0">
                  <a:moveTo>
                    <a:pt x="65" y="1"/>
                  </a:moveTo>
                  <a:cubicBezTo>
                    <a:pt x="54" y="1"/>
                    <a:pt x="40" y="4"/>
                    <a:pt x="29" y="12"/>
                  </a:cubicBezTo>
                  <a:cubicBezTo>
                    <a:pt x="4" y="30"/>
                    <a:pt x="0" y="65"/>
                    <a:pt x="19" y="90"/>
                  </a:cubicBezTo>
                  <a:cubicBezTo>
                    <a:pt x="32" y="112"/>
                    <a:pt x="50" y="130"/>
                    <a:pt x="65" y="152"/>
                  </a:cubicBezTo>
                  <a:lnTo>
                    <a:pt x="6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5" name="Google Shape;705;p31"/>
            <p:cNvSpPr/>
            <p:nvPr/>
          </p:nvSpPr>
          <p:spPr>
            <a:xfrm>
              <a:off x="8052890" y="3127164"/>
              <a:ext cx="2554" cy="4951"/>
            </a:xfrm>
            <a:custGeom>
              <a:avLst/>
              <a:gdLst/>
              <a:ahLst/>
              <a:cxnLst/>
              <a:rect l="l" t="t" r="r" b="b"/>
              <a:pathLst>
                <a:path w="65" h="126" extrusionOk="0">
                  <a:moveTo>
                    <a:pt x="0" y="0"/>
                  </a:moveTo>
                  <a:lnTo>
                    <a:pt x="0" y="126"/>
                  </a:lnTo>
                  <a:cubicBezTo>
                    <a:pt x="18" y="126"/>
                    <a:pt x="36" y="116"/>
                    <a:pt x="47" y="98"/>
                  </a:cubicBezTo>
                  <a:cubicBezTo>
                    <a:pt x="65" y="73"/>
                    <a:pt x="58" y="36"/>
                    <a:pt x="29" y="18"/>
                  </a:cubicBezTo>
                  <a:cubicBezTo>
                    <a:pt x="18" y="15"/>
                    <a:pt x="11" y="8"/>
                    <a:pt x="0" y="0"/>
                  </a:cubicBezTo>
                  <a:close/>
                </a:path>
              </a:pathLst>
            </a:custGeom>
            <a:solidFill>
              <a:srgbClr val="FEFE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6" name="Google Shape;706;p31"/>
            <p:cNvSpPr/>
            <p:nvPr/>
          </p:nvSpPr>
          <p:spPr>
            <a:xfrm>
              <a:off x="4670099" y="2168078"/>
              <a:ext cx="2593" cy="4833"/>
            </a:xfrm>
            <a:custGeom>
              <a:avLst/>
              <a:gdLst/>
              <a:ahLst/>
              <a:cxnLst/>
              <a:rect l="l" t="t" r="r" b="b"/>
              <a:pathLst>
                <a:path w="66" h="123" extrusionOk="0">
                  <a:moveTo>
                    <a:pt x="65" y="0"/>
                  </a:moveTo>
                  <a:cubicBezTo>
                    <a:pt x="54" y="4"/>
                    <a:pt x="47" y="7"/>
                    <a:pt x="37" y="15"/>
                  </a:cubicBezTo>
                  <a:cubicBezTo>
                    <a:pt x="11" y="29"/>
                    <a:pt x="0" y="65"/>
                    <a:pt x="15" y="90"/>
                  </a:cubicBezTo>
                  <a:cubicBezTo>
                    <a:pt x="25" y="111"/>
                    <a:pt x="44" y="122"/>
                    <a:pt x="65" y="122"/>
                  </a:cubicBezTo>
                  <a:lnTo>
                    <a:pt x="65" y="0"/>
                  </a:lnTo>
                  <a:close/>
                </a:path>
              </a:pathLst>
            </a:custGeom>
            <a:solidFill>
              <a:srgbClr val="D6E4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7" name="Google Shape;707;p31"/>
            <p:cNvSpPr/>
            <p:nvPr/>
          </p:nvSpPr>
          <p:spPr>
            <a:xfrm>
              <a:off x="8052890" y="2518830"/>
              <a:ext cx="2554" cy="5973"/>
            </a:xfrm>
            <a:custGeom>
              <a:avLst/>
              <a:gdLst/>
              <a:ahLst/>
              <a:cxnLst/>
              <a:rect l="l" t="t" r="r" b="b"/>
              <a:pathLst>
                <a:path w="65" h="152" extrusionOk="0">
                  <a:moveTo>
                    <a:pt x="0" y="0"/>
                  </a:moveTo>
                  <a:lnTo>
                    <a:pt x="0" y="151"/>
                  </a:lnTo>
                  <a:cubicBezTo>
                    <a:pt x="15" y="134"/>
                    <a:pt x="29" y="112"/>
                    <a:pt x="43" y="94"/>
                  </a:cubicBezTo>
                  <a:cubicBezTo>
                    <a:pt x="65" y="69"/>
                    <a:pt x="58" y="33"/>
                    <a:pt x="36" y="15"/>
                  </a:cubicBezTo>
                  <a:cubicBezTo>
                    <a:pt x="25" y="8"/>
                    <a:pt x="11" y="0"/>
                    <a:pt x="0" y="0"/>
                  </a:cubicBezTo>
                  <a:close/>
                </a:path>
              </a:pathLst>
            </a:custGeom>
            <a:solidFill>
              <a:srgbClr val="CCDDF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708" name="Google Shape;708;p31"/>
            <p:cNvGrpSpPr/>
            <p:nvPr/>
          </p:nvGrpSpPr>
          <p:grpSpPr>
            <a:xfrm>
              <a:off x="4710406" y="1665960"/>
              <a:ext cx="3380414" cy="2313100"/>
              <a:chOff x="4710406" y="1815485"/>
              <a:chExt cx="3380414" cy="2313100"/>
            </a:xfrm>
          </p:grpSpPr>
          <p:sp>
            <p:nvSpPr>
              <p:cNvPr id="709" name="Google Shape;709;p31"/>
              <p:cNvSpPr/>
              <p:nvPr/>
            </p:nvSpPr>
            <p:spPr>
              <a:xfrm>
                <a:off x="4710406" y="1815485"/>
                <a:ext cx="3380234" cy="2313100"/>
              </a:xfrm>
              <a:custGeom>
                <a:avLst/>
                <a:gdLst/>
                <a:ahLst/>
                <a:cxnLst/>
                <a:rect l="l" t="t" r="r" b="b"/>
                <a:pathLst>
                  <a:path w="86022" h="58865" extrusionOk="0">
                    <a:moveTo>
                      <a:pt x="2190" y="1"/>
                    </a:moveTo>
                    <a:cubicBezTo>
                      <a:pt x="987" y="1"/>
                      <a:pt x="0" y="983"/>
                      <a:pt x="0" y="2186"/>
                    </a:cubicBezTo>
                    <a:lnTo>
                      <a:pt x="0" y="56679"/>
                    </a:lnTo>
                    <a:cubicBezTo>
                      <a:pt x="0" y="57881"/>
                      <a:pt x="987" y="58865"/>
                      <a:pt x="2190" y="58865"/>
                    </a:cubicBezTo>
                    <a:lnTo>
                      <a:pt x="83832" y="58865"/>
                    </a:lnTo>
                    <a:cubicBezTo>
                      <a:pt x="85034" y="58865"/>
                      <a:pt x="86021" y="57881"/>
                      <a:pt x="86021" y="56679"/>
                    </a:cubicBezTo>
                    <a:lnTo>
                      <a:pt x="86021" y="2186"/>
                    </a:lnTo>
                    <a:cubicBezTo>
                      <a:pt x="86021" y="983"/>
                      <a:pt x="85034" y="1"/>
                      <a:pt x="83832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10" name="Google Shape;710;p31"/>
              <p:cNvSpPr/>
              <p:nvPr/>
            </p:nvSpPr>
            <p:spPr>
              <a:xfrm>
                <a:off x="4710425" y="2037750"/>
                <a:ext cx="3380234" cy="1927813"/>
              </a:xfrm>
              <a:custGeom>
                <a:avLst/>
                <a:gdLst/>
                <a:ahLst/>
                <a:cxnLst/>
                <a:rect l="l" t="t" r="r" b="b"/>
                <a:pathLst>
                  <a:path w="86022" h="49060" extrusionOk="0">
                    <a:moveTo>
                      <a:pt x="0" y="1"/>
                    </a:moveTo>
                    <a:lnTo>
                      <a:pt x="0" y="49059"/>
                    </a:lnTo>
                    <a:lnTo>
                      <a:pt x="86021" y="49059"/>
                    </a:lnTo>
                    <a:lnTo>
                      <a:pt x="86021" y="1"/>
                    </a:lnTo>
                    <a:close/>
                  </a:path>
                </a:pathLst>
              </a:custGeom>
              <a:solidFill>
                <a:schemeClr val="dk1"/>
              </a:solidFill>
              <a:ln w="9525" cap="flat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11" name="Google Shape;711;p31"/>
              <p:cNvGrpSpPr/>
              <p:nvPr/>
            </p:nvGrpSpPr>
            <p:grpSpPr>
              <a:xfrm>
                <a:off x="4710585" y="2281922"/>
                <a:ext cx="3380235" cy="1683652"/>
                <a:chOff x="4710585" y="2281922"/>
                <a:chExt cx="3380235" cy="1683652"/>
              </a:xfrm>
            </p:grpSpPr>
            <p:sp>
              <p:nvSpPr>
                <p:cNvPr id="712" name="Google Shape;712;p31"/>
                <p:cNvSpPr/>
                <p:nvPr/>
              </p:nvSpPr>
              <p:spPr>
                <a:xfrm>
                  <a:off x="4710585" y="3230006"/>
                  <a:ext cx="3380234" cy="447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022" h="11383" extrusionOk="0">
                      <a:moveTo>
                        <a:pt x="84485" y="464"/>
                      </a:moveTo>
                      <a:lnTo>
                        <a:pt x="84485" y="582"/>
                      </a:lnTo>
                      <a:cubicBezTo>
                        <a:pt x="85006" y="769"/>
                        <a:pt x="85512" y="1009"/>
                        <a:pt x="85989" y="1304"/>
                      </a:cubicBezTo>
                      <a:cubicBezTo>
                        <a:pt x="86000" y="1311"/>
                        <a:pt x="86011" y="1314"/>
                        <a:pt x="86021" y="1314"/>
                      </a:cubicBezTo>
                      <a:lnTo>
                        <a:pt x="86021" y="1188"/>
                      </a:lnTo>
                      <a:cubicBezTo>
                        <a:pt x="85534" y="890"/>
                        <a:pt x="85017" y="650"/>
                        <a:pt x="84485" y="464"/>
                      </a:cubicBezTo>
                      <a:close/>
                      <a:moveTo>
                        <a:pt x="0" y="3988"/>
                      </a:moveTo>
                      <a:lnTo>
                        <a:pt x="0" y="4139"/>
                      </a:lnTo>
                      <a:cubicBezTo>
                        <a:pt x="467" y="4760"/>
                        <a:pt x="980" y="5348"/>
                        <a:pt x="1536" y="5898"/>
                      </a:cubicBezTo>
                      <a:lnTo>
                        <a:pt x="1536" y="5740"/>
                      </a:lnTo>
                      <a:cubicBezTo>
                        <a:pt x="994" y="5194"/>
                        <a:pt x="499" y="4620"/>
                        <a:pt x="47" y="4009"/>
                      </a:cubicBezTo>
                      <a:cubicBezTo>
                        <a:pt x="36" y="3996"/>
                        <a:pt x="18" y="3988"/>
                        <a:pt x="0" y="3988"/>
                      </a:cubicBezTo>
                      <a:close/>
                      <a:moveTo>
                        <a:pt x="81772" y="0"/>
                      </a:moveTo>
                      <a:cubicBezTo>
                        <a:pt x="80738" y="0"/>
                        <a:pt x="79708" y="201"/>
                        <a:pt x="78764" y="603"/>
                      </a:cubicBezTo>
                      <a:cubicBezTo>
                        <a:pt x="77540" y="1131"/>
                        <a:pt x="76470" y="1971"/>
                        <a:pt x="75437" y="2785"/>
                      </a:cubicBezTo>
                      <a:cubicBezTo>
                        <a:pt x="74690" y="3375"/>
                        <a:pt x="73918" y="3984"/>
                        <a:pt x="73093" y="4469"/>
                      </a:cubicBezTo>
                      <a:cubicBezTo>
                        <a:pt x="71201" y="5578"/>
                        <a:pt x="68918" y="6128"/>
                        <a:pt x="66183" y="6128"/>
                      </a:cubicBezTo>
                      <a:cubicBezTo>
                        <a:pt x="64687" y="6128"/>
                        <a:pt x="63054" y="5966"/>
                        <a:pt x="61276" y="5636"/>
                      </a:cubicBezTo>
                      <a:cubicBezTo>
                        <a:pt x="59949" y="5388"/>
                        <a:pt x="58603" y="5076"/>
                        <a:pt x="57304" y="4774"/>
                      </a:cubicBezTo>
                      <a:cubicBezTo>
                        <a:pt x="54662" y="4160"/>
                        <a:pt x="51930" y="3525"/>
                        <a:pt x="49203" y="3418"/>
                      </a:cubicBezTo>
                      <a:cubicBezTo>
                        <a:pt x="48911" y="3406"/>
                        <a:pt x="48625" y="3399"/>
                        <a:pt x="48337" y="3399"/>
                      </a:cubicBezTo>
                      <a:cubicBezTo>
                        <a:pt x="46183" y="3399"/>
                        <a:pt x="44066" y="3711"/>
                        <a:pt x="41980" y="4207"/>
                      </a:cubicBezTo>
                      <a:lnTo>
                        <a:pt x="41980" y="4326"/>
                      </a:lnTo>
                      <a:cubicBezTo>
                        <a:pt x="44066" y="3827"/>
                        <a:pt x="46183" y="3514"/>
                        <a:pt x="48337" y="3514"/>
                      </a:cubicBezTo>
                      <a:cubicBezTo>
                        <a:pt x="48625" y="3514"/>
                        <a:pt x="48911" y="3518"/>
                        <a:pt x="49195" y="3532"/>
                      </a:cubicBezTo>
                      <a:cubicBezTo>
                        <a:pt x="51916" y="3636"/>
                        <a:pt x="54640" y="4271"/>
                        <a:pt x="57274" y="4885"/>
                      </a:cubicBezTo>
                      <a:cubicBezTo>
                        <a:pt x="58578" y="5187"/>
                        <a:pt x="59927" y="5499"/>
                        <a:pt x="61255" y="5747"/>
                      </a:cubicBezTo>
                      <a:cubicBezTo>
                        <a:pt x="63039" y="6077"/>
                        <a:pt x="64679" y="6242"/>
                        <a:pt x="66183" y="6242"/>
                      </a:cubicBezTo>
                      <a:cubicBezTo>
                        <a:pt x="68940" y="6242"/>
                        <a:pt x="71241" y="5686"/>
                        <a:pt x="73151" y="4566"/>
                      </a:cubicBezTo>
                      <a:cubicBezTo>
                        <a:pt x="73983" y="4077"/>
                        <a:pt x="74758" y="3468"/>
                        <a:pt x="75508" y="2876"/>
                      </a:cubicBezTo>
                      <a:cubicBezTo>
                        <a:pt x="76535" y="2064"/>
                        <a:pt x="77597" y="1228"/>
                        <a:pt x="78810" y="708"/>
                      </a:cubicBezTo>
                      <a:cubicBezTo>
                        <a:pt x="79740" y="309"/>
                        <a:pt x="80753" y="115"/>
                        <a:pt x="81772" y="115"/>
                      </a:cubicBezTo>
                      <a:cubicBezTo>
                        <a:pt x="82648" y="115"/>
                        <a:pt x="83531" y="259"/>
                        <a:pt x="84371" y="542"/>
                      </a:cubicBezTo>
                      <a:lnTo>
                        <a:pt x="84371" y="424"/>
                      </a:lnTo>
                      <a:cubicBezTo>
                        <a:pt x="83531" y="144"/>
                        <a:pt x="82648" y="0"/>
                        <a:pt x="81772" y="0"/>
                      </a:cubicBezTo>
                      <a:close/>
                      <a:moveTo>
                        <a:pt x="37756" y="5439"/>
                      </a:moveTo>
                      <a:cubicBezTo>
                        <a:pt x="36091" y="5994"/>
                        <a:pt x="34446" y="6619"/>
                        <a:pt x="32817" y="7233"/>
                      </a:cubicBezTo>
                      <a:cubicBezTo>
                        <a:pt x="31177" y="7854"/>
                        <a:pt x="29483" y="8497"/>
                        <a:pt x="27806" y="9057"/>
                      </a:cubicBezTo>
                      <a:cubicBezTo>
                        <a:pt x="23360" y="10546"/>
                        <a:pt x="19530" y="11267"/>
                        <a:pt x="15983" y="11267"/>
                      </a:cubicBezTo>
                      <a:cubicBezTo>
                        <a:pt x="15014" y="11267"/>
                        <a:pt x="14066" y="11214"/>
                        <a:pt x="13137" y="11106"/>
                      </a:cubicBezTo>
                      <a:cubicBezTo>
                        <a:pt x="8614" y="10589"/>
                        <a:pt x="4551" y="8708"/>
                        <a:pt x="1651" y="5851"/>
                      </a:cubicBezTo>
                      <a:lnTo>
                        <a:pt x="1651" y="6009"/>
                      </a:lnTo>
                      <a:cubicBezTo>
                        <a:pt x="4562" y="8841"/>
                        <a:pt x="8618" y="10704"/>
                        <a:pt x="13122" y="11220"/>
                      </a:cubicBezTo>
                      <a:cubicBezTo>
                        <a:pt x="14060" y="11328"/>
                        <a:pt x="15011" y="11382"/>
                        <a:pt x="15983" y="11382"/>
                      </a:cubicBezTo>
                      <a:cubicBezTo>
                        <a:pt x="19540" y="11382"/>
                        <a:pt x="23381" y="10657"/>
                        <a:pt x="27843" y="9164"/>
                      </a:cubicBezTo>
                      <a:cubicBezTo>
                        <a:pt x="29522" y="8604"/>
                        <a:pt x="31216" y="7962"/>
                        <a:pt x="32860" y="7341"/>
                      </a:cubicBezTo>
                      <a:cubicBezTo>
                        <a:pt x="34472" y="6731"/>
                        <a:pt x="36105" y="6113"/>
                        <a:pt x="37756" y="5557"/>
                      </a:cubicBezTo>
                      <a:lnTo>
                        <a:pt x="37756" y="5439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9525" cap="flat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grpSp>
              <p:nvGrpSpPr>
                <p:cNvPr id="713" name="Google Shape;713;p31"/>
                <p:cNvGrpSpPr/>
                <p:nvPr/>
              </p:nvGrpSpPr>
              <p:grpSpPr>
                <a:xfrm>
                  <a:off x="4710585" y="2281922"/>
                  <a:ext cx="3380235" cy="634850"/>
                  <a:chOff x="4672653" y="2281922"/>
                  <a:chExt cx="3380235" cy="634850"/>
                </a:xfrm>
              </p:grpSpPr>
              <p:sp>
                <p:nvSpPr>
                  <p:cNvPr id="714" name="Google Shape;714;p31"/>
                  <p:cNvSpPr/>
                  <p:nvPr/>
                </p:nvSpPr>
                <p:spPr>
                  <a:xfrm>
                    <a:off x="4672653" y="2293200"/>
                    <a:ext cx="60514" cy="292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40" h="744" extrusionOk="0">
                        <a:moveTo>
                          <a:pt x="1539" y="0"/>
                        </a:moveTo>
                        <a:lnTo>
                          <a:pt x="1539" y="0"/>
                        </a:lnTo>
                        <a:cubicBezTo>
                          <a:pt x="1005" y="151"/>
                          <a:pt x="489" y="356"/>
                          <a:pt x="0" y="621"/>
                        </a:cubicBezTo>
                        <a:lnTo>
                          <a:pt x="0" y="743"/>
                        </a:lnTo>
                        <a:cubicBezTo>
                          <a:pt x="7" y="743"/>
                          <a:pt x="18" y="739"/>
                          <a:pt x="25" y="736"/>
                        </a:cubicBezTo>
                        <a:cubicBezTo>
                          <a:pt x="506" y="474"/>
                          <a:pt x="1012" y="270"/>
                          <a:pt x="1536" y="119"/>
                        </a:cubicBezTo>
                        <a:cubicBezTo>
                          <a:pt x="1536" y="79"/>
                          <a:pt x="1539" y="40"/>
                          <a:pt x="1539" y="0"/>
                        </a:cubicBezTo>
                        <a:close/>
                      </a:path>
                    </a:pathLst>
                  </a:custGeom>
                  <a:solidFill>
                    <a:schemeClr val="accent3"/>
                  </a:solidFill>
                  <a:ln w="9525" cap="flat" cmpd="sng">
                    <a:solidFill>
                      <a:schemeClr val="accent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715" name="Google Shape;715;p31"/>
                  <p:cNvSpPr/>
                  <p:nvPr/>
                </p:nvSpPr>
                <p:spPr>
                  <a:xfrm>
                    <a:off x="4737530" y="2281922"/>
                    <a:ext cx="3315358" cy="6348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4371" h="16156" extrusionOk="0">
                        <a:moveTo>
                          <a:pt x="84370" y="9834"/>
                        </a:moveTo>
                        <a:cubicBezTo>
                          <a:pt x="84352" y="9834"/>
                          <a:pt x="84335" y="9842"/>
                          <a:pt x="84324" y="9856"/>
                        </a:cubicBezTo>
                        <a:cubicBezTo>
                          <a:pt x="83871" y="10434"/>
                          <a:pt x="83373" y="10976"/>
                          <a:pt x="82834" y="11482"/>
                        </a:cubicBezTo>
                        <a:lnTo>
                          <a:pt x="82834" y="11636"/>
                        </a:lnTo>
                        <a:cubicBezTo>
                          <a:pt x="83391" y="11123"/>
                          <a:pt x="83904" y="10574"/>
                          <a:pt x="84370" y="9985"/>
                        </a:cubicBezTo>
                        <a:lnTo>
                          <a:pt x="84370" y="9834"/>
                        </a:lnTo>
                        <a:close/>
                        <a:moveTo>
                          <a:pt x="2021" y="0"/>
                        </a:moveTo>
                        <a:cubicBezTo>
                          <a:pt x="1339" y="0"/>
                          <a:pt x="660" y="86"/>
                          <a:pt x="4" y="255"/>
                        </a:cubicBezTo>
                        <a:cubicBezTo>
                          <a:pt x="4" y="298"/>
                          <a:pt x="0" y="334"/>
                          <a:pt x="0" y="377"/>
                        </a:cubicBezTo>
                        <a:cubicBezTo>
                          <a:pt x="657" y="201"/>
                          <a:pt x="1339" y="111"/>
                          <a:pt x="2025" y="111"/>
                        </a:cubicBezTo>
                        <a:cubicBezTo>
                          <a:pt x="3234" y="111"/>
                          <a:pt x="4454" y="388"/>
                          <a:pt x="5557" y="940"/>
                        </a:cubicBezTo>
                        <a:cubicBezTo>
                          <a:pt x="6770" y="1547"/>
                          <a:pt x="7832" y="2459"/>
                          <a:pt x="8862" y="3342"/>
                        </a:cubicBezTo>
                        <a:cubicBezTo>
                          <a:pt x="9609" y="3988"/>
                          <a:pt x="10388" y="4652"/>
                          <a:pt x="11216" y="5201"/>
                        </a:cubicBezTo>
                        <a:cubicBezTo>
                          <a:pt x="13482" y="6690"/>
                          <a:pt x="16307" y="7427"/>
                          <a:pt x="19784" y="7427"/>
                        </a:cubicBezTo>
                        <a:cubicBezTo>
                          <a:pt x="20833" y="7427"/>
                          <a:pt x="21938" y="7362"/>
                          <a:pt x="23108" y="7229"/>
                        </a:cubicBezTo>
                        <a:cubicBezTo>
                          <a:pt x="24439" y="7078"/>
                          <a:pt x="25786" y="6859"/>
                          <a:pt x="27088" y="6651"/>
                        </a:cubicBezTo>
                        <a:cubicBezTo>
                          <a:pt x="29497" y="6259"/>
                          <a:pt x="31977" y="5861"/>
                          <a:pt x="34461" y="5861"/>
                        </a:cubicBezTo>
                        <a:lnTo>
                          <a:pt x="34777" y="5861"/>
                        </a:lnTo>
                        <a:cubicBezTo>
                          <a:pt x="34953" y="5840"/>
                          <a:pt x="35129" y="5825"/>
                          <a:pt x="35305" y="5825"/>
                        </a:cubicBezTo>
                        <a:cubicBezTo>
                          <a:pt x="35595" y="5825"/>
                          <a:pt x="35883" y="5858"/>
                          <a:pt x="36173" y="5926"/>
                        </a:cubicBezTo>
                        <a:cubicBezTo>
                          <a:pt x="41485" y="6342"/>
                          <a:pt x="46575" y="8628"/>
                          <a:pt x="51506" y="10847"/>
                        </a:cubicBezTo>
                        <a:cubicBezTo>
                          <a:pt x="53147" y="11587"/>
                          <a:pt x="54845" y="12347"/>
                          <a:pt x="56521" y="13029"/>
                        </a:cubicBezTo>
                        <a:cubicBezTo>
                          <a:pt x="61751" y="15150"/>
                          <a:pt x="66126" y="16156"/>
                          <a:pt x="70189" y="16156"/>
                        </a:cubicBezTo>
                        <a:cubicBezTo>
                          <a:pt x="70544" y="16156"/>
                          <a:pt x="70892" y="16149"/>
                          <a:pt x="71245" y="16134"/>
                        </a:cubicBezTo>
                        <a:cubicBezTo>
                          <a:pt x="75749" y="15937"/>
                          <a:pt x="79805" y="14365"/>
                          <a:pt x="82720" y="11741"/>
                        </a:cubicBezTo>
                        <a:lnTo>
                          <a:pt x="82720" y="11587"/>
                        </a:lnTo>
                        <a:cubicBezTo>
                          <a:pt x="79819" y="14235"/>
                          <a:pt x="75759" y="15826"/>
                          <a:pt x="71237" y="16019"/>
                        </a:cubicBezTo>
                        <a:cubicBezTo>
                          <a:pt x="70889" y="16033"/>
                          <a:pt x="70541" y="16041"/>
                          <a:pt x="70189" y="16041"/>
                        </a:cubicBezTo>
                        <a:cubicBezTo>
                          <a:pt x="66141" y="16041"/>
                          <a:pt x="61776" y="15039"/>
                          <a:pt x="56564" y="12925"/>
                        </a:cubicBezTo>
                        <a:cubicBezTo>
                          <a:pt x="54891" y="12243"/>
                          <a:pt x="53194" y="11482"/>
                          <a:pt x="51553" y="10743"/>
                        </a:cubicBezTo>
                        <a:cubicBezTo>
                          <a:pt x="46303" y="8381"/>
                          <a:pt x="40871" y="5941"/>
                          <a:pt x="35172" y="5757"/>
                        </a:cubicBezTo>
                        <a:cubicBezTo>
                          <a:pt x="34935" y="5750"/>
                          <a:pt x="34698" y="5747"/>
                          <a:pt x="34461" y="5747"/>
                        </a:cubicBezTo>
                        <a:cubicBezTo>
                          <a:pt x="31970" y="5747"/>
                          <a:pt x="29483" y="6148"/>
                          <a:pt x="27071" y="6536"/>
                        </a:cubicBezTo>
                        <a:cubicBezTo>
                          <a:pt x="25771" y="6748"/>
                          <a:pt x="24426" y="6963"/>
                          <a:pt x="23097" y="7114"/>
                        </a:cubicBezTo>
                        <a:cubicBezTo>
                          <a:pt x="21931" y="7247"/>
                          <a:pt x="20829" y="7315"/>
                          <a:pt x="19784" y="7315"/>
                        </a:cubicBezTo>
                        <a:cubicBezTo>
                          <a:pt x="16328" y="7315"/>
                          <a:pt x="13525" y="6582"/>
                          <a:pt x="11281" y="5104"/>
                        </a:cubicBezTo>
                        <a:cubicBezTo>
                          <a:pt x="10456" y="4562"/>
                          <a:pt x="9680" y="3898"/>
                          <a:pt x="8934" y="3256"/>
                        </a:cubicBezTo>
                        <a:cubicBezTo>
                          <a:pt x="7900" y="2369"/>
                          <a:pt x="6831" y="1450"/>
                          <a:pt x="5607" y="837"/>
                        </a:cubicBezTo>
                        <a:cubicBezTo>
                          <a:pt x="4487" y="277"/>
                          <a:pt x="3252" y="0"/>
                          <a:pt x="2021" y="0"/>
                        </a:cubicBezTo>
                        <a:close/>
                      </a:path>
                    </a:pathLst>
                  </a:custGeom>
                  <a:solidFill>
                    <a:schemeClr val="accent3"/>
                  </a:solidFill>
                  <a:ln w="9525" cap="flat" cmpd="sng">
                    <a:solidFill>
                      <a:schemeClr val="accent3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/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716" name="Google Shape;716;p31"/>
                <p:cNvSpPr/>
                <p:nvPr/>
              </p:nvSpPr>
              <p:spPr>
                <a:xfrm>
                  <a:off x="4921590" y="3223954"/>
                  <a:ext cx="166021" cy="7416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5" h="18873" extrusionOk="0">
                      <a:moveTo>
                        <a:pt x="0" y="0"/>
                      </a:moveTo>
                      <a:lnTo>
                        <a:pt x="0" y="18872"/>
                      </a:lnTo>
                      <a:lnTo>
                        <a:pt x="4225" y="18872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17" name="Google Shape;717;p31"/>
                <p:cNvSpPr/>
                <p:nvPr/>
              </p:nvSpPr>
              <p:spPr>
                <a:xfrm>
                  <a:off x="5168405" y="3072588"/>
                  <a:ext cx="166179" cy="8929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9" h="22725" extrusionOk="0">
                      <a:moveTo>
                        <a:pt x="1" y="1"/>
                      </a:moveTo>
                      <a:lnTo>
                        <a:pt x="1" y="22724"/>
                      </a:lnTo>
                      <a:lnTo>
                        <a:pt x="4229" y="22724"/>
                      </a:lnTo>
                      <a:lnTo>
                        <a:pt x="4229" y="1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18" name="Google Shape;718;p31"/>
                <p:cNvSpPr/>
                <p:nvPr/>
              </p:nvSpPr>
              <p:spPr>
                <a:xfrm>
                  <a:off x="5415377" y="2923933"/>
                  <a:ext cx="166179" cy="1041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9" h="26508" extrusionOk="0">
                      <a:moveTo>
                        <a:pt x="1" y="0"/>
                      </a:moveTo>
                      <a:lnTo>
                        <a:pt x="1" y="26507"/>
                      </a:lnTo>
                      <a:lnTo>
                        <a:pt x="4229" y="26507"/>
                      </a:lnTo>
                      <a:lnTo>
                        <a:pt x="4229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19" name="Google Shape;719;p31"/>
                <p:cNvSpPr/>
                <p:nvPr/>
              </p:nvSpPr>
              <p:spPr>
                <a:xfrm>
                  <a:off x="5662310" y="2741719"/>
                  <a:ext cx="166100" cy="1223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7" h="31145" extrusionOk="0">
                      <a:moveTo>
                        <a:pt x="1" y="0"/>
                      </a:moveTo>
                      <a:lnTo>
                        <a:pt x="1" y="31144"/>
                      </a:lnTo>
                      <a:lnTo>
                        <a:pt x="4226" y="31144"/>
                      </a:lnTo>
                      <a:lnTo>
                        <a:pt x="4226" y="0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0" name="Google Shape;720;p31"/>
                <p:cNvSpPr/>
                <p:nvPr/>
              </p:nvSpPr>
              <p:spPr>
                <a:xfrm>
                  <a:off x="5909282" y="3001659"/>
                  <a:ext cx="166061" cy="963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24530" extrusionOk="0">
                      <a:moveTo>
                        <a:pt x="1" y="0"/>
                      </a:moveTo>
                      <a:lnTo>
                        <a:pt x="1" y="24529"/>
                      </a:lnTo>
                      <a:lnTo>
                        <a:pt x="4225" y="24529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1" name="Google Shape;721;p31"/>
                <p:cNvSpPr/>
                <p:nvPr/>
              </p:nvSpPr>
              <p:spPr>
                <a:xfrm>
                  <a:off x="6156254" y="2640416"/>
                  <a:ext cx="166061" cy="13251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33723" extrusionOk="0">
                      <a:moveTo>
                        <a:pt x="1" y="1"/>
                      </a:moveTo>
                      <a:lnTo>
                        <a:pt x="1" y="33722"/>
                      </a:lnTo>
                      <a:lnTo>
                        <a:pt x="4225" y="33722"/>
                      </a:lnTo>
                      <a:lnTo>
                        <a:pt x="4225" y="1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2" name="Google Shape;722;p31"/>
                <p:cNvSpPr/>
                <p:nvPr/>
              </p:nvSpPr>
              <p:spPr>
                <a:xfrm>
                  <a:off x="6403226" y="3091489"/>
                  <a:ext cx="166061" cy="8740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22244" extrusionOk="0">
                      <a:moveTo>
                        <a:pt x="1" y="0"/>
                      </a:moveTo>
                      <a:lnTo>
                        <a:pt x="1" y="22243"/>
                      </a:lnTo>
                      <a:lnTo>
                        <a:pt x="4225" y="22243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3" name="Google Shape;723;p31"/>
                <p:cNvSpPr/>
                <p:nvPr/>
              </p:nvSpPr>
              <p:spPr>
                <a:xfrm>
                  <a:off x="6650080" y="2798266"/>
                  <a:ext cx="166179" cy="11672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9" h="29706" extrusionOk="0">
                      <a:moveTo>
                        <a:pt x="0" y="1"/>
                      </a:moveTo>
                      <a:lnTo>
                        <a:pt x="0" y="29705"/>
                      </a:lnTo>
                      <a:lnTo>
                        <a:pt x="4228" y="29705"/>
                      </a:lnTo>
                      <a:lnTo>
                        <a:pt x="4228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4" name="Google Shape;724;p31"/>
                <p:cNvSpPr/>
                <p:nvPr/>
              </p:nvSpPr>
              <p:spPr>
                <a:xfrm>
                  <a:off x="6897013" y="3673574"/>
                  <a:ext cx="166218" cy="292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0" h="7431" extrusionOk="0">
                      <a:moveTo>
                        <a:pt x="1" y="1"/>
                      </a:moveTo>
                      <a:lnTo>
                        <a:pt x="1" y="7430"/>
                      </a:lnTo>
                      <a:lnTo>
                        <a:pt x="4229" y="7430"/>
                      </a:lnTo>
                      <a:lnTo>
                        <a:pt x="4229" y="1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5" name="Google Shape;725;p31"/>
                <p:cNvSpPr/>
                <p:nvPr/>
              </p:nvSpPr>
              <p:spPr>
                <a:xfrm>
                  <a:off x="7143985" y="2724901"/>
                  <a:ext cx="166061" cy="124066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31573" extrusionOk="0">
                      <a:moveTo>
                        <a:pt x="1" y="1"/>
                      </a:moveTo>
                      <a:lnTo>
                        <a:pt x="1" y="31572"/>
                      </a:lnTo>
                      <a:lnTo>
                        <a:pt x="4225" y="31572"/>
                      </a:lnTo>
                      <a:lnTo>
                        <a:pt x="4225" y="1"/>
                      </a:ln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6" name="Google Shape;726;p31"/>
                <p:cNvSpPr/>
                <p:nvPr/>
              </p:nvSpPr>
              <p:spPr>
                <a:xfrm>
                  <a:off x="7390957" y="2381065"/>
                  <a:ext cx="166061" cy="15844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40323" extrusionOk="0">
                      <a:moveTo>
                        <a:pt x="1" y="0"/>
                      </a:moveTo>
                      <a:lnTo>
                        <a:pt x="1" y="40322"/>
                      </a:lnTo>
                      <a:lnTo>
                        <a:pt x="4225" y="40322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27" name="Google Shape;727;p31"/>
                <p:cNvSpPr/>
                <p:nvPr/>
              </p:nvSpPr>
              <p:spPr>
                <a:xfrm>
                  <a:off x="7637929" y="3115184"/>
                  <a:ext cx="166061" cy="850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26" h="21641" extrusionOk="0">
                      <a:moveTo>
                        <a:pt x="1" y="0"/>
                      </a:moveTo>
                      <a:lnTo>
                        <a:pt x="1" y="21640"/>
                      </a:lnTo>
                      <a:lnTo>
                        <a:pt x="4225" y="21640"/>
                      </a:lnTo>
                      <a:lnTo>
                        <a:pt x="4225" y="0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</p:grpSp>
        <p:grpSp>
          <p:nvGrpSpPr>
            <p:cNvPr id="728" name="Google Shape;728;p31"/>
            <p:cNvGrpSpPr/>
            <p:nvPr/>
          </p:nvGrpSpPr>
          <p:grpSpPr>
            <a:xfrm>
              <a:off x="5262046" y="2085203"/>
              <a:ext cx="1054922" cy="2623643"/>
              <a:chOff x="5262046" y="2234728"/>
              <a:chExt cx="1054922" cy="2623643"/>
            </a:xfrm>
          </p:grpSpPr>
          <p:sp>
            <p:nvSpPr>
              <p:cNvPr id="729" name="Google Shape;729;p31"/>
              <p:cNvSpPr/>
              <p:nvPr/>
            </p:nvSpPr>
            <p:spPr>
              <a:xfrm>
                <a:off x="6104070" y="2510819"/>
                <a:ext cx="54895" cy="4008"/>
              </a:xfrm>
              <a:custGeom>
                <a:avLst/>
                <a:gdLst/>
                <a:ahLst/>
                <a:cxnLst/>
                <a:rect l="l" t="t" r="r" b="b"/>
                <a:pathLst>
                  <a:path w="1397" h="102" extrusionOk="0">
                    <a:moveTo>
                      <a:pt x="529" y="0"/>
                    </a:moveTo>
                    <a:cubicBezTo>
                      <a:pt x="353" y="0"/>
                      <a:pt x="177" y="15"/>
                      <a:pt x="1" y="36"/>
                    </a:cubicBezTo>
                    <a:cubicBezTo>
                      <a:pt x="134" y="40"/>
                      <a:pt x="263" y="43"/>
                      <a:pt x="393" y="47"/>
                    </a:cubicBezTo>
                    <a:cubicBezTo>
                      <a:pt x="729" y="58"/>
                      <a:pt x="1064" y="76"/>
                      <a:pt x="1397" y="101"/>
                    </a:cubicBezTo>
                    <a:cubicBezTo>
                      <a:pt x="1107" y="33"/>
                      <a:pt x="819" y="0"/>
                      <a:pt x="529" y="0"/>
                    </a:cubicBezTo>
                    <a:close/>
                  </a:path>
                </a:pathLst>
              </a:custGeom>
              <a:solidFill>
                <a:srgbClr val="C2D6F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0" name="Google Shape;730;p31"/>
              <p:cNvSpPr/>
              <p:nvPr/>
            </p:nvSpPr>
            <p:spPr>
              <a:xfrm>
                <a:off x="6266871" y="2618410"/>
                <a:ext cx="157" cy="236"/>
              </a:xfrm>
              <a:custGeom>
                <a:avLst/>
                <a:gdLst/>
                <a:ahLst/>
                <a:cxnLst/>
                <a:rect l="l" t="t" r="r" b="b"/>
                <a:pathLst>
                  <a:path w="4" h="6" extrusionOk="0">
                    <a:moveTo>
                      <a:pt x="0" y="1"/>
                    </a:moveTo>
                    <a:cubicBezTo>
                      <a:pt x="0" y="5"/>
                      <a:pt x="4" y="5"/>
                      <a:pt x="4" y="5"/>
                    </a:cubicBezTo>
                    <a:cubicBezTo>
                      <a:pt x="4" y="5"/>
                      <a:pt x="0" y="5"/>
                      <a:pt x="0" y="1"/>
                    </a:cubicBezTo>
                    <a:close/>
                  </a:path>
                </a:pathLst>
              </a:custGeom>
              <a:solidFill>
                <a:srgbClr val="99BDF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1" name="Google Shape;731;p31"/>
              <p:cNvSpPr/>
              <p:nvPr/>
            </p:nvSpPr>
            <p:spPr>
              <a:xfrm>
                <a:off x="5977067" y="2638333"/>
                <a:ext cx="3340" cy="49826"/>
              </a:xfrm>
              <a:custGeom>
                <a:avLst/>
                <a:gdLst/>
                <a:ahLst/>
                <a:cxnLst/>
                <a:rect l="l" t="t" r="r" b="b"/>
                <a:pathLst>
                  <a:path w="85" h="1268" extrusionOk="0">
                    <a:moveTo>
                      <a:pt x="42" y="0"/>
                    </a:moveTo>
                    <a:cubicBezTo>
                      <a:pt x="9" y="244"/>
                      <a:pt x="1" y="487"/>
                      <a:pt x="15" y="728"/>
                    </a:cubicBezTo>
                    <a:lnTo>
                      <a:pt x="15" y="728"/>
                    </a:lnTo>
                    <a:cubicBezTo>
                      <a:pt x="2" y="487"/>
                      <a:pt x="11" y="243"/>
                      <a:pt x="45" y="0"/>
                    </a:cubicBezTo>
                    <a:close/>
                    <a:moveTo>
                      <a:pt x="15" y="728"/>
                    </a:moveTo>
                    <a:lnTo>
                      <a:pt x="15" y="728"/>
                    </a:lnTo>
                    <a:cubicBezTo>
                      <a:pt x="26" y="910"/>
                      <a:pt x="49" y="1091"/>
                      <a:pt x="85" y="1267"/>
                    </a:cubicBezTo>
                    <a:cubicBezTo>
                      <a:pt x="75" y="1213"/>
                      <a:pt x="63" y="1156"/>
                      <a:pt x="56" y="1099"/>
                    </a:cubicBezTo>
                    <a:cubicBezTo>
                      <a:pt x="37" y="976"/>
                      <a:pt x="23" y="852"/>
                      <a:pt x="15" y="728"/>
                    </a:cubicBezTo>
                    <a:close/>
                  </a:path>
                </a:pathLst>
              </a:custGeom>
              <a:solidFill>
                <a:srgbClr val="E6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2" name="Google Shape;732;p31"/>
              <p:cNvSpPr/>
              <p:nvPr/>
            </p:nvSpPr>
            <p:spPr>
              <a:xfrm>
                <a:off x="5988698" y="2715077"/>
                <a:ext cx="39099" cy="54306"/>
              </a:xfrm>
              <a:custGeom>
                <a:avLst/>
                <a:gdLst/>
                <a:ahLst/>
                <a:cxnLst/>
                <a:rect l="l" t="t" r="r" b="b"/>
                <a:pathLst>
                  <a:path w="995" h="1382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220" y="527"/>
                      <a:pt x="557" y="1001"/>
                      <a:pt x="995" y="1382"/>
                    </a:cubicBezTo>
                    <a:cubicBezTo>
                      <a:pt x="561" y="1001"/>
                      <a:pt x="220" y="524"/>
                      <a:pt x="1" y="0"/>
                    </a:cubicBezTo>
                    <a:close/>
                  </a:path>
                </a:pathLst>
              </a:custGeom>
              <a:solidFill>
                <a:srgbClr val="E6EFF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3" name="Google Shape;733;p31"/>
              <p:cNvSpPr/>
              <p:nvPr/>
            </p:nvSpPr>
            <p:spPr>
              <a:xfrm>
                <a:off x="5965592" y="2784355"/>
                <a:ext cx="125548" cy="256714"/>
              </a:xfrm>
              <a:custGeom>
                <a:avLst/>
                <a:gdLst/>
                <a:ahLst/>
                <a:cxnLst/>
                <a:rect l="l" t="t" r="r" b="b"/>
                <a:pathLst>
                  <a:path w="3195" h="6533" extrusionOk="0">
                    <a:moveTo>
                      <a:pt x="2729" y="0"/>
                    </a:moveTo>
                    <a:cubicBezTo>
                      <a:pt x="2573" y="0"/>
                      <a:pt x="2423" y="83"/>
                      <a:pt x="2344" y="229"/>
                    </a:cubicBezTo>
                    <a:cubicBezTo>
                      <a:pt x="1838" y="1169"/>
                      <a:pt x="1414" y="2139"/>
                      <a:pt x="1001" y="3115"/>
                    </a:cubicBezTo>
                    <a:cubicBezTo>
                      <a:pt x="804" y="3606"/>
                      <a:pt x="600" y="4091"/>
                      <a:pt x="417" y="4590"/>
                    </a:cubicBezTo>
                    <a:lnTo>
                      <a:pt x="137" y="5329"/>
                    </a:lnTo>
                    <a:cubicBezTo>
                      <a:pt x="44" y="5577"/>
                      <a:pt x="0" y="5843"/>
                      <a:pt x="173" y="6187"/>
                    </a:cubicBezTo>
                    <a:cubicBezTo>
                      <a:pt x="284" y="6404"/>
                      <a:pt x="505" y="6533"/>
                      <a:pt x="736" y="6533"/>
                    </a:cubicBezTo>
                    <a:cubicBezTo>
                      <a:pt x="819" y="6533"/>
                      <a:pt x="903" y="6516"/>
                      <a:pt x="983" y="6481"/>
                    </a:cubicBezTo>
                    <a:cubicBezTo>
                      <a:pt x="1339" y="6330"/>
                      <a:pt x="1475" y="6101"/>
                      <a:pt x="1561" y="5850"/>
                    </a:cubicBezTo>
                    <a:lnTo>
                      <a:pt x="1823" y="5103"/>
                    </a:lnTo>
                    <a:cubicBezTo>
                      <a:pt x="2007" y="4604"/>
                      <a:pt x="2161" y="4098"/>
                      <a:pt x="2326" y="3595"/>
                    </a:cubicBezTo>
                    <a:cubicBezTo>
                      <a:pt x="2638" y="2587"/>
                      <a:pt x="2936" y="1571"/>
                      <a:pt x="3155" y="523"/>
                    </a:cubicBezTo>
                    <a:cubicBezTo>
                      <a:pt x="3195" y="340"/>
                      <a:pt x="3108" y="146"/>
                      <a:pt x="2936" y="53"/>
                    </a:cubicBezTo>
                    <a:cubicBezTo>
                      <a:pt x="2870" y="17"/>
                      <a:pt x="2799" y="0"/>
                      <a:pt x="27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4" name="Google Shape;734;p31"/>
              <p:cNvSpPr/>
              <p:nvPr/>
            </p:nvSpPr>
            <p:spPr>
              <a:xfrm>
                <a:off x="5288021" y="2719557"/>
                <a:ext cx="227950" cy="308348"/>
              </a:xfrm>
              <a:custGeom>
                <a:avLst/>
                <a:gdLst/>
                <a:ahLst/>
                <a:cxnLst/>
                <a:rect l="l" t="t" r="r" b="b"/>
                <a:pathLst>
                  <a:path w="5801" h="7847" extrusionOk="0">
                    <a:moveTo>
                      <a:pt x="2024" y="1"/>
                    </a:moveTo>
                    <a:cubicBezTo>
                      <a:pt x="1928" y="130"/>
                      <a:pt x="1863" y="223"/>
                      <a:pt x="1788" y="331"/>
                    </a:cubicBezTo>
                    <a:cubicBezTo>
                      <a:pt x="1716" y="438"/>
                      <a:pt x="1648" y="543"/>
                      <a:pt x="1579" y="650"/>
                    </a:cubicBezTo>
                    <a:cubicBezTo>
                      <a:pt x="1446" y="866"/>
                      <a:pt x="1321" y="1081"/>
                      <a:pt x="1203" y="1303"/>
                    </a:cubicBezTo>
                    <a:cubicBezTo>
                      <a:pt x="966" y="1745"/>
                      <a:pt x="761" y="2204"/>
                      <a:pt x="582" y="2678"/>
                    </a:cubicBezTo>
                    <a:cubicBezTo>
                      <a:pt x="227" y="3626"/>
                      <a:pt x="0" y="4652"/>
                      <a:pt x="15" y="5718"/>
                    </a:cubicBezTo>
                    <a:cubicBezTo>
                      <a:pt x="15" y="5822"/>
                      <a:pt x="18" y="6049"/>
                      <a:pt x="68" y="6256"/>
                    </a:cubicBezTo>
                    <a:cubicBezTo>
                      <a:pt x="115" y="6465"/>
                      <a:pt x="205" y="6680"/>
                      <a:pt x="330" y="6864"/>
                    </a:cubicBezTo>
                    <a:cubicBezTo>
                      <a:pt x="585" y="7240"/>
                      <a:pt x="933" y="7452"/>
                      <a:pt x="1235" y="7578"/>
                    </a:cubicBezTo>
                    <a:cubicBezTo>
                      <a:pt x="1544" y="7707"/>
                      <a:pt x="1831" y="7768"/>
                      <a:pt x="2104" y="7804"/>
                    </a:cubicBezTo>
                    <a:cubicBezTo>
                      <a:pt x="2380" y="7840"/>
                      <a:pt x="2642" y="7847"/>
                      <a:pt x="2901" y="7847"/>
                    </a:cubicBezTo>
                    <a:cubicBezTo>
                      <a:pt x="3927" y="7822"/>
                      <a:pt x="4860" y="7628"/>
                      <a:pt x="5800" y="7341"/>
                    </a:cubicBezTo>
                    <a:lnTo>
                      <a:pt x="5603" y="6397"/>
                    </a:lnTo>
                    <a:cubicBezTo>
                      <a:pt x="5166" y="6423"/>
                      <a:pt x="4720" y="6442"/>
                      <a:pt x="4281" y="6442"/>
                    </a:cubicBezTo>
                    <a:cubicBezTo>
                      <a:pt x="3831" y="6442"/>
                      <a:pt x="3389" y="6422"/>
                      <a:pt x="2972" y="6372"/>
                    </a:cubicBezTo>
                    <a:cubicBezTo>
                      <a:pt x="2563" y="6325"/>
                      <a:pt x="2161" y="6225"/>
                      <a:pt x="1928" y="6092"/>
                    </a:cubicBezTo>
                    <a:cubicBezTo>
                      <a:pt x="1809" y="6024"/>
                      <a:pt x="1763" y="5959"/>
                      <a:pt x="1769" y="5938"/>
                    </a:cubicBezTo>
                    <a:lnTo>
                      <a:pt x="1773" y="5905"/>
                    </a:lnTo>
                    <a:lnTo>
                      <a:pt x="1784" y="5754"/>
                    </a:lnTo>
                    <a:cubicBezTo>
                      <a:pt x="1834" y="4961"/>
                      <a:pt x="2061" y="4157"/>
                      <a:pt x="2376" y="3382"/>
                    </a:cubicBezTo>
                    <a:cubicBezTo>
                      <a:pt x="2538" y="2991"/>
                      <a:pt x="2728" y="2610"/>
                      <a:pt x="2929" y="2237"/>
                    </a:cubicBezTo>
                    <a:cubicBezTo>
                      <a:pt x="3030" y="2050"/>
                      <a:pt x="3137" y="1863"/>
                      <a:pt x="3249" y="1684"/>
                    </a:cubicBezTo>
                    <a:lnTo>
                      <a:pt x="3417" y="1419"/>
                    </a:lnTo>
                    <a:cubicBezTo>
                      <a:pt x="3471" y="1336"/>
                      <a:pt x="3539" y="1235"/>
                      <a:pt x="3578" y="1178"/>
                    </a:cubicBezTo>
                    <a:lnTo>
                      <a:pt x="2024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5" name="Google Shape;735;p31"/>
              <p:cNvSpPr/>
              <p:nvPr/>
            </p:nvSpPr>
            <p:spPr>
              <a:xfrm>
                <a:off x="5297766" y="2639787"/>
                <a:ext cx="193528" cy="199147"/>
              </a:xfrm>
              <a:custGeom>
                <a:avLst/>
                <a:gdLst/>
                <a:ahLst/>
                <a:cxnLst/>
                <a:rect l="l" t="t" r="r" b="b"/>
                <a:pathLst>
                  <a:path w="4925" h="5068" extrusionOk="0">
                    <a:moveTo>
                      <a:pt x="2971" y="1"/>
                    </a:moveTo>
                    <a:cubicBezTo>
                      <a:pt x="2873" y="1"/>
                      <a:pt x="2766" y="14"/>
                      <a:pt x="2649" y="43"/>
                    </a:cubicBezTo>
                    <a:cubicBezTo>
                      <a:pt x="1863" y="236"/>
                      <a:pt x="0" y="3338"/>
                      <a:pt x="0" y="3338"/>
                    </a:cubicBezTo>
                    <a:lnTo>
                      <a:pt x="4174" y="5067"/>
                    </a:lnTo>
                    <a:cubicBezTo>
                      <a:pt x="4174" y="5067"/>
                      <a:pt x="4924" y="2705"/>
                      <a:pt x="4454" y="1761"/>
                    </a:cubicBezTo>
                    <a:cubicBezTo>
                      <a:pt x="4017" y="883"/>
                      <a:pt x="3772" y="1"/>
                      <a:pt x="2971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6" name="Google Shape;736;p31"/>
              <p:cNvSpPr/>
              <p:nvPr/>
            </p:nvSpPr>
            <p:spPr>
              <a:xfrm>
                <a:off x="5488310" y="2958906"/>
                <a:ext cx="102442" cy="63068"/>
              </a:xfrm>
              <a:custGeom>
                <a:avLst/>
                <a:gdLst/>
                <a:ahLst/>
                <a:cxnLst/>
                <a:rect l="l" t="t" r="r" b="b"/>
                <a:pathLst>
                  <a:path w="2607" h="1605" extrusionOk="0">
                    <a:moveTo>
                      <a:pt x="2606" y="1"/>
                    </a:moveTo>
                    <a:lnTo>
                      <a:pt x="696" y="202"/>
                    </a:lnTo>
                    <a:lnTo>
                      <a:pt x="0" y="765"/>
                    </a:lnTo>
                    <a:cubicBezTo>
                      <a:pt x="312" y="1494"/>
                      <a:pt x="1533" y="1605"/>
                      <a:pt x="1533" y="1605"/>
                    </a:cubicBezTo>
                    <a:lnTo>
                      <a:pt x="2606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7" name="Google Shape;737;p31"/>
              <p:cNvSpPr/>
              <p:nvPr/>
            </p:nvSpPr>
            <p:spPr>
              <a:xfrm>
                <a:off x="5548510" y="2958906"/>
                <a:ext cx="95801" cy="96076"/>
              </a:xfrm>
              <a:custGeom>
                <a:avLst/>
                <a:gdLst/>
                <a:ahLst/>
                <a:cxnLst/>
                <a:rect l="l" t="t" r="r" b="b"/>
                <a:pathLst>
                  <a:path w="2438" h="2445" extrusionOk="0">
                    <a:moveTo>
                      <a:pt x="1074" y="1"/>
                    </a:moveTo>
                    <a:lnTo>
                      <a:pt x="1" y="1605"/>
                    </a:lnTo>
                    <a:lnTo>
                      <a:pt x="970" y="2445"/>
                    </a:lnTo>
                    <a:lnTo>
                      <a:pt x="2438" y="851"/>
                    </a:lnTo>
                    <a:lnTo>
                      <a:pt x="1074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8" name="Google Shape;738;p31"/>
              <p:cNvSpPr/>
              <p:nvPr/>
            </p:nvSpPr>
            <p:spPr>
              <a:xfrm>
                <a:off x="5395494" y="4767365"/>
                <a:ext cx="39099" cy="18940"/>
              </a:xfrm>
              <a:custGeom>
                <a:avLst/>
                <a:gdLst/>
                <a:ahLst/>
                <a:cxnLst/>
                <a:rect l="l" t="t" r="r" b="b"/>
                <a:pathLst>
                  <a:path w="995" h="482" extrusionOk="0">
                    <a:moveTo>
                      <a:pt x="796" y="88"/>
                    </a:moveTo>
                    <a:cubicBezTo>
                      <a:pt x="818" y="88"/>
                      <a:pt x="836" y="91"/>
                      <a:pt x="851" y="98"/>
                    </a:cubicBezTo>
                    <a:cubicBezTo>
                      <a:pt x="865" y="105"/>
                      <a:pt x="883" y="119"/>
                      <a:pt x="890" y="159"/>
                    </a:cubicBezTo>
                    <a:cubicBezTo>
                      <a:pt x="901" y="227"/>
                      <a:pt x="887" y="281"/>
                      <a:pt x="843" y="316"/>
                    </a:cubicBezTo>
                    <a:cubicBezTo>
                      <a:pt x="789" y="368"/>
                      <a:pt x="685" y="393"/>
                      <a:pt x="545" y="393"/>
                    </a:cubicBezTo>
                    <a:cubicBezTo>
                      <a:pt x="438" y="393"/>
                      <a:pt x="310" y="378"/>
                      <a:pt x="166" y="349"/>
                    </a:cubicBezTo>
                    <a:cubicBezTo>
                      <a:pt x="372" y="227"/>
                      <a:pt x="650" y="88"/>
                      <a:pt x="796" y="88"/>
                    </a:cubicBezTo>
                    <a:close/>
                    <a:moveTo>
                      <a:pt x="792" y="1"/>
                    </a:moveTo>
                    <a:cubicBezTo>
                      <a:pt x="533" y="1"/>
                      <a:pt x="82" y="297"/>
                      <a:pt x="25" y="334"/>
                    </a:cubicBezTo>
                    <a:cubicBezTo>
                      <a:pt x="11" y="342"/>
                      <a:pt x="0" y="359"/>
                      <a:pt x="4" y="378"/>
                    </a:cubicBezTo>
                    <a:cubicBezTo>
                      <a:pt x="7" y="396"/>
                      <a:pt x="22" y="410"/>
                      <a:pt x="40" y="414"/>
                    </a:cubicBezTo>
                    <a:cubicBezTo>
                      <a:pt x="172" y="446"/>
                      <a:pt x="366" y="482"/>
                      <a:pt x="542" y="482"/>
                    </a:cubicBezTo>
                    <a:cubicBezTo>
                      <a:pt x="689" y="482"/>
                      <a:pt x="825" y="457"/>
                      <a:pt x="905" y="385"/>
                    </a:cubicBezTo>
                    <a:cubicBezTo>
                      <a:pt x="969" y="328"/>
                      <a:pt x="994" y="245"/>
                      <a:pt x="980" y="144"/>
                    </a:cubicBezTo>
                    <a:cubicBezTo>
                      <a:pt x="969" y="69"/>
                      <a:pt x="923" y="33"/>
                      <a:pt x="887" y="19"/>
                    </a:cubicBezTo>
                    <a:cubicBezTo>
                      <a:pt x="860" y="7"/>
                      <a:pt x="828" y="1"/>
                      <a:pt x="792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39" name="Google Shape;739;p31"/>
              <p:cNvSpPr/>
              <p:nvPr/>
            </p:nvSpPr>
            <p:spPr>
              <a:xfrm>
                <a:off x="5395612" y="4749799"/>
                <a:ext cx="23341" cy="33990"/>
              </a:xfrm>
              <a:custGeom>
                <a:avLst/>
                <a:gdLst/>
                <a:ahLst/>
                <a:cxnLst/>
                <a:rect l="l" t="t" r="r" b="b"/>
                <a:pathLst>
                  <a:path w="594" h="865" extrusionOk="0">
                    <a:moveTo>
                      <a:pt x="385" y="92"/>
                    </a:moveTo>
                    <a:cubicBezTo>
                      <a:pt x="446" y="100"/>
                      <a:pt x="456" y="125"/>
                      <a:pt x="461" y="147"/>
                    </a:cubicBezTo>
                    <a:cubicBezTo>
                      <a:pt x="489" y="279"/>
                      <a:pt x="274" y="588"/>
                      <a:pt x="94" y="731"/>
                    </a:cubicBezTo>
                    <a:cubicBezTo>
                      <a:pt x="101" y="548"/>
                      <a:pt x="144" y="240"/>
                      <a:pt x="267" y="132"/>
                    </a:cubicBezTo>
                    <a:cubicBezTo>
                      <a:pt x="295" y="103"/>
                      <a:pt x="327" y="92"/>
                      <a:pt x="367" y="92"/>
                    </a:cubicBezTo>
                    <a:close/>
                    <a:moveTo>
                      <a:pt x="361" y="0"/>
                    </a:moveTo>
                    <a:cubicBezTo>
                      <a:pt x="303" y="0"/>
                      <a:pt x="250" y="22"/>
                      <a:pt x="206" y="64"/>
                    </a:cubicBezTo>
                    <a:cubicBezTo>
                      <a:pt x="1" y="246"/>
                      <a:pt x="1" y="796"/>
                      <a:pt x="1" y="818"/>
                    </a:cubicBezTo>
                    <a:cubicBezTo>
                      <a:pt x="1" y="836"/>
                      <a:pt x="12" y="849"/>
                      <a:pt x="22" y="857"/>
                    </a:cubicBezTo>
                    <a:cubicBezTo>
                      <a:pt x="30" y="861"/>
                      <a:pt x="37" y="864"/>
                      <a:pt x="47" y="864"/>
                    </a:cubicBezTo>
                    <a:cubicBezTo>
                      <a:pt x="55" y="864"/>
                      <a:pt x="62" y="861"/>
                      <a:pt x="69" y="857"/>
                    </a:cubicBezTo>
                    <a:cubicBezTo>
                      <a:pt x="249" y="756"/>
                      <a:pt x="593" y="344"/>
                      <a:pt x="550" y="128"/>
                    </a:cubicBezTo>
                    <a:cubicBezTo>
                      <a:pt x="542" y="89"/>
                      <a:pt x="511" y="17"/>
                      <a:pt x="396" y="3"/>
                    </a:cubicBezTo>
                    <a:cubicBezTo>
                      <a:pt x="384" y="1"/>
                      <a:pt x="373" y="0"/>
                      <a:pt x="36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0" name="Google Shape;740;p31"/>
              <p:cNvSpPr/>
              <p:nvPr/>
            </p:nvSpPr>
            <p:spPr>
              <a:xfrm>
                <a:off x="5732413" y="4767404"/>
                <a:ext cx="46722" cy="19058"/>
              </a:xfrm>
              <a:custGeom>
                <a:avLst/>
                <a:gdLst/>
                <a:ahLst/>
                <a:cxnLst/>
                <a:rect l="l" t="t" r="r" b="b"/>
                <a:pathLst>
                  <a:path w="1189" h="485" extrusionOk="0">
                    <a:moveTo>
                      <a:pt x="977" y="88"/>
                    </a:moveTo>
                    <a:cubicBezTo>
                      <a:pt x="1011" y="88"/>
                      <a:pt x="1039" y="93"/>
                      <a:pt x="1060" y="104"/>
                    </a:cubicBezTo>
                    <a:cubicBezTo>
                      <a:pt x="1081" y="115"/>
                      <a:pt x="1089" y="129"/>
                      <a:pt x="1092" y="154"/>
                    </a:cubicBezTo>
                    <a:cubicBezTo>
                      <a:pt x="1099" y="215"/>
                      <a:pt x="1081" y="262"/>
                      <a:pt x="1042" y="298"/>
                    </a:cubicBezTo>
                    <a:cubicBezTo>
                      <a:pt x="973" y="361"/>
                      <a:pt x="830" y="392"/>
                      <a:pt x="634" y="392"/>
                    </a:cubicBezTo>
                    <a:cubicBezTo>
                      <a:pt x="506" y="392"/>
                      <a:pt x="356" y="378"/>
                      <a:pt x="188" y="352"/>
                    </a:cubicBezTo>
                    <a:cubicBezTo>
                      <a:pt x="449" y="225"/>
                      <a:pt x="798" y="88"/>
                      <a:pt x="977" y="88"/>
                    </a:cubicBezTo>
                    <a:close/>
                    <a:moveTo>
                      <a:pt x="979" y="0"/>
                    </a:moveTo>
                    <a:cubicBezTo>
                      <a:pt x="673" y="0"/>
                      <a:pt x="100" y="293"/>
                      <a:pt x="26" y="330"/>
                    </a:cubicBezTo>
                    <a:cubicBezTo>
                      <a:pt x="12" y="341"/>
                      <a:pt x="1" y="358"/>
                      <a:pt x="4" y="377"/>
                    </a:cubicBezTo>
                    <a:cubicBezTo>
                      <a:pt x="4" y="395"/>
                      <a:pt x="19" y="409"/>
                      <a:pt x="40" y="416"/>
                    </a:cubicBezTo>
                    <a:cubicBezTo>
                      <a:pt x="202" y="449"/>
                      <a:pt x="428" y="484"/>
                      <a:pt x="640" y="484"/>
                    </a:cubicBezTo>
                    <a:cubicBezTo>
                      <a:pt x="830" y="484"/>
                      <a:pt x="1003" y="452"/>
                      <a:pt x="1103" y="366"/>
                    </a:cubicBezTo>
                    <a:cubicBezTo>
                      <a:pt x="1164" y="308"/>
                      <a:pt x="1189" y="237"/>
                      <a:pt x="1182" y="143"/>
                    </a:cubicBezTo>
                    <a:cubicBezTo>
                      <a:pt x="1175" y="93"/>
                      <a:pt x="1150" y="50"/>
                      <a:pt x="1103" y="25"/>
                    </a:cubicBezTo>
                    <a:cubicBezTo>
                      <a:pt x="1070" y="8"/>
                      <a:pt x="1028" y="0"/>
                      <a:pt x="979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1" name="Google Shape;741;p31"/>
              <p:cNvSpPr/>
              <p:nvPr/>
            </p:nvSpPr>
            <p:spPr>
              <a:xfrm>
                <a:off x="5732413" y="4749799"/>
                <a:ext cx="29118" cy="33990"/>
              </a:xfrm>
              <a:custGeom>
                <a:avLst/>
                <a:gdLst/>
                <a:ahLst/>
                <a:cxnLst/>
                <a:rect l="l" t="t" r="r" b="b"/>
                <a:pathLst>
                  <a:path w="741" h="865" extrusionOk="0">
                    <a:moveTo>
                      <a:pt x="525" y="92"/>
                    </a:moveTo>
                    <a:cubicBezTo>
                      <a:pt x="607" y="100"/>
                      <a:pt x="612" y="135"/>
                      <a:pt x="615" y="147"/>
                    </a:cubicBezTo>
                    <a:cubicBezTo>
                      <a:pt x="637" y="276"/>
                      <a:pt x="332" y="599"/>
                      <a:pt x="102" y="738"/>
                    </a:cubicBezTo>
                    <a:cubicBezTo>
                      <a:pt x="123" y="588"/>
                      <a:pt x="184" y="279"/>
                      <a:pt x="342" y="150"/>
                    </a:cubicBezTo>
                    <a:cubicBezTo>
                      <a:pt x="389" y="110"/>
                      <a:pt x="439" y="92"/>
                      <a:pt x="496" y="92"/>
                    </a:cubicBezTo>
                    <a:close/>
                    <a:moveTo>
                      <a:pt x="496" y="1"/>
                    </a:moveTo>
                    <a:cubicBezTo>
                      <a:pt x="420" y="1"/>
                      <a:pt x="347" y="29"/>
                      <a:pt x="284" y="82"/>
                    </a:cubicBezTo>
                    <a:cubicBezTo>
                      <a:pt x="44" y="279"/>
                      <a:pt x="4" y="793"/>
                      <a:pt x="4" y="814"/>
                    </a:cubicBezTo>
                    <a:cubicBezTo>
                      <a:pt x="1" y="832"/>
                      <a:pt x="9" y="846"/>
                      <a:pt x="22" y="857"/>
                    </a:cubicBezTo>
                    <a:cubicBezTo>
                      <a:pt x="30" y="861"/>
                      <a:pt x="40" y="864"/>
                      <a:pt x="47" y="864"/>
                    </a:cubicBezTo>
                    <a:cubicBezTo>
                      <a:pt x="55" y="864"/>
                      <a:pt x="62" y="861"/>
                      <a:pt x="65" y="861"/>
                    </a:cubicBezTo>
                    <a:cubicBezTo>
                      <a:pt x="299" y="753"/>
                      <a:pt x="741" y="351"/>
                      <a:pt x="705" y="132"/>
                    </a:cubicBezTo>
                    <a:cubicBezTo>
                      <a:pt x="693" y="78"/>
                      <a:pt x="658" y="14"/>
                      <a:pt x="532" y="3"/>
                    </a:cubicBezTo>
                    <a:cubicBezTo>
                      <a:pt x="520" y="1"/>
                      <a:pt x="508" y="1"/>
                      <a:pt x="496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2" name="Google Shape;742;p31"/>
              <p:cNvSpPr/>
              <p:nvPr/>
            </p:nvSpPr>
            <p:spPr>
              <a:xfrm>
                <a:off x="5530867" y="2460324"/>
                <a:ext cx="185944" cy="209207"/>
              </a:xfrm>
              <a:custGeom>
                <a:avLst/>
                <a:gdLst/>
                <a:ahLst/>
                <a:cxnLst/>
                <a:rect l="l" t="t" r="r" b="b"/>
                <a:pathLst>
                  <a:path w="4732" h="5324" extrusionOk="0">
                    <a:moveTo>
                      <a:pt x="44" y="1"/>
                    </a:moveTo>
                    <a:lnTo>
                      <a:pt x="44" y="1"/>
                    </a:lnTo>
                    <a:cubicBezTo>
                      <a:pt x="274" y="1131"/>
                      <a:pt x="787" y="3421"/>
                      <a:pt x="1" y="4179"/>
                    </a:cubicBezTo>
                    <a:cubicBezTo>
                      <a:pt x="1" y="4179"/>
                      <a:pt x="320" y="5324"/>
                      <a:pt x="2420" y="5324"/>
                    </a:cubicBezTo>
                    <a:cubicBezTo>
                      <a:pt x="4732" y="5324"/>
                      <a:pt x="3518" y="4179"/>
                      <a:pt x="3518" y="4179"/>
                    </a:cubicBezTo>
                    <a:cubicBezTo>
                      <a:pt x="2255" y="3877"/>
                      <a:pt x="2280" y="2940"/>
                      <a:pt x="2496" y="2061"/>
                    </a:cubicBezTo>
                    <a:lnTo>
                      <a:pt x="44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3" name="Google Shape;743;p31"/>
              <p:cNvSpPr/>
              <p:nvPr/>
            </p:nvSpPr>
            <p:spPr>
              <a:xfrm>
                <a:off x="5716066" y="2364954"/>
                <a:ext cx="35444" cy="16268"/>
              </a:xfrm>
              <a:custGeom>
                <a:avLst/>
                <a:gdLst/>
                <a:ahLst/>
                <a:cxnLst/>
                <a:rect l="l" t="t" r="r" b="b"/>
                <a:pathLst>
                  <a:path w="902" h="414" extrusionOk="0">
                    <a:moveTo>
                      <a:pt x="668" y="0"/>
                    </a:moveTo>
                    <a:cubicBezTo>
                      <a:pt x="514" y="0"/>
                      <a:pt x="268" y="41"/>
                      <a:pt x="37" y="256"/>
                    </a:cubicBezTo>
                    <a:cubicBezTo>
                      <a:pt x="1" y="291"/>
                      <a:pt x="1" y="349"/>
                      <a:pt x="33" y="385"/>
                    </a:cubicBezTo>
                    <a:cubicBezTo>
                      <a:pt x="51" y="403"/>
                      <a:pt x="76" y="414"/>
                      <a:pt x="102" y="414"/>
                    </a:cubicBezTo>
                    <a:cubicBezTo>
                      <a:pt x="123" y="414"/>
                      <a:pt x="145" y="407"/>
                      <a:pt x="162" y="389"/>
                    </a:cubicBezTo>
                    <a:cubicBezTo>
                      <a:pt x="349" y="213"/>
                      <a:pt x="548" y="181"/>
                      <a:pt x="669" y="181"/>
                    </a:cubicBezTo>
                    <a:cubicBezTo>
                      <a:pt x="733" y="181"/>
                      <a:pt x="774" y="190"/>
                      <a:pt x="780" y="192"/>
                    </a:cubicBezTo>
                    <a:cubicBezTo>
                      <a:pt x="786" y="193"/>
                      <a:pt x="793" y="194"/>
                      <a:pt x="800" y="194"/>
                    </a:cubicBezTo>
                    <a:cubicBezTo>
                      <a:pt x="842" y="194"/>
                      <a:pt x="879" y="167"/>
                      <a:pt x="891" y="127"/>
                    </a:cubicBezTo>
                    <a:cubicBezTo>
                      <a:pt x="902" y="76"/>
                      <a:pt x="873" y="26"/>
                      <a:pt x="823" y="16"/>
                    </a:cubicBezTo>
                    <a:cubicBezTo>
                      <a:pt x="817" y="14"/>
                      <a:pt x="758" y="0"/>
                      <a:pt x="66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4" name="Google Shape;744;p31"/>
              <p:cNvSpPr/>
              <p:nvPr/>
            </p:nvSpPr>
            <p:spPr>
              <a:xfrm>
                <a:off x="5721292" y="2426884"/>
                <a:ext cx="21887" cy="44757"/>
              </a:xfrm>
              <a:custGeom>
                <a:avLst/>
                <a:gdLst/>
                <a:ahLst/>
                <a:cxnLst/>
                <a:rect l="l" t="t" r="r" b="b"/>
                <a:pathLst>
                  <a:path w="557" h="1139" extrusionOk="0">
                    <a:moveTo>
                      <a:pt x="244" y="1"/>
                    </a:moveTo>
                    <a:lnTo>
                      <a:pt x="0" y="1056"/>
                    </a:lnTo>
                    <a:cubicBezTo>
                      <a:pt x="0" y="1056"/>
                      <a:pt x="159" y="1139"/>
                      <a:pt x="336" y="1139"/>
                    </a:cubicBezTo>
                    <a:cubicBezTo>
                      <a:pt x="410" y="1139"/>
                      <a:pt x="487" y="1125"/>
                      <a:pt x="557" y="1084"/>
                    </a:cubicBezTo>
                    <a:cubicBezTo>
                      <a:pt x="348" y="705"/>
                      <a:pt x="244" y="1"/>
                      <a:pt x="244" y="1"/>
                    </a:cubicBezTo>
                    <a:close/>
                  </a:path>
                </a:pathLst>
              </a:custGeom>
              <a:solidFill>
                <a:srgbClr val="DE575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5" name="Google Shape;745;p31"/>
              <p:cNvSpPr/>
              <p:nvPr/>
            </p:nvSpPr>
            <p:spPr>
              <a:xfrm>
                <a:off x="5726637" y="2406332"/>
                <a:ext cx="16543" cy="21691"/>
              </a:xfrm>
              <a:custGeom>
                <a:avLst/>
                <a:gdLst/>
                <a:ahLst/>
                <a:cxnLst/>
                <a:rect l="l" t="t" r="r" b="b"/>
                <a:pathLst>
                  <a:path w="421" h="552" extrusionOk="0">
                    <a:moveTo>
                      <a:pt x="248" y="1"/>
                    </a:moveTo>
                    <a:cubicBezTo>
                      <a:pt x="159" y="1"/>
                      <a:pt x="66" y="99"/>
                      <a:pt x="33" y="233"/>
                    </a:cubicBezTo>
                    <a:cubicBezTo>
                      <a:pt x="1" y="384"/>
                      <a:pt x="51" y="524"/>
                      <a:pt x="148" y="549"/>
                    </a:cubicBezTo>
                    <a:cubicBezTo>
                      <a:pt x="156" y="551"/>
                      <a:pt x="165" y="552"/>
                      <a:pt x="174" y="552"/>
                    </a:cubicBezTo>
                    <a:cubicBezTo>
                      <a:pt x="264" y="552"/>
                      <a:pt x="356" y="453"/>
                      <a:pt x="388" y="320"/>
                    </a:cubicBezTo>
                    <a:cubicBezTo>
                      <a:pt x="421" y="169"/>
                      <a:pt x="371" y="28"/>
                      <a:pt x="274" y="3"/>
                    </a:cubicBezTo>
                    <a:cubicBezTo>
                      <a:pt x="265" y="2"/>
                      <a:pt x="257" y="1"/>
                      <a:pt x="248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6" name="Google Shape;746;p31"/>
              <p:cNvSpPr/>
              <p:nvPr/>
            </p:nvSpPr>
            <p:spPr>
              <a:xfrm>
                <a:off x="5735557" y="2405743"/>
                <a:ext cx="15129" cy="4401"/>
              </a:xfrm>
              <a:custGeom>
                <a:avLst/>
                <a:gdLst/>
                <a:ahLst/>
                <a:cxnLst/>
                <a:rect l="l" t="t" r="r" b="b"/>
                <a:pathLst>
                  <a:path w="385" h="112" extrusionOk="0">
                    <a:moveTo>
                      <a:pt x="384" y="0"/>
                    </a:moveTo>
                    <a:lnTo>
                      <a:pt x="0" y="18"/>
                    </a:lnTo>
                    <a:cubicBezTo>
                      <a:pt x="43" y="88"/>
                      <a:pt x="97" y="111"/>
                      <a:pt x="151" y="111"/>
                    </a:cubicBezTo>
                    <a:cubicBezTo>
                      <a:pt x="268" y="111"/>
                      <a:pt x="384" y="0"/>
                      <a:pt x="38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7" name="Google Shape;747;p31"/>
              <p:cNvSpPr/>
              <p:nvPr/>
            </p:nvSpPr>
            <p:spPr>
              <a:xfrm>
                <a:off x="5651897" y="4608414"/>
                <a:ext cx="78865" cy="173527"/>
              </a:xfrm>
              <a:custGeom>
                <a:avLst/>
                <a:gdLst/>
                <a:ahLst/>
                <a:cxnLst/>
                <a:rect l="l" t="t" r="r" b="b"/>
                <a:pathLst>
                  <a:path w="2007" h="4416" extrusionOk="0">
                    <a:moveTo>
                      <a:pt x="101" y="1"/>
                    </a:moveTo>
                    <a:lnTo>
                      <a:pt x="1" y="4416"/>
                    </a:lnTo>
                    <a:lnTo>
                      <a:pt x="1907" y="4416"/>
                    </a:lnTo>
                    <a:lnTo>
                      <a:pt x="2007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8" name="Google Shape;748;p31"/>
              <p:cNvSpPr/>
              <p:nvPr/>
            </p:nvSpPr>
            <p:spPr>
              <a:xfrm>
                <a:off x="5311559" y="4608414"/>
                <a:ext cx="97923" cy="173527"/>
              </a:xfrm>
              <a:custGeom>
                <a:avLst/>
                <a:gdLst/>
                <a:ahLst/>
                <a:cxnLst/>
                <a:rect l="l" t="t" r="r" b="b"/>
                <a:pathLst>
                  <a:path w="2492" h="4416" extrusionOk="0">
                    <a:moveTo>
                      <a:pt x="586" y="1"/>
                    </a:moveTo>
                    <a:lnTo>
                      <a:pt x="1" y="4416"/>
                    </a:lnTo>
                    <a:lnTo>
                      <a:pt x="1906" y="4416"/>
                    </a:lnTo>
                    <a:lnTo>
                      <a:pt x="2492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49" name="Google Shape;749;p31"/>
              <p:cNvSpPr/>
              <p:nvPr/>
            </p:nvSpPr>
            <p:spPr>
              <a:xfrm>
                <a:off x="5290811" y="4773298"/>
                <a:ext cx="214001" cy="85074"/>
              </a:xfrm>
              <a:custGeom>
                <a:avLst/>
                <a:gdLst/>
                <a:ahLst/>
                <a:cxnLst/>
                <a:rect l="l" t="t" r="r" b="b"/>
                <a:pathLst>
                  <a:path w="5446" h="2165" extrusionOk="0">
                    <a:moveTo>
                      <a:pt x="410" y="1"/>
                    </a:moveTo>
                    <a:cubicBezTo>
                      <a:pt x="331" y="1"/>
                      <a:pt x="270" y="54"/>
                      <a:pt x="259" y="130"/>
                    </a:cubicBezTo>
                    <a:lnTo>
                      <a:pt x="26" y="1824"/>
                    </a:lnTo>
                    <a:cubicBezTo>
                      <a:pt x="1" y="1998"/>
                      <a:pt x="152" y="2161"/>
                      <a:pt x="329" y="2161"/>
                    </a:cubicBezTo>
                    <a:cubicBezTo>
                      <a:pt x="331" y="2161"/>
                      <a:pt x="333" y="2161"/>
                      <a:pt x="335" y="2161"/>
                    </a:cubicBezTo>
                    <a:cubicBezTo>
                      <a:pt x="1082" y="2151"/>
                      <a:pt x="1440" y="2108"/>
                      <a:pt x="2381" y="2108"/>
                    </a:cubicBezTo>
                    <a:cubicBezTo>
                      <a:pt x="2962" y="2108"/>
                      <a:pt x="3809" y="2165"/>
                      <a:pt x="4609" y="2165"/>
                    </a:cubicBezTo>
                    <a:cubicBezTo>
                      <a:pt x="5392" y="2165"/>
                      <a:pt x="5446" y="1376"/>
                      <a:pt x="5112" y="1303"/>
                    </a:cubicBezTo>
                    <a:cubicBezTo>
                      <a:pt x="3615" y="984"/>
                      <a:pt x="3378" y="539"/>
                      <a:pt x="2873" y="115"/>
                    </a:cubicBezTo>
                    <a:cubicBezTo>
                      <a:pt x="2779" y="40"/>
                      <a:pt x="2668" y="1"/>
                      <a:pt x="2553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0" name="Google Shape;750;p31"/>
              <p:cNvSpPr/>
              <p:nvPr/>
            </p:nvSpPr>
            <p:spPr>
              <a:xfrm>
                <a:off x="5629184" y="4773298"/>
                <a:ext cx="227675" cy="85074"/>
              </a:xfrm>
              <a:custGeom>
                <a:avLst/>
                <a:gdLst/>
                <a:ahLst/>
                <a:cxnLst/>
                <a:rect l="l" t="t" r="r" b="b"/>
                <a:pathLst>
                  <a:path w="5794" h="2165" extrusionOk="0">
                    <a:moveTo>
                      <a:pt x="406" y="1"/>
                    </a:moveTo>
                    <a:cubicBezTo>
                      <a:pt x="331" y="1"/>
                      <a:pt x="267" y="54"/>
                      <a:pt x="255" y="130"/>
                    </a:cubicBezTo>
                    <a:lnTo>
                      <a:pt x="22" y="1824"/>
                    </a:lnTo>
                    <a:cubicBezTo>
                      <a:pt x="1" y="1998"/>
                      <a:pt x="148" y="2161"/>
                      <a:pt x="326" y="2161"/>
                    </a:cubicBezTo>
                    <a:cubicBezTo>
                      <a:pt x="328" y="2161"/>
                      <a:pt x="329" y="2161"/>
                      <a:pt x="331" y="2161"/>
                    </a:cubicBezTo>
                    <a:cubicBezTo>
                      <a:pt x="1077" y="2151"/>
                      <a:pt x="1437" y="2108"/>
                      <a:pt x="2381" y="2108"/>
                    </a:cubicBezTo>
                    <a:cubicBezTo>
                      <a:pt x="2959" y="2108"/>
                      <a:pt x="4157" y="2165"/>
                      <a:pt x="4957" y="2165"/>
                    </a:cubicBezTo>
                    <a:cubicBezTo>
                      <a:pt x="5740" y="2165"/>
                      <a:pt x="5794" y="1376"/>
                      <a:pt x="5460" y="1303"/>
                    </a:cubicBezTo>
                    <a:cubicBezTo>
                      <a:pt x="3967" y="984"/>
                      <a:pt x="3375" y="539"/>
                      <a:pt x="2868" y="115"/>
                    </a:cubicBezTo>
                    <a:cubicBezTo>
                      <a:pt x="2779" y="40"/>
                      <a:pt x="2664" y="1"/>
                      <a:pt x="2549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1" name="Google Shape;751;p31"/>
              <p:cNvSpPr/>
              <p:nvPr/>
            </p:nvSpPr>
            <p:spPr>
              <a:xfrm>
                <a:off x="5653744" y="4608571"/>
                <a:ext cx="77018" cy="89475"/>
              </a:xfrm>
              <a:custGeom>
                <a:avLst/>
                <a:gdLst/>
                <a:ahLst/>
                <a:cxnLst/>
                <a:rect l="l" t="t" r="r" b="b"/>
                <a:pathLst>
                  <a:path w="1960" h="2277" extrusionOk="0">
                    <a:moveTo>
                      <a:pt x="51" y="0"/>
                    </a:moveTo>
                    <a:lnTo>
                      <a:pt x="0" y="2276"/>
                    </a:lnTo>
                    <a:lnTo>
                      <a:pt x="1910" y="2276"/>
                    </a:lnTo>
                    <a:lnTo>
                      <a:pt x="1960" y="0"/>
                    </a:lnTo>
                    <a:close/>
                  </a:path>
                </a:pathLst>
              </a:custGeom>
              <a:solidFill>
                <a:srgbClr val="CE6F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2" name="Google Shape;752;p31"/>
              <p:cNvSpPr/>
              <p:nvPr/>
            </p:nvSpPr>
            <p:spPr>
              <a:xfrm>
                <a:off x="5322718" y="4608571"/>
                <a:ext cx="86763" cy="89475"/>
              </a:xfrm>
              <a:custGeom>
                <a:avLst/>
                <a:gdLst/>
                <a:ahLst/>
                <a:cxnLst/>
                <a:rect l="l" t="t" r="r" b="b"/>
                <a:pathLst>
                  <a:path w="2208" h="2277" extrusionOk="0">
                    <a:moveTo>
                      <a:pt x="302" y="0"/>
                    </a:moveTo>
                    <a:lnTo>
                      <a:pt x="0" y="2276"/>
                    </a:lnTo>
                    <a:lnTo>
                      <a:pt x="1906" y="2276"/>
                    </a:lnTo>
                    <a:lnTo>
                      <a:pt x="2208" y="0"/>
                    </a:lnTo>
                    <a:close/>
                  </a:path>
                </a:pathLst>
              </a:custGeom>
              <a:solidFill>
                <a:srgbClr val="CE6F6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3" name="Google Shape;753;p31"/>
              <p:cNvSpPr/>
              <p:nvPr/>
            </p:nvSpPr>
            <p:spPr>
              <a:xfrm>
                <a:off x="5401860" y="2621986"/>
                <a:ext cx="429730" cy="473741"/>
              </a:xfrm>
              <a:custGeom>
                <a:avLst/>
                <a:gdLst/>
                <a:ahLst/>
                <a:cxnLst/>
                <a:rect l="l" t="t" r="r" b="b"/>
                <a:pathLst>
                  <a:path w="10936" h="12056" extrusionOk="0">
                    <a:moveTo>
                      <a:pt x="5294" y="1"/>
                    </a:moveTo>
                    <a:cubicBezTo>
                      <a:pt x="4661" y="1"/>
                      <a:pt x="4009" y="29"/>
                      <a:pt x="3284" y="65"/>
                    </a:cubicBezTo>
                    <a:cubicBezTo>
                      <a:pt x="1622" y="143"/>
                      <a:pt x="0" y="496"/>
                      <a:pt x="0" y="496"/>
                    </a:cubicBezTo>
                    <a:cubicBezTo>
                      <a:pt x="1551" y="6963"/>
                      <a:pt x="1558" y="8905"/>
                      <a:pt x="1450" y="12056"/>
                    </a:cubicBezTo>
                    <a:lnTo>
                      <a:pt x="9188" y="12056"/>
                    </a:lnTo>
                    <a:cubicBezTo>
                      <a:pt x="10936" y="872"/>
                      <a:pt x="10025" y="552"/>
                      <a:pt x="10025" y="552"/>
                    </a:cubicBezTo>
                    <a:cubicBezTo>
                      <a:pt x="10025" y="552"/>
                      <a:pt x="8313" y="201"/>
                      <a:pt x="6801" y="65"/>
                    </a:cubicBezTo>
                    <a:cubicBezTo>
                      <a:pt x="6292" y="19"/>
                      <a:pt x="5799" y="1"/>
                      <a:pt x="5294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4" name="Google Shape;754;p31"/>
              <p:cNvSpPr/>
              <p:nvPr/>
            </p:nvSpPr>
            <p:spPr>
              <a:xfrm>
                <a:off x="5744595" y="2726905"/>
                <a:ext cx="303515" cy="331846"/>
              </a:xfrm>
              <a:custGeom>
                <a:avLst/>
                <a:gdLst/>
                <a:ahLst/>
                <a:cxnLst/>
                <a:rect l="l" t="t" r="r" b="b"/>
                <a:pathLst>
                  <a:path w="7724" h="8445" extrusionOk="0">
                    <a:moveTo>
                      <a:pt x="1927" y="1"/>
                    </a:moveTo>
                    <a:lnTo>
                      <a:pt x="0" y="284"/>
                    </a:lnTo>
                    <a:cubicBezTo>
                      <a:pt x="79" y="844"/>
                      <a:pt x="179" y="1364"/>
                      <a:pt x="290" y="1896"/>
                    </a:cubicBezTo>
                    <a:cubicBezTo>
                      <a:pt x="398" y="2426"/>
                      <a:pt x="534" y="2954"/>
                      <a:pt x="682" y="3478"/>
                    </a:cubicBezTo>
                    <a:cubicBezTo>
                      <a:pt x="980" y="4530"/>
                      <a:pt x="1331" y="5578"/>
                      <a:pt x="1895" y="6608"/>
                    </a:cubicBezTo>
                    <a:cubicBezTo>
                      <a:pt x="2038" y="6866"/>
                      <a:pt x="2200" y="7121"/>
                      <a:pt x="2391" y="7376"/>
                    </a:cubicBezTo>
                    <a:cubicBezTo>
                      <a:pt x="2484" y="7502"/>
                      <a:pt x="2595" y="7628"/>
                      <a:pt x="2706" y="7749"/>
                    </a:cubicBezTo>
                    <a:cubicBezTo>
                      <a:pt x="2839" y="7890"/>
                      <a:pt x="2997" y="8026"/>
                      <a:pt x="3180" y="8141"/>
                    </a:cubicBezTo>
                    <a:cubicBezTo>
                      <a:pt x="3481" y="8337"/>
                      <a:pt x="3873" y="8445"/>
                      <a:pt x="4235" y="8445"/>
                    </a:cubicBezTo>
                    <a:cubicBezTo>
                      <a:pt x="4317" y="8445"/>
                      <a:pt x="4398" y="8439"/>
                      <a:pt x="4475" y="8428"/>
                    </a:cubicBezTo>
                    <a:cubicBezTo>
                      <a:pt x="4903" y="8374"/>
                      <a:pt x="5240" y="8213"/>
                      <a:pt x="5524" y="8037"/>
                    </a:cubicBezTo>
                    <a:cubicBezTo>
                      <a:pt x="6087" y="7678"/>
                      <a:pt x="6475" y="7237"/>
                      <a:pt x="6830" y="6791"/>
                    </a:cubicBezTo>
                    <a:cubicBezTo>
                      <a:pt x="7006" y="6569"/>
                      <a:pt x="7167" y="6339"/>
                      <a:pt x="7311" y="6102"/>
                    </a:cubicBezTo>
                    <a:cubicBezTo>
                      <a:pt x="7462" y="5862"/>
                      <a:pt x="7595" y="5632"/>
                      <a:pt x="7724" y="5367"/>
                    </a:cubicBezTo>
                    <a:lnTo>
                      <a:pt x="6909" y="4850"/>
                    </a:lnTo>
                    <a:cubicBezTo>
                      <a:pt x="6755" y="5025"/>
                      <a:pt x="6579" y="5219"/>
                      <a:pt x="6407" y="5398"/>
                    </a:cubicBezTo>
                    <a:cubicBezTo>
                      <a:pt x="6231" y="5574"/>
                      <a:pt x="6052" y="5746"/>
                      <a:pt x="5872" y="5912"/>
                    </a:cubicBezTo>
                    <a:cubicBezTo>
                      <a:pt x="5517" y="6238"/>
                      <a:pt x="5121" y="6522"/>
                      <a:pt x="4770" y="6684"/>
                    </a:cubicBezTo>
                    <a:cubicBezTo>
                      <a:pt x="4608" y="6756"/>
                      <a:pt x="4459" y="6792"/>
                      <a:pt x="4358" y="6792"/>
                    </a:cubicBezTo>
                    <a:cubicBezTo>
                      <a:pt x="4349" y="6792"/>
                      <a:pt x="4340" y="6792"/>
                      <a:pt x="4332" y="6791"/>
                    </a:cubicBezTo>
                    <a:cubicBezTo>
                      <a:pt x="4231" y="6784"/>
                      <a:pt x="4200" y="6755"/>
                      <a:pt x="4131" y="6702"/>
                    </a:cubicBezTo>
                    <a:cubicBezTo>
                      <a:pt x="4095" y="6672"/>
                      <a:pt x="4056" y="6629"/>
                      <a:pt x="4013" y="6576"/>
                    </a:cubicBezTo>
                    <a:cubicBezTo>
                      <a:pt x="3955" y="6497"/>
                      <a:pt x="3894" y="6422"/>
                      <a:pt x="3837" y="6332"/>
                    </a:cubicBezTo>
                    <a:cubicBezTo>
                      <a:pt x="3722" y="6160"/>
                      <a:pt x="3610" y="5966"/>
                      <a:pt x="3514" y="5754"/>
                    </a:cubicBezTo>
                    <a:cubicBezTo>
                      <a:pt x="3305" y="5342"/>
                      <a:pt x="3133" y="4882"/>
                      <a:pt x="2979" y="4415"/>
                    </a:cubicBezTo>
                    <a:cubicBezTo>
                      <a:pt x="2821" y="3949"/>
                      <a:pt x="2681" y="3464"/>
                      <a:pt x="2555" y="2976"/>
                    </a:cubicBezTo>
                    <a:cubicBezTo>
                      <a:pt x="2311" y="1999"/>
                      <a:pt x="2096" y="980"/>
                      <a:pt x="1927" y="1"/>
                    </a:cubicBez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5" name="Google Shape;755;p31"/>
              <p:cNvSpPr/>
              <p:nvPr/>
            </p:nvSpPr>
            <p:spPr>
              <a:xfrm>
                <a:off x="5682076" y="2638490"/>
                <a:ext cx="167161" cy="221034"/>
              </a:xfrm>
              <a:custGeom>
                <a:avLst/>
                <a:gdLst/>
                <a:ahLst/>
                <a:cxnLst/>
                <a:rect l="l" t="t" r="r" b="b"/>
                <a:pathLst>
                  <a:path w="4254" h="5625" extrusionOk="0">
                    <a:moveTo>
                      <a:pt x="2031" y="1"/>
                    </a:moveTo>
                    <a:cubicBezTo>
                      <a:pt x="1432" y="1"/>
                      <a:pt x="1040" y="273"/>
                      <a:pt x="600" y="911"/>
                    </a:cubicBezTo>
                    <a:cubicBezTo>
                      <a:pt x="1" y="1777"/>
                      <a:pt x="1235" y="5624"/>
                      <a:pt x="1235" y="5624"/>
                    </a:cubicBezTo>
                    <a:lnTo>
                      <a:pt x="4254" y="3564"/>
                    </a:lnTo>
                    <a:cubicBezTo>
                      <a:pt x="4254" y="3564"/>
                      <a:pt x="3684" y="330"/>
                      <a:pt x="2894" y="132"/>
                    </a:cubicBezTo>
                    <a:cubicBezTo>
                      <a:pt x="2559" y="47"/>
                      <a:pt x="2278" y="1"/>
                      <a:pt x="2031" y="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56" name="Google Shape;756;p31"/>
              <p:cNvSpPr/>
              <p:nvPr/>
            </p:nvSpPr>
            <p:spPr>
              <a:xfrm>
                <a:off x="5997618" y="2884126"/>
                <a:ext cx="87038" cy="62676"/>
              </a:xfrm>
              <a:custGeom>
                <a:avLst/>
                <a:gdLst/>
                <a:ahLst/>
                <a:cxnLst/>
                <a:rect l="l" t="t" r="r" b="b"/>
                <a:pathLst>
                  <a:path w="2215" h="1595" extrusionOk="0">
                    <a:moveTo>
                      <a:pt x="423" y="1"/>
                    </a:moveTo>
                    <a:cubicBezTo>
                      <a:pt x="423" y="1"/>
                      <a:pt x="0" y="856"/>
                      <a:pt x="287" y="1595"/>
                    </a:cubicBezTo>
                    <a:lnTo>
                      <a:pt x="1181" y="1513"/>
                    </a:lnTo>
                    <a:lnTo>
                      <a:pt x="2214" y="37"/>
                    </a:lnTo>
                    <a:lnTo>
                      <a:pt x="423" y="1"/>
                    </a:ln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757" name="Google Shape;757;p31"/>
              <p:cNvGrpSpPr/>
              <p:nvPr/>
            </p:nvGrpSpPr>
            <p:grpSpPr>
              <a:xfrm>
                <a:off x="5932859" y="2488224"/>
                <a:ext cx="384109" cy="413192"/>
                <a:chOff x="5932859" y="2488224"/>
                <a:chExt cx="384109" cy="413192"/>
              </a:xfrm>
            </p:grpSpPr>
            <p:sp>
              <p:nvSpPr>
                <p:cNvPr id="758" name="Google Shape;758;p31"/>
                <p:cNvSpPr/>
                <p:nvPr/>
              </p:nvSpPr>
              <p:spPr>
                <a:xfrm>
                  <a:off x="5978835" y="2512234"/>
                  <a:ext cx="274515" cy="2028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86" h="5163" extrusionOk="0">
                      <a:moveTo>
                        <a:pt x="3188" y="0"/>
                      </a:moveTo>
                      <a:cubicBezTo>
                        <a:pt x="1864" y="191"/>
                        <a:pt x="683" y="1088"/>
                        <a:pt x="191" y="2434"/>
                      </a:cubicBezTo>
                      <a:cubicBezTo>
                        <a:pt x="98" y="2689"/>
                        <a:pt x="36" y="2947"/>
                        <a:pt x="0" y="3209"/>
                      </a:cubicBezTo>
                      <a:lnTo>
                        <a:pt x="5718" y="542"/>
                      </a:lnTo>
                      <a:cubicBezTo>
                        <a:pt x="6085" y="772"/>
                        <a:pt x="6404" y="1063"/>
                        <a:pt x="6663" y="1393"/>
                      </a:cubicBezTo>
                      <a:lnTo>
                        <a:pt x="5632" y="1871"/>
                      </a:lnTo>
                      <a:lnTo>
                        <a:pt x="6986" y="1871"/>
                      </a:lnTo>
                      <a:cubicBezTo>
                        <a:pt x="6562" y="1120"/>
                        <a:pt x="5880" y="510"/>
                        <a:pt x="5004" y="194"/>
                      </a:cubicBezTo>
                      <a:cubicBezTo>
                        <a:pt x="4864" y="140"/>
                        <a:pt x="4724" y="101"/>
                        <a:pt x="4584" y="65"/>
                      </a:cubicBezTo>
                      <a:cubicBezTo>
                        <a:pt x="4251" y="40"/>
                        <a:pt x="3916" y="22"/>
                        <a:pt x="3580" y="11"/>
                      </a:cubicBezTo>
                      <a:cubicBezTo>
                        <a:pt x="3450" y="7"/>
                        <a:pt x="3321" y="4"/>
                        <a:pt x="3188" y="0"/>
                      </a:cubicBezTo>
                      <a:close/>
                      <a:moveTo>
                        <a:pt x="3623" y="2810"/>
                      </a:moveTo>
                      <a:lnTo>
                        <a:pt x="40" y="4476"/>
                      </a:lnTo>
                      <a:cubicBezTo>
                        <a:pt x="91" y="4713"/>
                        <a:pt x="162" y="4942"/>
                        <a:pt x="252" y="5162"/>
                      </a:cubicBezTo>
                      <a:lnTo>
                        <a:pt x="3623" y="3593"/>
                      </a:lnTo>
                      <a:lnTo>
                        <a:pt x="3623" y="281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59" name="Google Shape;759;p31"/>
                <p:cNvSpPr/>
                <p:nvPr/>
              </p:nvSpPr>
              <p:spPr>
                <a:xfrm>
                  <a:off x="6121163" y="2585716"/>
                  <a:ext cx="134743" cy="67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9" h="1724" extrusionOk="0">
                      <a:moveTo>
                        <a:pt x="2010" y="1"/>
                      </a:moveTo>
                      <a:lnTo>
                        <a:pt x="1" y="940"/>
                      </a:lnTo>
                      <a:lnTo>
                        <a:pt x="1" y="1723"/>
                      </a:lnTo>
                      <a:lnTo>
                        <a:pt x="3428" y="126"/>
                      </a:lnTo>
                      <a:cubicBezTo>
                        <a:pt x="3407" y="83"/>
                        <a:pt x="3385" y="44"/>
                        <a:pt x="3364" y="1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0" name="Google Shape;760;p31"/>
                <p:cNvSpPr/>
                <p:nvPr/>
              </p:nvSpPr>
              <p:spPr>
                <a:xfrm>
                  <a:off x="6121163" y="2618607"/>
                  <a:ext cx="151364" cy="1873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52" h="4767" extrusionOk="0">
                      <a:moveTo>
                        <a:pt x="3712" y="0"/>
                      </a:moveTo>
                      <a:cubicBezTo>
                        <a:pt x="3731" y="72"/>
                        <a:pt x="3749" y="145"/>
                        <a:pt x="3765" y="218"/>
                      </a:cubicBezTo>
                      <a:lnTo>
                        <a:pt x="3765" y="218"/>
                      </a:lnTo>
                      <a:cubicBezTo>
                        <a:pt x="3749" y="145"/>
                        <a:pt x="3731" y="72"/>
                        <a:pt x="3712" y="0"/>
                      </a:cubicBezTo>
                      <a:close/>
                      <a:moveTo>
                        <a:pt x="3765" y="218"/>
                      </a:moveTo>
                      <a:lnTo>
                        <a:pt x="3765" y="218"/>
                      </a:lnTo>
                      <a:cubicBezTo>
                        <a:pt x="3779" y="286"/>
                        <a:pt x="3792" y="355"/>
                        <a:pt x="3804" y="425"/>
                      </a:cubicBezTo>
                      <a:lnTo>
                        <a:pt x="3804" y="425"/>
                      </a:lnTo>
                      <a:cubicBezTo>
                        <a:pt x="3792" y="355"/>
                        <a:pt x="3779" y="286"/>
                        <a:pt x="3765" y="218"/>
                      </a:cubicBezTo>
                      <a:close/>
                      <a:moveTo>
                        <a:pt x="3804" y="425"/>
                      </a:moveTo>
                      <a:cubicBezTo>
                        <a:pt x="3830" y="593"/>
                        <a:pt x="3846" y="764"/>
                        <a:pt x="3848" y="936"/>
                      </a:cubicBezTo>
                      <a:lnTo>
                        <a:pt x="1" y="2731"/>
                      </a:lnTo>
                      <a:lnTo>
                        <a:pt x="1" y="4763"/>
                      </a:lnTo>
                      <a:cubicBezTo>
                        <a:pt x="32" y="4763"/>
                        <a:pt x="69" y="4766"/>
                        <a:pt x="101" y="4766"/>
                      </a:cubicBezTo>
                      <a:cubicBezTo>
                        <a:pt x="1633" y="4766"/>
                        <a:pt x="3069" y="3819"/>
                        <a:pt x="3622" y="2297"/>
                      </a:cubicBezTo>
                      <a:cubicBezTo>
                        <a:pt x="3776" y="1874"/>
                        <a:pt x="3851" y="1439"/>
                        <a:pt x="3851" y="1012"/>
                      </a:cubicBezTo>
                      <a:cubicBezTo>
                        <a:pt x="3851" y="857"/>
                        <a:pt x="3841" y="706"/>
                        <a:pt x="3823" y="556"/>
                      </a:cubicBezTo>
                      <a:cubicBezTo>
                        <a:pt x="3817" y="512"/>
                        <a:pt x="3811" y="468"/>
                        <a:pt x="3804" y="425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1" name="Google Shape;761;p31"/>
                <p:cNvSpPr/>
                <p:nvPr/>
              </p:nvSpPr>
              <p:spPr>
                <a:xfrm>
                  <a:off x="6121163" y="2585716"/>
                  <a:ext cx="79022" cy="3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11" h="941" extrusionOk="0">
                      <a:moveTo>
                        <a:pt x="1" y="1"/>
                      </a:moveTo>
                      <a:lnTo>
                        <a:pt x="1" y="940"/>
                      </a:lnTo>
                      <a:lnTo>
                        <a:pt x="2010" y="1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2" name="Google Shape;762;p31"/>
                <p:cNvSpPr/>
                <p:nvPr/>
              </p:nvSpPr>
              <p:spPr>
                <a:xfrm>
                  <a:off x="6121163" y="2590667"/>
                  <a:ext cx="151207" cy="1352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442" extrusionOk="0">
                      <a:moveTo>
                        <a:pt x="3428" y="0"/>
                      </a:moveTo>
                      <a:lnTo>
                        <a:pt x="1" y="1597"/>
                      </a:lnTo>
                      <a:lnTo>
                        <a:pt x="1" y="3442"/>
                      </a:lnTo>
                      <a:lnTo>
                        <a:pt x="3848" y="1647"/>
                      </a:lnTo>
                      <a:cubicBezTo>
                        <a:pt x="3844" y="1328"/>
                        <a:pt x="3794" y="1016"/>
                        <a:pt x="3712" y="711"/>
                      </a:cubicBezTo>
                      <a:cubicBezTo>
                        <a:pt x="3712" y="711"/>
                        <a:pt x="3708" y="711"/>
                        <a:pt x="3708" y="707"/>
                      </a:cubicBezTo>
                      <a:cubicBezTo>
                        <a:pt x="3640" y="463"/>
                        <a:pt x="3546" y="226"/>
                        <a:pt x="3428" y="0"/>
                      </a:cubicBez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3" name="Google Shape;763;p31"/>
                <p:cNvSpPr/>
                <p:nvPr/>
              </p:nvSpPr>
              <p:spPr>
                <a:xfrm>
                  <a:off x="6027758" y="2725883"/>
                  <a:ext cx="93444" cy="798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8" h="2033" extrusionOk="0">
                      <a:moveTo>
                        <a:pt x="2378" y="1"/>
                      </a:moveTo>
                      <a:lnTo>
                        <a:pt x="1" y="1107"/>
                      </a:lnTo>
                      <a:cubicBezTo>
                        <a:pt x="342" y="1405"/>
                        <a:pt x="741" y="1645"/>
                        <a:pt x="1189" y="1806"/>
                      </a:cubicBezTo>
                      <a:cubicBezTo>
                        <a:pt x="1581" y="1950"/>
                        <a:pt x="1979" y="2025"/>
                        <a:pt x="2378" y="2033"/>
                      </a:cubicBezTo>
                      <a:lnTo>
                        <a:pt x="2378" y="1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4" name="Google Shape;764;p31"/>
                <p:cNvSpPr/>
                <p:nvPr/>
              </p:nvSpPr>
              <p:spPr>
                <a:xfrm>
                  <a:off x="5976438" y="2533532"/>
                  <a:ext cx="264220" cy="1546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24" h="3935" extrusionOk="0">
                      <a:moveTo>
                        <a:pt x="5779" y="0"/>
                      </a:moveTo>
                      <a:lnTo>
                        <a:pt x="61" y="2667"/>
                      </a:lnTo>
                      <a:cubicBezTo>
                        <a:pt x="1" y="3095"/>
                        <a:pt x="18" y="3525"/>
                        <a:pt x="101" y="3934"/>
                      </a:cubicBezTo>
                      <a:lnTo>
                        <a:pt x="3684" y="2268"/>
                      </a:lnTo>
                      <a:lnTo>
                        <a:pt x="3684" y="1329"/>
                      </a:lnTo>
                      <a:lnTo>
                        <a:pt x="5693" y="1329"/>
                      </a:lnTo>
                      <a:lnTo>
                        <a:pt x="6724" y="851"/>
                      </a:lnTo>
                      <a:cubicBezTo>
                        <a:pt x="6465" y="521"/>
                        <a:pt x="6146" y="230"/>
                        <a:pt x="5779" y="0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5" name="Google Shape;765;p31"/>
                <p:cNvSpPr/>
                <p:nvPr/>
              </p:nvSpPr>
              <p:spPr>
                <a:xfrm>
                  <a:off x="5988698" y="2653422"/>
                  <a:ext cx="132503" cy="1159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72" h="2951" extrusionOk="0">
                      <a:moveTo>
                        <a:pt x="3372" y="0"/>
                      </a:moveTo>
                      <a:lnTo>
                        <a:pt x="1" y="1569"/>
                      </a:lnTo>
                      <a:cubicBezTo>
                        <a:pt x="220" y="2093"/>
                        <a:pt x="561" y="2570"/>
                        <a:pt x="995" y="2951"/>
                      </a:cubicBezTo>
                      <a:lnTo>
                        <a:pt x="3372" y="1845"/>
                      </a:lnTo>
                      <a:lnTo>
                        <a:pt x="3372" y="0"/>
                      </a:ln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6" name="Google Shape;766;p31"/>
                <p:cNvSpPr/>
                <p:nvPr/>
              </p:nvSpPr>
              <p:spPr>
                <a:xfrm>
                  <a:off x="5932859" y="2488224"/>
                  <a:ext cx="384109" cy="340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75" h="8660" extrusionOk="0">
                      <a:moveTo>
                        <a:pt x="4886" y="914"/>
                      </a:moveTo>
                      <a:cubicBezTo>
                        <a:pt x="5275" y="914"/>
                        <a:pt x="5670" y="981"/>
                        <a:pt x="6055" y="1121"/>
                      </a:cubicBezTo>
                      <a:cubicBezTo>
                        <a:pt x="7829" y="1767"/>
                        <a:pt x="8744" y="3727"/>
                        <a:pt x="8098" y="5500"/>
                      </a:cubicBezTo>
                      <a:cubicBezTo>
                        <a:pt x="7593" y="6887"/>
                        <a:pt x="6284" y="7747"/>
                        <a:pt x="4889" y="7747"/>
                      </a:cubicBezTo>
                      <a:cubicBezTo>
                        <a:pt x="4501" y="7747"/>
                        <a:pt x="4106" y="7680"/>
                        <a:pt x="3719" y="7539"/>
                      </a:cubicBezTo>
                      <a:cubicBezTo>
                        <a:pt x="1946" y="6893"/>
                        <a:pt x="1034" y="4933"/>
                        <a:pt x="1677" y="3160"/>
                      </a:cubicBezTo>
                      <a:cubicBezTo>
                        <a:pt x="2182" y="1773"/>
                        <a:pt x="3493" y="914"/>
                        <a:pt x="4886" y="914"/>
                      </a:cubicBezTo>
                      <a:close/>
                      <a:moveTo>
                        <a:pt x="4886" y="0"/>
                      </a:moveTo>
                      <a:cubicBezTo>
                        <a:pt x="3120" y="0"/>
                        <a:pt x="1459" y="1090"/>
                        <a:pt x="819" y="2848"/>
                      </a:cubicBezTo>
                      <a:cubicBezTo>
                        <a:pt x="0" y="5094"/>
                        <a:pt x="1160" y="7578"/>
                        <a:pt x="3407" y="8396"/>
                      </a:cubicBezTo>
                      <a:cubicBezTo>
                        <a:pt x="3896" y="8575"/>
                        <a:pt x="4397" y="8659"/>
                        <a:pt x="4890" y="8659"/>
                      </a:cubicBezTo>
                      <a:cubicBezTo>
                        <a:pt x="6657" y="8659"/>
                        <a:pt x="8316" y="7570"/>
                        <a:pt x="8956" y="5812"/>
                      </a:cubicBezTo>
                      <a:cubicBezTo>
                        <a:pt x="9774" y="3565"/>
                        <a:pt x="8615" y="1082"/>
                        <a:pt x="6368" y="263"/>
                      </a:cubicBezTo>
                      <a:cubicBezTo>
                        <a:pt x="5879" y="85"/>
                        <a:pt x="5379" y="0"/>
                        <a:pt x="4886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767" name="Google Shape;767;p31"/>
                <p:cNvSpPr/>
                <p:nvPr/>
              </p:nvSpPr>
              <p:spPr>
                <a:xfrm>
                  <a:off x="6008032" y="2844399"/>
                  <a:ext cx="85231" cy="57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9" h="1451" extrusionOk="0">
                      <a:moveTo>
                        <a:pt x="1854" y="1"/>
                      </a:moveTo>
                      <a:cubicBezTo>
                        <a:pt x="1808" y="1"/>
                        <a:pt x="1763" y="15"/>
                        <a:pt x="1724" y="47"/>
                      </a:cubicBezTo>
                      <a:lnTo>
                        <a:pt x="1217" y="452"/>
                      </a:lnTo>
                      <a:cubicBezTo>
                        <a:pt x="1134" y="519"/>
                        <a:pt x="1033" y="553"/>
                        <a:pt x="932" y="553"/>
                      </a:cubicBezTo>
                      <a:cubicBezTo>
                        <a:pt x="848" y="553"/>
                        <a:pt x="764" y="530"/>
                        <a:pt x="690" y="485"/>
                      </a:cubicBezTo>
                      <a:lnTo>
                        <a:pt x="532" y="309"/>
                      </a:lnTo>
                      <a:cubicBezTo>
                        <a:pt x="498" y="270"/>
                        <a:pt x="453" y="251"/>
                        <a:pt x="408" y="251"/>
                      </a:cubicBezTo>
                      <a:cubicBezTo>
                        <a:pt x="361" y="251"/>
                        <a:pt x="314" y="272"/>
                        <a:pt x="281" y="313"/>
                      </a:cubicBezTo>
                      <a:lnTo>
                        <a:pt x="241" y="359"/>
                      </a:lnTo>
                      <a:cubicBezTo>
                        <a:pt x="158" y="460"/>
                        <a:pt x="108" y="578"/>
                        <a:pt x="90" y="707"/>
                      </a:cubicBezTo>
                      <a:lnTo>
                        <a:pt x="1" y="1450"/>
                      </a:lnTo>
                      <a:lnTo>
                        <a:pt x="381" y="1152"/>
                      </a:lnTo>
                      <a:lnTo>
                        <a:pt x="1949" y="1048"/>
                      </a:lnTo>
                      <a:lnTo>
                        <a:pt x="2097" y="736"/>
                      </a:lnTo>
                      <a:cubicBezTo>
                        <a:pt x="2161" y="592"/>
                        <a:pt x="2169" y="427"/>
                        <a:pt x="2111" y="280"/>
                      </a:cubicBezTo>
                      <a:lnTo>
                        <a:pt x="2053" y="137"/>
                      </a:lnTo>
                      <a:cubicBezTo>
                        <a:pt x="2019" y="51"/>
                        <a:pt x="1937" y="1"/>
                        <a:pt x="1854" y="1"/>
                      </a:cubicBezTo>
                      <a:close/>
                    </a:path>
                  </a:pathLst>
                </a:custGeom>
                <a:solidFill>
                  <a:srgbClr val="E4897B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768" name="Google Shape;768;p31"/>
              <p:cNvSpPr/>
              <p:nvPr/>
            </p:nvSpPr>
            <p:spPr>
              <a:xfrm>
                <a:off x="5515934" y="2262864"/>
                <a:ext cx="241782" cy="287011"/>
              </a:xfrm>
              <a:custGeom>
                <a:avLst/>
                <a:gdLst/>
                <a:ahLst/>
                <a:cxnLst/>
                <a:rect l="l" t="t" r="r" b="b"/>
                <a:pathLst>
                  <a:path w="6153" h="7304" extrusionOk="0">
                    <a:moveTo>
                      <a:pt x="3019" y="0"/>
                    </a:moveTo>
                    <a:cubicBezTo>
                      <a:pt x="1817" y="0"/>
                      <a:pt x="702" y="866"/>
                      <a:pt x="485" y="2179"/>
                    </a:cubicBezTo>
                    <a:cubicBezTo>
                      <a:pt x="172" y="4046"/>
                      <a:pt x="0" y="4828"/>
                      <a:pt x="711" y="5995"/>
                    </a:cubicBezTo>
                    <a:cubicBezTo>
                      <a:pt x="1245" y="6869"/>
                      <a:pt x="2100" y="7303"/>
                      <a:pt x="2930" y="7303"/>
                    </a:cubicBezTo>
                    <a:cubicBezTo>
                      <a:pt x="3762" y="7303"/>
                      <a:pt x="4569" y="6866"/>
                      <a:pt x="5001" y="5998"/>
                    </a:cubicBezTo>
                    <a:cubicBezTo>
                      <a:pt x="5776" y="4440"/>
                      <a:pt x="6152" y="1648"/>
                      <a:pt x="4523" y="492"/>
                    </a:cubicBezTo>
                    <a:cubicBezTo>
                      <a:pt x="4046" y="154"/>
                      <a:pt x="3525" y="0"/>
                      <a:pt x="3019" y="0"/>
                    </a:cubicBez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69" name="Google Shape;769;p31"/>
              <p:cNvSpPr/>
              <p:nvPr/>
            </p:nvSpPr>
            <p:spPr>
              <a:xfrm>
                <a:off x="5262046" y="2236615"/>
                <a:ext cx="531583" cy="693989"/>
              </a:xfrm>
              <a:custGeom>
                <a:avLst/>
                <a:gdLst/>
                <a:ahLst/>
                <a:cxnLst/>
                <a:rect l="l" t="t" r="r" b="b"/>
                <a:pathLst>
                  <a:path w="13528" h="17661" extrusionOk="0">
                    <a:moveTo>
                      <a:pt x="8819" y="1"/>
                    </a:moveTo>
                    <a:cubicBezTo>
                      <a:pt x="7000" y="1"/>
                      <a:pt x="5307" y="902"/>
                      <a:pt x="5374" y="2937"/>
                    </a:cubicBezTo>
                    <a:cubicBezTo>
                      <a:pt x="5464" y="5665"/>
                      <a:pt x="5374" y="5708"/>
                      <a:pt x="4143" y="7129"/>
                    </a:cubicBezTo>
                    <a:cubicBezTo>
                      <a:pt x="2908" y="8550"/>
                      <a:pt x="1128" y="9746"/>
                      <a:pt x="3156" y="11663"/>
                    </a:cubicBezTo>
                    <a:cubicBezTo>
                      <a:pt x="5184" y="13576"/>
                      <a:pt x="0" y="16217"/>
                      <a:pt x="6088" y="17491"/>
                    </a:cubicBezTo>
                    <a:cubicBezTo>
                      <a:pt x="6643" y="17607"/>
                      <a:pt x="7183" y="17661"/>
                      <a:pt x="7700" y="17661"/>
                    </a:cubicBezTo>
                    <a:cubicBezTo>
                      <a:pt x="11143" y="17661"/>
                      <a:pt x="13527" y="15291"/>
                      <a:pt x="11936" y="13349"/>
                    </a:cubicBezTo>
                    <a:cubicBezTo>
                      <a:pt x="10226" y="11264"/>
                      <a:pt x="11917" y="10578"/>
                      <a:pt x="12093" y="8759"/>
                    </a:cubicBezTo>
                    <a:cubicBezTo>
                      <a:pt x="12269" y="6939"/>
                      <a:pt x="9623" y="6125"/>
                      <a:pt x="10586" y="4793"/>
                    </a:cubicBezTo>
                    <a:cubicBezTo>
                      <a:pt x="11548" y="3461"/>
                      <a:pt x="12315" y="870"/>
                      <a:pt x="10647" y="302"/>
                    </a:cubicBezTo>
                    <a:cubicBezTo>
                      <a:pt x="10065" y="104"/>
                      <a:pt x="9435" y="1"/>
                      <a:pt x="8819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0" name="Google Shape;770;p31"/>
              <p:cNvSpPr/>
              <p:nvPr/>
            </p:nvSpPr>
            <p:spPr>
              <a:xfrm>
                <a:off x="5622425" y="2234728"/>
                <a:ext cx="139969" cy="168772"/>
              </a:xfrm>
              <a:custGeom>
                <a:avLst/>
                <a:gdLst/>
                <a:ahLst/>
                <a:cxnLst/>
                <a:rect l="l" t="t" r="r" b="b"/>
                <a:pathLst>
                  <a:path w="3562" h="4295" extrusionOk="0">
                    <a:moveTo>
                      <a:pt x="1043" y="0"/>
                    </a:moveTo>
                    <a:cubicBezTo>
                      <a:pt x="721" y="0"/>
                      <a:pt x="372" y="24"/>
                      <a:pt x="0" y="63"/>
                    </a:cubicBezTo>
                    <a:lnTo>
                      <a:pt x="1167" y="4295"/>
                    </a:lnTo>
                    <a:cubicBezTo>
                      <a:pt x="1167" y="4295"/>
                      <a:pt x="3561" y="3347"/>
                      <a:pt x="3411" y="1728"/>
                    </a:cubicBezTo>
                    <a:cubicBezTo>
                      <a:pt x="3285" y="416"/>
                      <a:pt x="2408" y="0"/>
                      <a:pt x="104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1" name="Google Shape;771;p31"/>
              <p:cNvSpPr/>
              <p:nvPr/>
            </p:nvSpPr>
            <p:spPr>
              <a:xfrm>
                <a:off x="5652761" y="2389278"/>
                <a:ext cx="53756" cy="71281"/>
              </a:xfrm>
              <a:custGeom>
                <a:avLst/>
                <a:gdLst/>
                <a:ahLst/>
                <a:cxnLst/>
                <a:rect l="l" t="t" r="r" b="b"/>
                <a:pathLst>
                  <a:path w="1368" h="1814" extrusionOk="0">
                    <a:moveTo>
                      <a:pt x="664" y="0"/>
                    </a:moveTo>
                    <a:cubicBezTo>
                      <a:pt x="357" y="0"/>
                      <a:pt x="94" y="250"/>
                      <a:pt x="50" y="592"/>
                    </a:cubicBezTo>
                    <a:cubicBezTo>
                      <a:pt x="0" y="979"/>
                      <a:pt x="133" y="1357"/>
                      <a:pt x="334" y="1611"/>
                    </a:cubicBezTo>
                    <a:cubicBezTo>
                      <a:pt x="446" y="1751"/>
                      <a:pt x="575" y="1813"/>
                      <a:pt x="702" y="1813"/>
                    </a:cubicBezTo>
                    <a:cubicBezTo>
                      <a:pt x="918" y="1813"/>
                      <a:pt x="1126" y="1634"/>
                      <a:pt x="1221" y="1360"/>
                    </a:cubicBezTo>
                    <a:cubicBezTo>
                      <a:pt x="1360" y="969"/>
                      <a:pt x="1368" y="301"/>
                      <a:pt x="951" y="75"/>
                    </a:cubicBezTo>
                    <a:cubicBezTo>
                      <a:pt x="855" y="24"/>
                      <a:pt x="757" y="0"/>
                      <a:pt x="664" y="0"/>
                    </a:cubicBezTo>
                    <a:close/>
                  </a:path>
                </a:pathLst>
              </a:custGeom>
              <a:solidFill>
                <a:srgbClr val="E4897B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2" name="Google Shape;772;p31"/>
              <p:cNvSpPr/>
              <p:nvPr/>
            </p:nvSpPr>
            <p:spPr>
              <a:xfrm>
                <a:off x="5313405" y="3095694"/>
                <a:ext cx="369137" cy="1584964"/>
              </a:xfrm>
              <a:custGeom>
                <a:avLst/>
                <a:gdLst/>
                <a:ahLst/>
                <a:cxnLst/>
                <a:rect l="l" t="t" r="r" b="b"/>
                <a:pathLst>
                  <a:path w="9394" h="40335" extrusionOk="0">
                    <a:moveTo>
                      <a:pt x="3701" y="1"/>
                    </a:moveTo>
                    <a:cubicBezTo>
                      <a:pt x="1242" y="3458"/>
                      <a:pt x="2979" y="5726"/>
                      <a:pt x="1885" y="20632"/>
                    </a:cubicBezTo>
                    <a:cubicBezTo>
                      <a:pt x="1454" y="26523"/>
                      <a:pt x="0" y="40334"/>
                      <a:pt x="0" y="40334"/>
                    </a:cubicBezTo>
                    <a:lnTo>
                      <a:pt x="2599" y="40334"/>
                    </a:lnTo>
                    <a:cubicBezTo>
                      <a:pt x="2599" y="40334"/>
                      <a:pt x="6020" y="26046"/>
                      <a:pt x="6910" y="20090"/>
                    </a:cubicBezTo>
                    <a:cubicBezTo>
                      <a:pt x="7006" y="19426"/>
                      <a:pt x="7107" y="18723"/>
                      <a:pt x="7208" y="17991"/>
                    </a:cubicBezTo>
                    <a:cubicBezTo>
                      <a:pt x="7614" y="15087"/>
                      <a:pt x="8033" y="11716"/>
                      <a:pt x="8399" y="8684"/>
                    </a:cubicBezTo>
                    <a:cubicBezTo>
                      <a:pt x="8966" y="3932"/>
                      <a:pt x="9393" y="1"/>
                      <a:pt x="939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3" name="Google Shape;773;p31"/>
              <p:cNvSpPr/>
              <p:nvPr/>
            </p:nvSpPr>
            <p:spPr>
              <a:xfrm>
                <a:off x="5296587" y="4630420"/>
                <a:ext cx="147042" cy="51948"/>
              </a:xfrm>
              <a:custGeom>
                <a:avLst/>
                <a:gdLst/>
                <a:ahLst/>
                <a:cxnLst/>
                <a:rect l="l" t="t" r="r" b="b"/>
                <a:pathLst>
                  <a:path w="3742" h="1322" extrusionOk="0">
                    <a:moveTo>
                      <a:pt x="3741" y="1"/>
                    </a:moveTo>
                    <a:lnTo>
                      <a:pt x="62" y="94"/>
                    </a:lnTo>
                    <a:lnTo>
                      <a:pt x="1" y="1321"/>
                    </a:lnTo>
                    <a:lnTo>
                      <a:pt x="3454" y="1321"/>
                    </a:lnTo>
                    <a:lnTo>
                      <a:pt x="3741" y="1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4" name="Google Shape;774;p31"/>
              <p:cNvSpPr/>
              <p:nvPr/>
            </p:nvSpPr>
            <p:spPr>
              <a:xfrm>
                <a:off x="5519157" y="3329738"/>
                <a:ext cx="124329" cy="472955"/>
              </a:xfrm>
              <a:custGeom>
                <a:avLst/>
                <a:gdLst/>
                <a:ahLst/>
                <a:cxnLst/>
                <a:rect l="l" t="t" r="r" b="b"/>
                <a:pathLst>
                  <a:path w="3164" h="12036" extrusionOk="0">
                    <a:moveTo>
                      <a:pt x="2148" y="0"/>
                    </a:moveTo>
                    <a:cubicBezTo>
                      <a:pt x="1" y="1328"/>
                      <a:pt x="1365" y="8952"/>
                      <a:pt x="1972" y="12035"/>
                    </a:cubicBezTo>
                    <a:cubicBezTo>
                      <a:pt x="2378" y="9131"/>
                      <a:pt x="2797" y="5760"/>
                      <a:pt x="3163" y="2728"/>
                    </a:cubicBezTo>
                    <a:cubicBezTo>
                      <a:pt x="2984" y="1637"/>
                      <a:pt x="2664" y="682"/>
                      <a:pt x="214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5" name="Google Shape;775;p31"/>
              <p:cNvSpPr/>
              <p:nvPr/>
            </p:nvSpPr>
            <p:spPr>
              <a:xfrm>
                <a:off x="5540180" y="3095694"/>
                <a:ext cx="271293" cy="1584964"/>
              </a:xfrm>
              <a:custGeom>
                <a:avLst/>
                <a:gdLst/>
                <a:ahLst/>
                <a:cxnLst/>
                <a:rect l="l" t="t" r="r" b="b"/>
                <a:pathLst>
                  <a:path w="6904" h="40335" extrusionOk="0">
                    <a:moveTo>
                      <a:pt x="1" y="1"/>
                    </a:moveTo>
                    <a:cubicBezTo>
                      <a:pt x="1" y="1"/>
                      <a:pt x="1785" y="14118"/>
                      <a:pt x="2075" y="20594"/>
                    </a:cubicBezTo>
                    <a:cubicBezTo>
                      <a:pt x="2341" y="26530"/>
                      <a:pt x="2621" y="40334"/>
                      <a:pt x="2621" y="40334"/>
                    </a:cubicBezTo>
                    <a:lnTo>
                      <a:pt x="5202" y="40334"/>
                    </a:lnTo>
                    <a:cubicBezTo>
                      <a:pt x="5202" y="40334"/>
                      <a:pt x="6723" y="26178"/>
                      <a:pt x="6813" y="20130"/>
                    </a:cubicBezTo>
                    <a:cubicBezTo>
                      <a:pt x="6903" y="14319"/>
                      <a:pt x="5668" y="1"/>
                      <a:pt x="5668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6" name="Google Shape;776;p31"/>
              <p:cNvSpPr/>
              <p:nvPr/>
            </p:nvSpPr>
            <p:spPr>
              <a:xfrm>
                <a:off x="5624115" y="4630420"/>
                <a:ext cx="146885" cy="51948"/>
              </a:xfrm>
              <a:custGeom>
                <a:avLst/>
                <a:gdLst/>
                <a:ahLst/>
                <a:cxnLst/>
                <a:rect l="l" t="t" r="r" b="b"/>
                <a:pathLst>
                  <a:path w="3738" h="1322" extrusionOk="0">
                    <a:moveTo>
                      <a:pt x="3737" y="1"/>
                    </a:moveTo>
                    <a:lnTo>
                      <a:pt x="0" y="94"/>
                    </a:lnTo>
                    <a:lnTo>
                      <a:pt x="61" y="1321"/>
                    </a:lnTo>
                    <a:lnTo>
                      <a:pt x="3449" y="1321"/>
                    </a:lnTo>
                    <a:lnTo>
                      <a:pt x="3737" y="1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7" name="Google Shape;777;p31"/>
              <p:cNvSpPr/>
              <p:nvPr/>
            </p:nvSpPr>
            <p:spPr>
              <a:xfrm>
                <a:off x="5439505" y="3075574"/>
                <a:ext cx="333025" cy="33872"/>
              </a:xfrm>
              <a:custGeom>
                <a:avLst/>
                <a:gdLst/>
                <a:ahLst/>
                <a:cxnLst/>
                <a:rect l="l" t="t" r="r" b="b"/>
                <a:pathLst>
                  <a:path w="8475" h="862" extrusionOk="0">
                    <a:moveTo>
                      <a:pt x="495" y="0"/>
                    </a:moveTo>
                    <a:cubicBezTo>
                      <a:pt x="438" y="0"/>
                      <a:pt x="388" y="25"/>
                      <a:pt x="370" y="57"/>
                    </a:cubicBezTo>
                    <a:lnTo>
                      <a:pt x="25" y="750"/>
                    </a:lnTo>
                    <a:cubicBezTo>
                      <a:pt x="0" y="804"/>
                      <a:pt x="65" y="862"/>
                      <a:pt x="154" y="862"/>
                    </a:cubicBezTo>
                    <a:lnTo>
                      <a:pt x="8273" y="862"/>
                    </a:lnTo>
                    <a:cubicBezTo>
                      <a:pt x="8341" y="862"/>
                      <a:pt x="8399" y="826"/>
                      <a:pt x="8402" y="783"/>
                    </a:cubicBezTo>
                    <a:lnTo>
                      <a:pt x="8470" y="90"/>
                    </a:lnTo>
                    <a:cubicBezTo>
                      <a:pt x="8475" y="39"/>
                      <a:pt x="8414" y="0"/>
                      <a:pt x="8338" y="0"/>
                    </a:cubicBezTo>
                    <a:close/>
                  </a:path>
                </a:pathLst>
              </a:custGeom>
              <a:solidFill>
                <a:srgbClr val="B7B7B7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8" name="Google Shape;778;p31"/>
              <p:cNvSpPr/>
              <p:nvPr/>
            </p:nvSpPr>
            <p:spPr>
              <a:xfrm>
                <a:off x="5484459" y="3073177"/>
                <a:ext cx="18115" cy="39216"/>
              </a:xfrm>
              <a:custGeom>
                <a:avLst/>
                <a:gdLst/>
                <a:ahLst/>
                <a:cxnLst/>
                <a:rect l="l" t="t" r="r" b="b"/>
                <a:pathLst>
                  <a:path w="461" h="998" extrusionOk="0">
                    <a:moveTo>
                      <a:pt x="177" y="0"/>
                    </a:moveTo>
                    <a:cubicBezTo>
                      <a:pt x="138" y="0"/>
                      <a:pt x="102" y="22"/>
                      <a:pt x="98" y="47"/>
                    </a:cubicBezTo>
                    <a:lnTo>
                      <a:pt x="4" y="948"/>
                    </a:lnTo>
                    <a:cubicBezTo>
                      <a:pt x="1" y="976"/>
                      <a:pt x="34" y="998"/>
                      <a:pt x="77" y="998"/>
                    </a:cubicBezTo>
                    <a:lnTo>
                      <a:pt x="284" y="998"/>
                    </a:lnTo>
                    <a:cubicBezTo>
                      <a:pt x="327" y="998"/>
                      <a:pt x="364" y="976"/>
                      <a:pt x="367" y="948"/>
                    </a:cubicBezTo>
                    <a:lnTo>
                      <a:pt x="461" y="47"/>
                    </a:lnTo>
                    <a:cubicBezTo>
                      <a:pt x="461" y="22"/>
                      <a:pt x="432" y="0"/>
                      <a:pt x="389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779" name="Google Shape;779;p31"/>
              <p:cNvSpPr/>
              <p:nvPr/>
            </p:nvSpPr>
            <p:spPr>
              <a:xfrm>
                <a:off x="5684512" y="3073177"/>
                <a:ext cx="18076" cy="39216"/>
              </a:xfrm>
              <a:custGeom>
                <a:avLst/>
                <a:gdLst/>
                <a:ahLst/>
                <a:cxnLst/>
                <a:rect l="l" t="t" r="r" b="b"/>
                <a:pathLst>
                  <a:path w="460" h="998" extrusionOk="0">
                    <a:moveTo>
                      <a:pt x="176" y="0"/>
                    </a:moveTo>
                    <a:cubicBezTo>
                      <a:pt x="136" y="0"/>
                      <a:pt x="97" y="22"/>
                      <a:pt x="97" y="47"/>
                    </a:cubicBezTo>
                    <a:lnTo>
                      <a:pt x="4" y="948"/>
                    </a:lnTo>
                    <a:cubicBezTo>
                      <a:pt x="0" y="976"/>
                      <a:pt x="32" y="998"/>
                      <a:pt x="75" y="998"/>
                    </a:cubicBezTo>
                    <a:lnTo>
                      <a:pt x="283" y="998"/>
                    </a:lnTo>
                    <a:cubicBezTo>
                      <a:pt x="327" y="998"/>
                      <a:pt x="362" y="976"/>
                      <a:pt x="366" y="948"/>
                    </a:cubicBezTo>
                    <a:lnTo>
                      <a:pt x="459" y="47"/>
                    </a:lnTo>
                    <a:cubicBezTo>
                      <a:pt x="459" y="22"/>
                      <a:pt x="426" y="0"/>
                      <a:pt x="388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326521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3333FB-70F2-79FD-D8BA-46AFC77B16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46568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3333FB-70F2-79FD-D8BA-46AFC77B1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CB08374B-4352-8BAF-DA14-8167B7FC8C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flipH="1">
            <a:off x="863160" y="1208094"/>
            <a:ext cx="6790886" cy="3211315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t"/>
          <a:lstStyle/>
          <a:p>
            <a:pPr marL="152400" indent="0">
              <a:buNone/>
            </a:pPr>
            <a:endParaRPr lang="en-US" sz="1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01DF54-B532-F01A-CFA0-D9E3C23E6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862" y="396340"/>
            <a:ext cx="4688410" cy="481200"/>
          </a:xfrm>
        </p:spPr>
        <p:txBody>
          <a:bodyPr vert="horz"/>
          <a:lstStyle/>
          <a:p>
            <a:pPr algn="l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EXPLORATORY DATA ANALYSIS</a:t>
            </a:r>
          </a:p>
        </p:txBody>
      </p:sp>
      <p:grpSp>
        <p:nvGrpSpPr>
          <p:cNvPr id="25" name="Google Shape;5099;p55">
            <a:extLst>
              <a:ext uri="{FF2B5EF4-FFF2-40B4-BE49-F238E27FC236}">
                <a16:creationId xmlns:a16="http://schemas.microsoft.com/office/drawing/2014/main" id="{08DF024A-19AD-B8F3-1AF5-7E67FE211839}"/>
              </a:ext>
            </a:extLst>
          </p:cNvPr>
          <p:cNvGrpSpPr/>
          <p:nvPr/>
        </p:nvGrpSpPr>
        <p:grpSpPr>
          <a:xfrm>
            <a:off x="1126511" y="1324173"/>
            <a:ext cx="6264183" cy="2965997"/>
            <a:chOff x="5789345" y="2245246"/>
            <a:chExt cx="1178032" cy="643318"/>
          </a:xfrm>
        </p:grpSpPr>
        <p:sp>
          <p:nvSpPr>
            <p:cNvPr id="26" name="Google Shape;5100;p55">
              <a:extLst>
                <a:ext uri="{FF2B5EF4-FFF2-40B4-BE49-F238E27FC236}">
                  <a16:creationId xmlns:a16="http://schemas.microsoft.com/office/drawing/2014/main" id="{3507BC26-FA1E-6B62-F7E6-8D77E916EF41}"/>
                </a:ext>
              </a:extLst>
            </p:cNvPr>
            <p:cNvSpPr/>
            <p:nvPr/>
          </p:nvSpPr>
          <p:spPr>
            <a:xfrm>
              <a:off x="5789345" y="2245246"/>
              <a:ext cx="243201" cy="268539"/>
            </a:xfrm>
            <a:custGeom>
              <a:avLst/>
              <a:gdLst/>
              <a:ahLst/>
              <a:cxnLst/>
              <a:rect l="l" t="t" r="r" b="b"/>
              <a:pathLst>
                <a:path w="4732" h="5225" extrusionOk="0">
                  <a:moveTo>
                    <a:pt x="346" y="0"/>
                  </a:moveTo>
                  <a:cubicBezTo>
                    <a:pt x="148" y="0"/>
                    <a:pt x="1" y="148"/>
                    <a:pt x="1" y="333"/>
                  </a:cubicBezTo>
                  <a:lnTo>
                    <a:pt x="1" y="4423"/>
                  </a:lnTo>
                  <a:cubicBezTo>
                    <a:pt x="1" y="4608"/>
                    <a:pt x="148" y="4756"/>
                    <a:pt x="346" y="4756"/>
                  </a:cubicBezTo>
                  <a:lnTo>
                    <a:pt x="2046" y="4756"/>
                  </a:lnTo>
                  <a:lnTo>
                    <a:pt x="2366" y="5224"/>
                  </a:lnTo>
                  <a:lnTo>
                    <a:pt x="2687" y="4756"/>
                  </a:lnTo>
                  <a:lnTo>
                    <a:pt x="4387" y="4756"/>
                  </a:lnTo>
                  <a:cubicBezTo>
                    <a:pt x="4572" y="4756"/>
                    <a:pt x="4732" y="4608"/>
                    <a:pt x="4732" y="4423"/>
                  </a:cubicBezTo>
                  <a:lnTo>
                    <a:pt x="4732" y="333"/>
                  </a:lnTo>
                  <a:cubicBezTo>
                    <a:pt x="4732" y="148"/>
                    <a:pt x="4584" y="0"/>
                    <a:pt x="4387" y="0"/>
                  </a:cubicBezTo>
                  <a:close/>
                </a:path>
              </a:pathLst>
            </a:custGeom>
            <a:solidFill>
              <a:srgbClr val="E3E9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dirty="0"/>
                <a:t>Assessment of Data</a:t>
              </a:r>
              <a:endParaRPr dirty="0"/>
            </a:p>
          </p:txBody>
        </p:sp>
        <p:sp>
          <p:nvSpPr>
            <p:cNvPr id="27" name="Google Shape;5101;p55">
              <a:extLst>
                <a:ext uri="{FF2B5EF4-FFF2-40B4-BE49-F238E27FC236}">
                  <a16:creationId xmlns:a16="http://schemas.microsoft.com/office/drawing/2014/main" id="{EFB4F981-2990-830E-D593-90829BCC81F9}"/>
                </a:ext>
              </a:extLst>
            </p:cNvPr>
            <p:cNvSpPr/>
            <p:nvPr/>
          </p:nvSpPr>
          <p:spPr>
            <a:xfrm>
              <a:off x="6326192" y="2247003"/>
              <a:ext cx="265615" cy="266746"/>
            </a:xfrm>
            <a:custGeom>
              <a:avLst/>
              <a:gdLst/>
              <a:ahLst/>
              <a:cxnLst/>
              <a:rect l="l" t="t" r="r" b="b"/>
              <a:pathLst>
                <a:path w="4720" h="5225" extrusionOk="0">
                  <a:moveTo>
                    <a:pt x="333" y="0"/>
                  </a:moveTo>
                  <a:cubicBezTo>
                    <a:pt x="148" y="0"/>
                    <a:pt x="1" y="148"/>
                    <a:pt x="1" y="333"/>
                  </a:cubicBezTo>
                  <a:lnTo>
                    <a:pt x="1" y="4423"/>
                  </a:lnTo>
                  <a:cubicBezTo>
                    <a:pt x="1" y="4608"/>
                    <a:pt x="148" y="4756"/>
                    <a:pt x="333" y="4756"/>
                  </a:cubicBezTo>
                  <a:lnTo>
                    <a:pt x="2046" y="4756"/>
                  </a:lnTo>
                  <a:lnTo>
                    <a:pt x="2354" y="5224"/>
                  </a:lnTo>
                  <a:lnTo>
                    <a:pt x="2674" y="4756"/>
                  </a:lnTo>
                  <a:lnTo>
                    <a:pt x="4387" y="4756"/>
                  </a:lnTo>
                  <a:cubicBezTo>
                    <a:pt x="4572" y="4756"/>
                    <a:pt x="4720" y="4608"/>
                    <a:pt x="4720" y="4423"/>
                  </a:cubicBezTo>
                  <a:lnTo>
                    <a:pt x="4720" y="333"/>
                  </a:lnTo>
                  <a:cubicBezTo>
                    <a:pt x="4720" y="148"/>
                    <a:pt x="4572" y="0"/>
                    <a:pt x="4387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-US" dirty="0"/>
                <a:t>One hot encoding </a:t>
              </a: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28" name="Google Shape;5102;p55">
              <a:extLst>
                <a:ext uri="{FF2B5EF4-FFF2-40B4-BE49-F238E27FC236}">
                  <a16:creationId xmlns:a16="http://schemas.microsoft.com/office/drawing/2014/main" id="{39392EB8-C2F4-EE02-D83F-B3154FBA123D}"/>
                </a:ext>
              </a:extLst>
            </p:cNvPr>
            <p:cNvSpPr/>
            <p:nvPr/>
          </p:nvSpPr>
          <p:spPr>
            <a:xfrm>
              <a:off x="6062792" y="2610992"/>
              <a:ext cx="243253" cy="268539"/>
            </a:xfrm>
            <a:custGeom>
              <a:avLst/>
              <a:gdLst/>
              <a:ahLst/>
              <a:cxnLst/>
              <a:rect l="l" t="t" r="r" b="b"/>
              <a:pathLst>
                <a:path w="4733" h="5225" extrusionOk="0">
                  <a:moveTo>
                    <a:pt x="2367" y="0"/>
                  </a:moveTo>
                  <a:lnTo>
                    <a:pt x="2059" y="469"/>
                  </a:lnTo>
                  <a:lnTo>
                    <a:pt x="346" y="469"/>
                  </a:lnTo>
                  <a:cubicBezTo>
                    <a:pt x="161" y="469"/>
                    <a:pt x="1" y="616"/>
                    <a:pt x="1" y="801"/>
                  </a:cubicBezTo>
                  <a:lnTo>
                    <a:pt x="1" y="4892"/>
                  </a:lnTo>
                  <a:cubicBezTo>
                    <a:pt x="1" y="5077"/>
                    <a:pt x="161" y="5225"/>
                    <a:pt x="346" y="5225"/>
                  </a:cubicBezTo>
                  <a:lnTo>
                    <a:pt x="4400" y="5225"/>
                  </a:lnTo>
                  <a:cubicBezTo>
                    <a:pt x="4584" y="5225"/>
                    <a:pt x="4732" y="5077"/>
                    <a:pt x="4732" y="4892"/>
                  </a:cubicBezTo>
                  <a:lnTo>
                    <a:pt x="4732" y="801"/>
                  </a:lnTo>
                  <a:cubicBezTo>
                    <a:pt x="4732" y="616"/>
                    <a:pt x="4584" y="469"/>
                    <a:pt x="4400" y="469"/>
                  </a:cubicBezTo>
                  <a:lnTo>
                    <a:pt x="2687" y="469"/>
                  </a:lnTo>
                  <a:lnTo>
                    <a:pt x="2367" y="0"/>
                  </a:ln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dirty="0"/>
                <a:t>Identifying the missing value and replacing with median</a:t>
              </a:r>
              <a:endParaRPr dirty="0"/>
            </a:p>
          </p:txBody>
        </p:sp>
        <p:sp>
          <p:nvSpPr>
            <p:cNvPr id="29" name="Google Shape;5103;p55">
              <a:extLst>
                <a:ext uri="{FF2B5EF4-FFF2-40B4-BE49-F238E27FC236}">
                  <a16:creationId xmlns:a16="http://schemas.microsoft.com/office/drawing/2014/main" id="{FA1AB9E9-4BC7-D52D-CEC4-A1C25F131711}"/>
                </a:ext>
              </a:extLst>
            </p:cNvPr>
            <p:cNvSpPr/>
            <p:nvPr/>
          </p:nvSpPr>
          <p:spPr>
            <a:xfrm>
              <a:off x="6625358" y="2620025"/>
              <a:ext cx="243201" cy="268539"/>
            </a:xfrm>
            <a:custGeom>
              <a:avLst/>
              <a:gdLst/>
              <a:ahLst/>
              <a:cxnLst/>
              <a:rect l="l" t="t" r="r" b="b"/>
              <a:pathLst>
                <a:path w="4732" h="5225" extrusionOk="0">
                  <a:moveTo>
                    <a:pt x="2366" y="0"/>
                  </a:moveTo>
                  <a:lnTo>
                    <a:pt x="2058" y="469"/>
                  </a:lnTo>
                  <a:lnTo>
                    <a:pt x="358" y="469"/>
                  </a:lnTo>
                  <a:cubicBezTo>
                    <a:pt x="350" y="468"/>
                    <a:pt x="343" y="468"/>
                    <a:pt x="336" y="468"/>
                  </a:cubicBezTo>
                  <a:cubicBezTo>
                    <a:pt x="149" y="468"/>
                    <a:pt x="0" y="623"/>
                    <a:pt x="0" y="801"/>
                  </a:cubicBezTo>
                  <a:lnTo>
                    <a:pt x="0" y="4892"/>
                  </a:lnTo>
                  <a:cubicBezTo>
                    <a:pt x="0" y="5077"/>
                    <a:pt x="148" y="5225"/>
                    <a:pt x="333" y="5225"/>
                  </a:cubicBezTo>
                  <a:lnTo>
                    <a:pt x="4387" y="5225"/>
                  </a:lnTo>
                  <a:cubicBezTo>
                    <a:pt x="4572" y="5225"/>
                    <a:pt x="4732" y="5077"/>
                    <a:pt x="4732" y="4892"/>
                  </a:cubicBezTo>
                  <a:lnTo>
                    <a:pt x="4732" y="801"/>
                  </a:lnTo>
                  <a:cubicBezTo>
                    <a:pt x="4732" y="616"/>
                    <a:pt x="4572" y="469"/>
                    <a:pt x="4387" y="469"/>
                  </a:cubicBezTo>
                  <a:lnTo>
                    <a:pt x="2674" y="469"/>
                  </a:lnTo>
                  <a:lnTo>
                    <a:pt x="2366" y="0"/>
                  </a:lnTo>
                  <a:close/>
                </a:path>
              </a:pathLst>
            </a:custGeom>
            <a:solidFill>
              <a:schemeClr val="accent6"/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n-US" dirty="0"/>
                <a:t>Check data imbalance</a:t>
              </a:r>
            </a:p>
          </p:txBody>
        </p:sp>
        <p:sp>
          <p:nvSpPr>
            <p:cNvPr id="31" name="Google Shape;5105;p55">
              <a:extLst>
                <a:ext uri="{FF2B5EF4-FFF2-40B4-BE49-F238E27FC236}">
                  <a16:creationId xmlns:a16="http://schemas.microsoft.com/office/drawing/2014/main" id="{36E766BC-A15C-C3C3-33E3-0E96615F8405}"/>
                </a:ext>
              </a:extLst>
            </p:cNvPr>
            <p:cNvSpPr/>
            <p:nvPr/>
          </p:nvSpPr>
          <p:spPr>
            <a:xfrm>
              <a:off x="5808471" y="2556590"/>
              <a:ext cx="1158906" cy="10844"/>
            </a:xfrm>
            <a:custGeom>
              <a:avLst/>
              <a:gdLst/>
              <a:ahLst/>
              <a:cxnLst/>
              <a:rect l="l" t="t" r="r" b="b"/>
              <a:pathLst>
                <a:path w="22549" h="211" extrusionOk="0">
                  <a:moveTo>
                    <a:pt x="0" y="1"/>
                  </a:moveTo>
                  <a:lnTo>
                    <a:pt x="0" y="210"/>
                  </a:lnTo>
                  <a:lnTo>
                    <a:pt x="22548" y="210"/>
                  </a:lnTo>
                  <a:lnTo>
                    <a:pt x="22548" y="1"/>
                  </a:lnTo>
                  <a:close/>
                </a:path>
              </a:pathLst>
            </a:custGeom>
            <a:solidFill>
              <a:srgbClr val="F8FAF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5106;p55">
              <a:extLst>
                <a:ext uri="{FF2B5EF4-FFF2-40B4-BE49-F238E27FC236}">
                  <a16:creationId xmlns:a16="http://schemas.microsoft.com/office/drawing/2014/main" id="{5BB870FB-98B3-0B56-8B71-FD942FBEEF3A}"/>
                </a:ext>
              </a:extLst>
            </p:cNvPr>
            <p:cNvSpPr/>
            <p:nvPr/>
          </p:nvSpPr>
          <p:spPr>
            <a:xfrm>
              <a:off x="5876210" y="2539861"/>
              <a:ext cx="58950" cy="50675"/>
            </a:xfrm>
            <a:custGeom>
              <a:avLst/>
              <a:gdLst/>
              <a:ahLst/>
              <a:cxnLst/>
              <a:rect l="l" t="t" r="r" b="b"/>
              <a:pathLst>
                <a:path w="1147" h="986" extrusionOk="0">
                  <a:moveTo>
                    <a:pt x="643" y="0"/>
                  </a:moveTo>
                  <a:cubicBezTo>
                    <a:pt x="525" y="0"/>
                    <a:pt x="406" y="42"/>
                    <a:pt x="309" y="135"/>
                  </a:cubicBezTo>
                  <a:cubicBezTo>
                    <a:pt x="1" y="443"/>
                    <a:pt x="210" y="973"/>
                    <a:pt x="654" y="985"/>
                  </a:cubicBezTo>
                  <a:cubicBezTo>
                    <a:pt x="925" y="985"/>
                    <a:pt x="1134" y="764"/>
                    <a:pt x="1146" y="492"/>
                  </a:cubicBezTo>
                  <a:cubicBezTo>
                    <a:pt x="1146" y="197"/>
                    <a:pt x="898" y="0"/>
                    <a:pt x="643" y="0"/>
                  </a:cubicBezTo>
                  <a:close/>
                </a:path>
              </a:pathLst>
            </a:custGeom>
            <a:solidFill>
              <a:srgbClr val="435D7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5107;p55">
              <a:extLst>
                <a:ext uri="{FF2B5EF4-FFF2-40B4-BE49-F238E27FC236}">
                  <a16:creationId xmlns:a16="http://schemas.microsoft.com/office/drawing/2014/main" id="{0EA2EA5E-7E59-F2BB-933D-CB243C2062FC}"/>
                </a:ext>
              </a:extLst>
            </p:cNvPr>
            <p:cNvSpPr/>
            <p:nvPr/>
          </p:nvSpPr>
          <p:spPr>
            <a:xfrm>
              <a:off x="6154944" y="2535634"/>
              <a:ext cx="58950" cy="50624"/>
            </a:xfrm>
            <a:custGeom>
              <a:avLst/>
              <a:gdLst/>
              <a:ahLst/>
              <a:cxnLst/>
              <a:rect l="l" t="t" r="r" b="b"/>
              <a:pathLst>
                <a:path w="1147" h="985" extrusionOk="0">
                  <a:moveTo>
                    <a:pt x="656" y="0"/>
                  </a:moveTo>
                  <a:cubicBezTo>
                    <a:pt x="534" y="0"/>
                    <a:pt x="409" y="46"/>
                    <a:pt x="309" y="146"/>
                  </a:cubicBezTo>
                  <a:cubicBezTo>
                    <a:pt x="1" y="454"/>
                    <a:pt x="222" y="984"/>
                    <a:pt x="654" y="984"/>
                  </a:cubicBezTo>
                  <a:cubicBezTo>
                    <a:pt x="925" y="984"/>
                    <a:pt x="1147" y="763"/>
                    <a:pt x="1147" y="491"/>
                  </a:cubicBezTo>
                  <a:cubicBezTo>
                    <a:pt x="1147" y="193"/>
                    <a:pt x="906" y="0"/>
                    <a:pt x="656" y="0"/>
                  </a:cubicBezTo>
                  <a:close/>
                </a:path>
              </a:pathLst>
            </a:custGeom>
            <a:solidFill>
              <a:srgbClr val="435D7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5108;p55">
              <a:extLst>
                <a:ext uri="{FF2B5EF4-FFF2-40B4-BE49-F238E27FC236}">
                  <a16:creationId xmlns:a16="http://schemas.microsoft.com/office/drawing/2014/main" id="{00DF62B6-4350-4FA2-4574-0585F4442BF4}"/>
                </a:ext>
              </a:extLst>
            </p:cNvPr>
            <p:cNvSpPr/>
            <p:nvPr/>
          </p:nvSpPr>
          <p:spPr>
            <a:xfrm>
              <a:off x="6429525" y="2535788"/>
              <a:ext cx="58950" cy="50470"/>
            </a:xfrm>
            <a:custGeom>
              <a:avLst/>
              <a:gdLst/>
              <a:ahLst/>
              <a:cxnLst/>
              <a:rect l="l" t="t" r="r" b="b"/>
              <a:pathLst>
                <a:path w="1147" h="982" extrusionOk="0">
                  <a:moveTo>
                    <a:pt x="666" y="1"/>
                  </a:moveTo>
                  <a:cubicBezTo>
                    <a:pt x="222" y="1"/>
                    <a:pt x="1" y="530"/>
                    <a:pt x="309" y="838"/>
                  </a:cubicBezTo>
                  <a:cubicBezTo>
                    <a:pt x="408" y="938"/>
                    <a:pt x="530" y="982"/>
                    <a:pt x="650" y="982"/>
                  </a:cubicBezTo>
                  <a:cubicBezTo>
                    <a:pt x="903" y="982"/>
                    <a:pt x="1147" y="786"/>
                    <a:pt x="1147" y="493"/>
                  </a:cubicBezTo>
                  <a:cubicBezTo>
                    <a:pt x="1147" y="222"/>
                    <a:pt x="925" y="1"/>
                    <a:pt x="666" y="1"/>
                  </a:cubicBezTo>
                  <a:close/>
                </a:path>
              </a:pathLst>
            </a:custGeom>
            <a:solidFill>
              <a:srgbClr val="435D7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5109;p55">
              <a:extLst>
                <a:ext uri="{FF2B5EF4-FFF2-40B4-BE49-F238E27FC236}">
                  <a16:creationId xmlns:a16="http://schemas.microsoft.com/office/drawing/2014/main" id="{AB7E2037-1351-CE19-1D59-72E4336D2C18}"/>
                </a:ext>
              </a:extLst>
            </p:cNvPr>
            <p:cNvSpPr/>
            <p:nvPr/>
          </p:nvSpPr>
          <p:spPr>
            <a:xfrm>
              <a:off x="6717792" y="2542111"/>
              <a:ext cx="58333" cy="50624"/>
            </a:xfrm>
            <a:custGeom>
              <a:avLst/>
              <a:gdLst/>
              <a:ahLst/>
              <a:cxnLst/>
              <a:rect l="l" t="t" r="r" b="b"/>
              <a:pathLst>
                <a:path w="1135" h="985" extrusionOk="0">
                  <a:moveTo>
                    <a:pt x="653" y="0"/>
                  </a:moveTo>
                  <a:cubicBezTo>
                    <a:pt x="533" y="0"/>
                    <a:pt x="410" y="46"/>
                    <a:pt x="309" y="146"/>
                  </a:cubicBezTo>
                  <a:cubicBezTo>
                    <a:pt x="1" y="454"/>
                    <a:pt x="210" y="984"/>
                    <a:pt x="654" y="984"/>
                  </a:cubicBezTo>
                  <a:cubicBezTo>
                    <a:pt x="925" y="984"/>
                    <a:pt x="1135" y="763"/>
                    <a:pt x="1135" y="491"/>
                  </a:cubicBezTo>
                  <a:cubicBezTo>
                    <a:pt x="1135" y="193"/>
                    <a:pt x="900" y="0"/>
                    <a:pt x="653" y="0"/>
                  </a:cubicBezTo>
                  <a:close/>
                </a:path>
              </a:pathLst>
            </a:custGeom>
            <a:solidFill>
              <a:srgbClr val="435D7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0" name="Google Shape;7812;p57">
            <a:extLst>
              <a:ext uri="{FF2B5EF4-FFF2-40B4-BE49-F238E27FC236}">
                <a16:creationId xmlns:a16="http://schemas.microsoft.com/office/drawing/2014/main" id="{D780CAD1-0109-5B9D-FAF5-757B86966F08}"/>
              </a:ext>
            </a:extLst>
          </p:cNvPr>
          <p:cNvSpPr/>
          <p:nvPr/>
        </p:nvSpPr>
        <p:spPr>
          <a:xfrm>
            <a:off x="3439423" y="2818723"/>
            <a:ext cx="363370" cy="351456"/>
          </a:xfrm>
          <a:custGeom>
            <a:avLst/>
            <a:gdLst/>
            <a:ahLst/>
            <a:cxnLst/>
            <a:rect l="l" t="t" r="r" b="b"/>
            <a:pathLst>
              <a:path w="11407" h="11033" extrusionOk="0">
                <a:moveTo>
                  <a:pt x="1698" y="1130"/>
                </a:moveTo>
                <a:cubicBezTo>
                  <a:pt x="1739" y="1130"/>
                  <a:pt x="1780" y="1133"/>
                  <a:pt x="1822" y="1137"/>
                </a:cubicBezTo>
                <a:lnTo>
                  <a:pt x="1143" y="3626"/>
                </a:lnTo>
                <a:cubicBezTo>
                  <a:pt x="643" y="3423"/>
                  <a:pt x="357" y="2852"/>
                  <a:pt x="512" y="2316"/>
                </a:cubicBezTo>
                <a:lnTo>
                  <a:pt x="607" y="1959"/>
                </a:lnTo>
                <a:cubicBezTo>
                  <a:pt x="750" y="1453"/>
                  <a:pt x="1207" y="1130"/>
                  <a:pt x="1698" y="1130"/>
                </a:cubicBezTo>
                <a:close/>
                <a:moveTo>
                  <a:pt x="2641" y="304"/>
                </a:moveTo>
                <a:cubicBezTo>
                  <a:pt x="2755" y="304"/>
                  <a:pt x="2867" y="357"/>
                  <a:pt x="2929" y="471"/>
                </a:cubicBezTo>
                <a:cubicBezTo>
                  <a:pt x="2977" y="542"/>
                  <a:pt x="2989" y="649"/>
                  <a:pt x="2965" y="732"/>
                </a:cubicBezTo>
                <a:lnTo>
                  <a:pt x="1941" y="4566"/>
                </a:lnTo>
                <a:cubicBezTo>
                  <a:pt x="1905" y="4650"/>
                  <a:pt x="1846" y="4733"/>
                  <a:pt x="1774" y="4769"/>
                </a:cubicBezTo>
                <a:cubicBezTo>
                  <a:pt x="1719" y="4806"/>
                  <a:pt x="1659" y="4822"/>
                  <a:pt x="1601" y="4822"/>
                </a:cubicBezTo>
                <a:cubicBezTo>
                  <a:pt x="1396" y="4822"/>
                  <a:pt x="1207" y="4619"/>
                  <a:pt x="1262" y="4388"/>
                </a:cubicBezTo>
                <a:cubicBezTo>
                  <a:pt x="1310" y="4209"/>
                  <a:pt x="2215" y="828"/>
                  <a:pt x="2298" y="566"/>
                </a:cubicBezTo>
                <a:cubicBezTo>
                  <a:pt x="2339" y="397"/>
                  <a:pt x="2491" y="304"/>
                  <a:pt x="2641" y="304"/>
                </a:cubicBezTo>
                <a:close/>
                <a:moveTo>
                  <a:pt x="8751" y="3792"/>
                </a:moveTo>
                <a:lnTo>
                  <a:pt x="10168" y="4173"/>
                </a:lnTo>
                <a:lnTo>
                  <a:pt x="9894" y="5185"/>
                </a:lnTo>
                <a:lnTo>
                  <a:pt x="8489" y="4804"/>
                </a:lnTo>
                <a:cubicBezTo>
                  <a:pt x="8525" y="4614"/>
                  <a:pt x="8704" y="3983"/>
                  <a:pt x="8751" y="3792"/>
                </a:cubicBezTo>
                <a:close/>
                <a:moveTo>
                  <a:pt x="10789" y="3812"/>
                </a:moveTo>
                <a:cubicBezTo>
                  <a:pt x="10804" y="3812"/>
                  <a:pt x="10819" y="3813"/>
                  <a:pt x="10835" y="3816"/>
                </a:cubicBezTo>
                <a:cubicBezTo>
                  <a:pt x="10954" y="3852"/>
                  <a:pt x="11025" y="3971"/>
                  <a:pt x="11001" y="4090"/>
                </a:cubicBezTo>
                <a:lnTo>
                  <a:pt x="10573" y="5662"/>
                </a:lnTo>
                <a:cubicBezTo>
                  <a:pt x="10542" y="5765"/>
                  <a:pt x="10447" y="5833"/>
                  <a:pt x="10345" y="5833"/>
                </a:cubicBezTo>
                <a:cubicBezTo>
                  <a:pt x="10330" y="5833"/>
                  <a:pt x="10314" y="5831"/>
                  <a:pt x="10299" y="5828"/>
                </a:cubicBezTo>
                <a:cubicBezTo>
                  <a:pt x="10180" y="5805"/>
                  <a:pt x="10120" y="5626"/>
                  <a:pt x="10132" y="5566"/>
                </a:cubicBezTo>
                <a:cubicBezTo>
                  <a:pt x="10179" y="5391"/>
                  <a:pt x="10560" y="3982"/>
                  <a:pt x="10573" y="3982"/>
                </a:cubicBezTo>
                <a:cubicBezTo>
                  <a:pt x="10573" y="3982"/>
                  <a:pt x="10573" y="3982"/>
                  <a:pt x="10573" y="3983"/>
                </a:cubicBezTo>
                <a:cubicBezTo>
                  <a:pt x="10594" y="3879"/>
                  <a:pt x="10687" y="3812"/>
                  <a:pt x="10789" y="3812"/>
                </a:cubicBezTo>
                <a:close/>
                <a:moveTo>
                  <a:pt x="4679" y="4983"/>
                </a:moveTo>
                <a:lnTo>
                  <a:pt x="6799" y="5447"/>
                </a:lnTo>
                <a:lnTo>
                  <a:pt x="6799" y="5924"/>
                </a:lnTo>
                <a:cubicBezTo>
                  <a:pt x="6799" y="6245"/>
                  <a:pt x="6537" y="6531"/>
                  <a:pt x="6191" y="6531"/>
                </a:cubicBezTo>
                <a:lnTo>
                  <a:pt x="5286" y="6531"/>
                </a:lnTo>
                <a:cubicBezTo>
                  <a:pt x="4953" y="6531"/>
                  <a:pt x="4667" y="6257"/>
                  <a:pt x="4667" y="5924"/>
                </a:cubicBezTo>
                <a:lnTo>
                  <a:pt x="4667" y="4983"/>
                </a:lnTo>
                <a:close/>
                <a:moveTo>
                  <a:pt x="2644" y="0"/>
                </a:moveTo>
                <a:cubicBezTo>
                  <a:pt x="2359" y="0"/>
                  <a:pt x="2075" y="175"/>
                  <a:pt x="1988" y="494"/>
                </a:cubicBezTo>
                <a:lnTo>
                  <a:pt x="1905" y="840"/>
                </a:lnTo>
                <a:cubicBezTo>
                  <a:pt x="1835" y="829"/>
                  <a:pt x="1764" y="824"/>
                  <a:pt x="1694" y="824"/>
                </a:cubicBezTo>
                <a:cubicBezTo>
                  <a:pt x="1065" y="824"/>
                  <a:pt x="469" y="1246"/>
                  <a:pt x="298" y="1899"/>
                </a:cubicBezTo>
                <a:lnTo>
                  <a:pt x="191" y="2256"/>
                </a:lnTo>
                <a:cubicBezTo>
                  <a:pt x="0" y="2947"/>
                  <a:pt x="369" y="3685"/>
                  <a:pt x="1048" y="3959"/>
                </a:cubicBezTo>
                <a:lnTo>
                  <a:pt x="953" y="4292"/>
                </a:lnTo>
                <a:cubicBezTo>
                  <a:pt x="822" y="4751"/>
                  <a:pt x="1191" y="5150"/>
                  <a:pt x="1609" y="5150"/>
                </a:cubicBezTo>
                <a:cubicBezTo>
                  <a:pt x="1723" y="5150"/>
                  <a:pt x="1840" y="5121"/>
                  <a:pt x="1953" y="5054"/>
                </a:cubicBezTo>
                <a:cubicBezTo>
                  <a:pt x="2274" y="4876"/>
                  <a:pt x="2274" y="4554"/>
                  <a:pt x="2322" y="4459"/>
                </a:cubicBezTo>
                <a:lnTo>
                  <a:pt x="4358" y="4912"/>
                </a:lnTo>
                <a:lnTo>
                  <a:pt x="4358" y="5924"/>
                </a:lnTo>
                <a:cubicBezTo>
                  <a:pt x="4358" y="6436"/>
                  <a:pt x="4775" y="6852"/>
                  <a:pt x="5298" y="6852"/>
                </a:cubicBezTo>
                <a:lnTo>
                  <a:pt x="5584" y="6852"/>
                </a:lnTo>
                <a:lnTo>
                  <a:pt x="5584" y="7638"/>
                </a:lnTo>
                <a:lnTo>
                  <a:pt x="4001" y="7638"/>
                </a:lnTo>
                <a:cubicBezTo>
                  <a:pt x="3703" y="7638"/>
                  <a:pt x="3453" y="7900"/>
                  <a:pt x="3453" y="8198"/>
                </a:cubicBezTo>
                <a:cubicBezTo>
                  <a:pt x="3453" y="8495"/>
                  <a:pt x="3703" y="8745"/>
                  <a:pt x="4001" y="8745"/>
                </a:cubicBezTo>
                <a:lnTo>
                  <a:pt x="4298" y="8745"/>
                </a:lnTo>
                <a:lnTo>
                  <a:pt x="2679" y="10758"/>
                </a:lnTo>
                <a:cubicBezTo>
                  <a:pt x="2584" y="10865"/>
                  <a:pt x="2667" y="11019"/>
                  <a:pt x="2810" y="11019"/>
                </a:cubicBezTo>
                <a:cubicBezTo>
                  <a:pt x="2858" y="11019"/>
                  <a:pt x="2905" y="11008"/>
                  <a:pt x="2941" y="10960"/>
                </a:cubicBezTo>
                <a:lnTo>
                  <a:pt x="4727" y="8745"/>
                </a:lnTo>
                <a:lnTo>
                  <a:pt x="5596" y="8745"/>
                </a:lnTo>
                <a:lnTo>
                  <a:pt x="5596" y="10865"/>
                </a:lnTo>
                <a:cubicBezTo>
                  <a:pt x="5596" y="10948"/>
                  <a:pt x="5667" y="11019"/>
                  <a:pt x="5763" y="11019"/>
                </a:cubicBezTo>
                <a:cubicBezTo>
                  <a:pt x="5846" y="11019"/>
                  <a:pt x="5918" y="10948"/>
                  <a:pt x="5918" y="10865"/>
                </a:cubicBezTo>
                <a:lnTo>
                  <a:pt x="5918" y="8745"/>
                </a:lnTo>
                <a:lnTo>
                  <a:pt x="6787" y="8745"/>
                </a:lnTo>
                <a:lnTo>
                  <a:pt x="8573" y="10960"/>
                </a:lnTo>
                <a:cubicBezTo>
                  <a:pt x="8607" y="11009"/>
                  <a:pt x="8658" y="11033"/>
                  <a:pt x="8706" y="11033"/>
                </a:cubicBezTo>
                <a:cubicBezTo>
                  <a:pt x="8741" y="11033"/>
                  <a:pt x="8774" y="11020"/>
                  <a:pt x="8799" y="10996"/>
                </a:cubicBezTo>
                <a:cubicBezTo>
                  <a:pt x="8870" y="10936"/>
                  <a:pt x="8870" y="10829"/>
                  <a:pt x="8823" y="10769"/>
                </a:cubicBezTo>
                <a:lnTo>
                  <a:pt x="7203" y="8757"/>
                </a:lnTo>
                <a:lnTo>
                  <a:pt x="7501" y="8757"/>
                </a:lnTo>
                <a:cubicBezTo>
                  <a:pt x="7799" y="8757"/>
                  <a:pt x="8049" y="8507"/>
                  <a:pt x="8049" y="8210"/>
                </a:cubicBezTo>
                <a:cubicBezTo>
                  <a:pt x="8049" y="7912"/>
                  <a:pt x="7799" y="7662"/>
                  <a:pt x="7501" y="7662"/>
                </a:cubicBezTo>
                <a:lnTo>
                  <a:pt x="7108" y="7662"/>
                </a:lnTo>
                <a:cubicBezTo>
                  <a:pt x="7025" y="7662"/>
                  <a:pt x="6953" y="7733"/>
                  <a:pt x="6953" y="7817"/>
                </a:cubicBezTo>
                <a:cubicBezTo>
                  <a:pt x="6953" y="7912"/>
                  <a:pt x="7025" y="7983"/>
                  <a:pt x="7108" y="7983"/>
                </a:cubicBezTo>
                <a:lnTo>
                  <a:pt x="7501" y="7983"/>
                </a:lnTo>
                <a:cubicBezTo>
                  <a:pt x="7620" y="7983"/>
                  <a:pt x="7727" y="8091"/>
                  <a:pt x="7727" y="8210"/>
                </a:cubicBezTo>
                <a:cubicBezTo>
                  <a:pt x="7727" y="8329"/>
                  <a:pt x="7620" y="8436"/>
                  <a:pt x="7501" y="8436"/>
                </a:cubicBezTo>
                <a:lnTo>
                  <a:pt x="4024" y="8436"/>
                </a:lnTo>
                <a:cubicBezTo>
                  <a:pt x="3905" y="8436"/>
                  <a:pt x="3798" y="8329"/>
                  <a:pt x="3798" y="8210"/>
                </a:cubicBezTo>
                <a:cubicBezTo>
                  <a:pt x="3798" y="8091"/>
                  <a:pt x="3905" y="7983"/>
                  <a:pt x="4024" y="7983"/>
                </a:cubicBezTo>
                <a:lnTo>
                  <a:pt x="6489" y="7983"/>
                </a:lnTo>
                <a:cubicBezTo>
                  <a:pt x="6584" y="7983"/>
                  <a:pt x="6656" y="7912"/>
                  <a:pt x="6656" y="7817"/>
                </a:cubicBezTo>
                <a:cubicBezTo>
                  <a:pt x="6656" y="7733"/>
                  <a:pt x="6584" y="7662"/>
                  <a:pt x="6489" y="7662"/>
                </a:cubicBezTo>
                <a:lnTo>
                  <a:pt x="5929" y="7662"/>
                </a:lnTo>
                <a:lnTo>
                  <a:pt x="5929" y="6876"/>
                </a:lnTo>
                <a:lnTo>
                  <a:pt x="6203" y="6876"/>
                </a:lnTo>
                <a:cubicBezTo>
                  <a:pt x="6727" y="6876"/>
                  <a:pt x="7144" y="6459"/>
                  <a:pt x="7144" y="5935"/>
                </a:cubicBezTo>
                <a:lnTo>
                  <a:pt x="7144" y="5531"/>
                </a:lnTo>
                <a:lnTo>
                  <a:pt x="7668" y="5650"/>
                </a:lnTo>
                <a:cubicBezTo>
                  <a:pt x="7713" y="5660"/>
                  <a:pt x="7758" y="5665"/>
                  <a:pt x="7803" y="5665"/>
                </a:cubicBezTo>
                <a:cubicBezTo>
                  <a:pt x="8075" y="5665"/>
                  <a:pt x="8322" y="5484"/>
                  <a:pt x="8394" y="5197"/>
                </a:cubicBezTo>
                <a:lnTo>
                  <a:pt x="8406" y="5126"/>
                </a:lnTo>
                <a:lnTo>
                  <a:pt x="9823" y="5519"/>
                </a:lnTo>
                <a:cubicBezTo>
                  <a:pt x="9763" y="5793"/>
                  <a:pt x="9930" y="6078"/>
                  <a:pt x="10228" y="6150"/>
                </a:cubicBezTo>
                <a:cubicBezTo>
                  <a:pt x="10279" y="6164"/>
                  <a:pt x="10331" y="6171"/>
                  <a:pt x="10382" y="6171"/>
                </a:cubicBezTo>
                <a:cubicBezTo>
                  <a:pt x="10622" y="6171"/>
                  <a:pt x="10835" y="6015"/>
                  <a:pt x="10894" y="5769"/>
                </a:cubicBezTo>
                <a:lnTo>
                  <a:pt x="11323" y="4185"/>
                </a:lnTo>
                <a:cubicBezTo>
                  <a:pt x="11406" y="3888"/>
                  <a:pt x="11240" y="3590"/>
                  <a:pt x="10942" y="3519"/>
                </a:cubicBezTo>
                <a:cubicBezTo>
                  <a:pt x="10897" y="3507"/>
                  <a:pt x="10852" y="3502"/>
                  <a:pt x="10807" y="3502"/>
                </a:cubicBezTo>
                <a:cubicBezTo>
                  <a:pt x="10568" y="3502"/>
                  <a:pt x="10345" y="3655"/>
                  <a:pt x="10275" y="3876"/>
                </a:cubicBezTo>
                <a:lnTo>
                  <a:pt x="8858" y="3495"/>
                </a:lnTo>
                <a:lnTo>
                  <a:pt x="8870" y="3411"/>
                </a:lnTo>
                <a:cubicBezTo>
                  <a:pt x="8966" y="3090"/>
                  <a:pt x="8775" y="2757"/>
                  <a:pt x="8454" y="2673"/>
                </a:cubicBezTo>
                <a:lnTo>
                  <a:pt x="5679" y="1792"/>
                </a:lnTo>
                <a:cubicBezTo>
                  <a:pt x="5663" y="1787"/>
                  <a:pt x="5646" y="1785"/>
                  <a:pt x="5629" y="1785"/>
                </a:cubicBezTo>
                <a:cubicBezTo>
                  <a:pt x="5561" y="1785"/>
                  <a:pt x="5496" y="1823"/>
                  <a:pt x="5477" y="1899"/>
                </a:cubicBezTo>
                <a:cubicBezTo>
                  <a:pt x="5453" y="1983"/>
                  <a:pt x="5489" y="2078"/>
                  <a:pt x="5584" y="2102"/>
                </a:cubicBezTo>
                <a:lnTo>
                  <a:pt x="8346" y="2983"/>
                </a:lnTo>
                <a:cubicBezTo>
                  <a:pt x="8501" y="3030"/>
                  <a:pt x="8585" y="3197"/>
                  <a:pt x="8549" y="3340"/>
                </a:cubicBezTo>
                <a:cubicBezTo>
                  <a:pt x="8049" y="5162"/>
                  <a:pt x="8144" y="4816"/>
                  <a:pt x="8073" y="5126"/>
                </a:cubicBezTo>
                <a:cubicBezTo>
                  <a:pt x="8030" y="5263"/>
                  <a:pt x="7904" y="5344"/>
                  <a:pt x="7776" y="5344"/>
                </a:cubicBezTo>
                <a:cubicBezTo>
                  <a:pt x="7760" y="5344"/>
                  <a:pt x="7743" y="5343"/>
                  <a:pt x="7727" y="5340"/>
                </a:cubicBezTo>
                <a:lnTo>
                  <a:pt x="2393" y="4161"/>
                </a:lnTo>
                <a:lnTo>
                  <a:pt x="3155" y="1352"/>
                </a:lnTo>
                <a:lnTo>
                  <a:pt x="4977" y="1923"/>
                </a:lnTo>
                <a:cubicBezTo>
                  <a:pt x="4996" y="1931"/>
                  <a:pt x="5016" y="1935"/>
                  <a:pt x="5035" y="1935"/>
                </a:cubicBezTo>
                <a:cubicBezTo>
                  <a:pt x="5100" y="1935"/>
                  <a:pt x="5161" y="1892"/>
                  <a:pt x="5179" y="1828"/>
                </a:cubicBezTo>
                <a:cubicBezTo>
                  <a:pt x="5203" y="1733"/>
                  <a:pt x="5167" y="1649"/>
                  <a:pt x="5072" y="1614"/>
                </a:cubicBezTo>
                <a:lnTo>
                  <a:pt x="3239" y="1030"/>
                </a:lnTo>
                <a:cubicBezTo>
                  <a:pt x="3262" y="935"/>
                  <a:pt x="3405" y="661"/>
                  <a:pt x="3227" y="340"/>
                </a:cubicBezTo>
                <a:cubicBezTo>
                  <a:pt x="3095" y="109"/>
                  <a:pt x="2869" y="0"/>
                  <a:pt x="264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" name="Google Shape;7825;p57">
            <a:extLst>
              <a:ext uri="{FF2B5EF4-FFF2-40B4-BE49-F238E27FC236}">
                <a16:creationId xmlns:a16="http://schemas.microsoft.com/office/drawing/2014/main" id="{1E36E0A1-F027-24D5-F82B-021D5BF37CE4}"/>
              </a:ext>
            </a:extLst>
          </p:cNvPr>
          <p:cNvGrpSpPr/>
          <p:nvPr/>
        </p:nvGrpSpPr>
        <p:grpSpPr>
          <a:xfrm>
            <a:off x="2228164" y="1479071"/>
            <a:ext cx="369805" cy="353782"/>
            <a:chOff x="3950316" y="3820307"/>
            <a:chExt cx="369805" cy="353782"/>
          </a:xfrm>
        </p:grpSpPr>
        <p:sp>
          <p:nvSpPr>
            <p:cNvPr id="42" name="Google Shape;7826;p57">
              <a:extLst>
                <a:ext uri="{FF2B5EF4-FFF2-40B4-BE49-F238E27FC236}">
                  <a16:creationId xmlns:a16="http://schemas.microsoft.com/office/drawing/2014/main" id="{6F7EBC44-71E3-9D02-6222-CED27E5BBBA9}"/>
                </a:ext>
              </a:extLst>
            </p:cNvPr>
            <p:cNvSpPr/>
            <p:nvPr/>
          </p:nvSpPr>
          <p:spPr>
            <a:xfrm>
              <a:off x="4040561" y="3880991"/>
              <a:ext cx="99802" cy="28383"/>
            </a:xfrm>
            <a:custGeom>
              <a:avLst/>
              <a:gdLst/>
              <a:ahLst/>
              <a:cxnLst/>
              <a:rect l="l" t="t" r="r" b="b"/>
              <a:pathLst>
                <a:path w="3133" h="891" extrusionOk="0">
                  <a:moveTo>
                    <a:pt x="1572" y="1"/>
                  </a:moveTo>
                  <a:cubicBezTo>
                    <a:pt x="1001" y="1"/>
                    <a:pt x="465" y="227"/>
                    <a:pt x="60" y="632"/>
                  </a:cubicBezTo>
                  <a:cubicBezTo>
                    <a:pt x="1" y="691"/>
                    <a:pt x="1" y="787"/>
                    <a:pt x="60" y="846"/>
                  </a:cubicBezTo>
                  <a:cubicBezTo>
                    <a:pt x="84" y="876"/>
                    <a:pt x="123" y="891"/>
                    <a:pt x="165" y="891"/>
                  </a:cubicBezTo>
                  <a:cubicBezTo>
                    <a:pt x="206" y="891"/>
                    <a:pt x="251" y="876"/>
                    <a:pt x="287" y="846"/>
                  </a:cubicBezTo>
                  <a:cubicBezTo>
                    <a:pt x="632" y="513"/>
                    <a:pt x="1072" y="310"/>
                    <a:pt x="1572" y="310"/>
                  </a:cubicBezTo>
                  <a:cubicBezTo>
                    <a:pt x="2061" y="310"/>
                    <a:pt x="2501" y="513"/>
                    <a:pt x="2846" y="846"/>
                  </a:cubicBezTo>
                  <a:cubicBezTo>
                    <a:pt x="2876" y="876"/>
                    <a:pt x="2918" y="891"/>
                    <a:pt x="2960" y="891"/>
                  </a:cubicBezTo>
                  <a:cubicBezTo>
                    <a:pt x="3001" y="891"/>
                    <a:pt x="3043" y="876"/>
                    <a:pt x="3073" y="846"/>
                  </a:cubicBezTo>
                  <a:cubicBezTo>
                    <a:pt x="3132" y="787"/>
                    <a:pt x="3132" y="691"/>
                    <a:pt x="3073" y="632"/>
                  </a:cubicBezTo>
                  <a:cubicBezTo>
                    <a:pt x="2668" y="227"/>
                    <a:pt x="2132" y="1"/>
                    <a:pt x="1572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7827;p57">
              <a:extLst>
                <a:ext uri="{FF2B5EF4-FFF2-40B4-BE49-F238E27FC236}">
                  <a16:creationId xmlns:a16="http://schemas.microsoft.com/office/drawing/2014/main" id="{BA381BFC-20E8-C473-9795-CF4AE162384F}"/>
                </a:ext>
              </a:extLst>
            </p:cNvPr>
            <p:cNvSpPr/>
            <p:nvPr/>
          </p:nvSpPr>
          <p:spPr>
            <a:xfrm>
              <a:off x="3950316" y="3820307"/>
              <a:ext cx="369805" cy="353782"/>
            </a:xfrm>
            <a:custGeom>
              <a:avLst/>
              <a:gdLst/>
              <a:ahLst/>
              <a:cxnLst/>
              <a:rect l="l" t="t" r="r" b="b"/>
              <a:pathLst>
                <a:path w="11609" h="11106" extrusionOk="0">
                  <a:moveTo>
                    <a:pt x="7358" y="6728"/>
                  </a:moveTo>
                  <a:lnTo>
                    <a:pt x="7799" y="7156"/>
                  </a:lnTo>
                  <a:lnTo>
                    <a:pt x="7513" y="7442"/>
                  </a:lnTo>
                  <a:lnTo>
                    <a:pt x="7084" y="7014"/>
                  </a:lnTo>
                  <a:cubicBezTo>
                    <a:pt x="7180" y="6918"/>
                    <a:pt x="7275" y="6835"/>
                    <a:pt x="7358" y="6728"/>
                  </a:cubicBezTo>
                  <a:close/>
                  <a:moveTo>
                    <a:pt x="4395" y="358"/>
                  </a:moveTo>
                  <a:cubicBezTo>
                    <a:pt x="5337" y="358"/>
                    <a:pt x="6281" y="715"/>
                    <a:pt x="7001" y="1429"/>
                  </a:cubicBezTo>
                  <a:cubicBezTo>
                    <a:pt x="8370" y="2799"/>
                    <a:pt x="8430" y="4942"/>
                    <a:pt x="7239" y="6382"/>
                  </a:cubicBezTo>
                  <a:cubicBezTo>
                    <a:pt x="7096" y="6561"/>
                    <a:pt x="6930" y="6728"/>
                    <a:pt x="6763" y="6859"/>
                  </a:cubicBezTo>
                  <a:cubicBezTo>
                    <a:pt x="6075" y="7434"/>
                    <a:pt x="5230" y="7723"/>
                    <a:pt x="4386" y="7723"/>
                  </a:cubicBezTo>
                  <a:cubicBezTo>
                    <a:pt x="3448" y="7723"/>
                    <a:pt x="2513" y="7365"/>
                    <a:pt x="1798" y="6644"/>
                  </a:cubicBezTo>
                  <a:cubicBezTo>
                    <a:pt x="357" y="5192"/>
                    <a:pt x="357" y="2870"/>
                    <a:pt x="1798" y="1429"/>
                  </a:cubicBezTo>
                  <a:cubicBezTo>
                    <a:pt x="2512" y="715"/>
                    <a:pt x="3453" y="358"/>
                    <a:pt x="4395" y="358"/>
                  </a:cubicBezTo>
                  <a:close/>
                  <a:moveTo>
                    <a:pt x="8226" y="7228"/>
                  </a:moveTo>
                  <a:cubicBezTo>
                    <a:pt x="8260" y="7228"/>
                    <a:pt x="8293" y="7240"/>
                    <a:pt x="8311" y="7264"/>
                  </a:cubicBezTo>
                  <a:lnTo>
                    <a:pt x="8763" y="7668"/>
                  </a:lnTo>
                  <a:lnTo>
                    <a:pt x="8001" y="8430"/>
                  </a:lnTo>
                  <a:lnTo>
                    <a:pt x="7620" y="7966"/>
                  </a:lnTo>
                  <a:cubicBezTo>
                    <a:pt x="7573" y="7918"/>
                    <a:pt x="7573" y="7835"/>
                    <a:pt x="7620" y="7787"/>
                  </a:cubicBezTo>
                  <a:lnTo>
                    <a:pt x="8132" y="7264"/>
                  </a:lnTo>
                  <a:cubicBezTo>
                    <a:pt x="8156" y="7240"/>
                    <a:pt x="8192" y="7228"/>
                    <a:pt x="8226" y="7228"/>
                  </a:cubicBezTo>
                  <a:close/>
                  <a:moveTo>
                    <a:pt x="9013" y="7871"/>
                  </a:moveTo>
                  <a:lnTo>
                    <a:pt x="10871" y="9514"/>
                  </a:lnTo>
                  <a:cubicBezTo>
                    <a:pt x="11192" y="9800"/>
                    <a:pt x="11204" y="10276"/>
                    <a:pt x="10906" y="10573"/>
                  </a:cubicBezTo>
                  <a:cubicBezTo>
                    <a:pt x="10765" y="10715"/>
                    <a:pt x="10580" y="10784"/>
                    <a:pt x="10396" y="10784"/>
                  </a:cubicBezTo>
                  <a:cubicBezTo>
                    <a:pt x="10193" y="10784"/>
                    <a:pt x="9990" y="10700"/>
                    <a:pt x="9847" y="10538"/>
                  </a:cubicBezTo>
                  <a:lnTo>
                    <a:pt x="8227" y="8668"/>
                  </a:lnTo>
                  <a:lnTo>
                    <a:pt x="9013" y="7871"/>
                  </a:lnTo>
                  <a:close/>
                  <a:moveTo>
                    <a:pt x="4423" y="1"/>
                  </a:moveTo>
                  <a:cubicBezTo>
                    <a:pt x="3396" y="1"/>
                    <a:pt x="2370" y="394"/>
                    <a:pt x="1584" y="1179"/>
                  </a:cubicBezTo>
                  <a:cubicBezTo>
                    <a:pt x="0" y="2775"/>
                    <a:pt x="0" y="5299"/>
                    <a:pt x="1560" y="6883"/>
                  </a:cubicBezTo>
                  <a:cubicBezTo>
                    <a:pt x="2340" y="7663"/>
                    <a:pt x="3364" y="8052"/>
                    <a:pt x="4389" y="8052"/>
                  </a:cubicBezTo>
                  <a:cubicBezTo>
                    <a:pt x="5257" y="8052"/>
                    <a:pt x="6126" y="7773"/>
                    <a:pt x="6846" y="7216"/>
                  </a:cubicBezTo>
                  <a:lnTo>
                    <a:pt x="7323" y="7692"/>
                  </a:lnTo>
                  <a:cubicBezTo>
                    <a:pt x="7239" y="7859"/>
                    <a:pt x="7263" y="8049"/>
                    <a:pt x="7394" y="8180"/>
                  </a:cubicBezTo>
                  <a:lnTo>
                    <a:pt x="9644" y="10752"/>
                  </a:lnTo>
                  <a:cubicBezTo>
                    <a:pt x="9847" y="10986"/>
                    <a:pt x="10133" y="11105"/>
                    <a:pt x="10421" y="11105"/>
                  </a:cubicBezTo>
                  <a:cubicBezTo>
                    <a:pt x="10690" y="11105"/>
                    <a:pt x="10961" y="11001"/>
                    <a:pt x="11168" y="10788"/>
                  </a:cubicBezTo>
                  <a:cubicBezTo>
                    <a:pt x="11609" y="10359"/>
                    <a:pt x="11573" y="9657"/>
                    <a:pt x="11133" y="9264"/>
                  </a:cubicBezTo>
                  <a:lnTo>
                    <a:pt x="8573" y="7014"/>
                  </a:lnTo>
                  <a:cubicBezTo>
                    <a:pt x="8483" y="6939"/>
                    <a:pt x="8369" y="6897"/>
                    <a:pt x="8259" y="6897"/>
                  </a:cubicBezTo>
                  <a:cubicBezTo>
                    <a:pt x="8194" y="6897"/>
                    <a:pt x="8130" y="6911"/>
                    <a:pt x="8073" y="6942"/>
                  </a:cubicBezTo>
                  <a:lnTo>
                    <a:pt x="7596" y="6454"/>
                  </a:lnTo>
                  <a:cubicBezTo>
                    <a:pt x="8811" y="4894"/>
                    <a:pt x="8704" y="2632"/>
                    <a:pt x="7263" y="1179"/>
                  </a:cubicBezTo>
                  <a:cubicBezTo>
                    <a:pt x="6477" y="394"/>
                    <a:pt x="5450" y="1"/>
                    <a:pt x="442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7828;p57">
              <a:extLst>
                <a:ext uri="{FF2B5EF4-FFF2-40B4-BE49-F238E27FC236}">
                  <a16:creationId xmlns:a16="http://schemas.microsoft.com/office/drawing/2014/main" id="{AB8F4EAE-AFC5-A55E-A6B3-5269D3BEBC54}"/>
                </a:ext>
              </a:extLst>
            </p:cNvPr>
            <p:cNvSpPr/>
            <p:nvPr/>
          </p:nvSpPr>
          <p:spPr>
            <a:xfrm>
              <a:off x="4098219" y="3850602"/>
              <a:ext cx="101299" cy="195781"/>
            </a:xfrm>
            <a:custGeom>
              <a:avLst/>
              <a:gdLst/>
              <a:ahLst/>
              <a:cxnLst/>
              <a:rect l="l" t="t" r="r" b="b"/>
              <a:pathLst>
                <a:path w="3180" h="6146" extrusionOk="0">
                  <a:moveTo>
                    <a:pt x="194" y="1"/>
                  </a:moveTo>
                  <a:cubicBezTo>
                    <a:pt x="120" y="1"/>
                    <a:pt x="58" y="57"/>
                    <a:pt x="36" y="133"/>
                  </a:cubicBezTo>
                  <a:cubicBezTo>
                    <a:pt x="24" y="228"/>
                    <a:pt x="84" y="300"/>
                    <a:pt x="179" y="312"/>
                  </a:cubicBezTo>
                  <a:cubicBezTo>
                    <a:pt x="775" y="407"/>
                    <a:pt x="1322" y="669"/>
                    <a:pt x="1739" y="1110"/>
                  </a:cubicBezTo>
                  <a:cubicBezTo>
                    <a:pt x="2822" y="2193"/>
                    <a:pt x="2822" y="3967"/>
                    <a:pt x="1739" y="5050"/>
                  </a:cubicBezTo>
                  <a:cubicBezTo>
                    <a:pt x="1286" y="5479"/>
                    <a:pt x="739" y="5765"/>
                    <a:pt x="143" y="5836"/>
                  </a:cubicBezTo>
                  <a:cubicBezTo>
                    <a:pt x="60" y="5848"/>
                    <a:pt x="1" y="5932"/>
                    <a:pt x="13" y="6015"/>
                  </a:cubicBezTo>
                  <a:cubicBezTo>
                    <a:pt x="24" y="6086"/>
                    <a:pt x="84" y="6146"/>
                    <a:pt x="179" y="6146"/>
                  </a:cubicBezTo>
                  <a:lnTo>
                    <a:pt x="203" y="6146"/>
                  </a:lnTo>
                  <a:cubicBezTo>
                    <a:pt x="870" y="6063"/>
                    <a:pt x="1489" y="5753"/>
                    <a:pt x="1977" y="5277"/>
                  </a:cubicBezTo>
                  <a:cubicBezTo>
                    <a:pt x="3180" y="4062"/>
                    <a:pt x="3180" y="2086"/>
                    <a:pt x="1977" y="883"/>
                  </a:cubicBezTo>
                  <a:cubicBezTo>
                    <a:pt x="1501" y="407"/>
                    <a:pt x="894" y="97"/>
                    <a:pt x="215" y="2"/>
                  </a:cubicBezTo>
                  <a:cubicBezTo>
                    <a:pt x="208" y="1"/>
                    <a:pt x="201" y="1"/>
                    <a:pt x="194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5" name="Google Shape;7829;p57">
              <a:extLst>
                <a:ext uri="{FF2B5EF4-FFF2-40B4-BE49-F238E27FC236}">
                  <a16:creationId xmlns:a16="http://schemas.microsoft.com/office/drawing/2014/main" id="{0525D927-8A22-EAD8-1080-F9CF7010D772}"/>
                </a:ext>
              </a:extLst>
            </p:cNvPr>
            <p:cNvSpPr/>
            <p:nvPr/>
          </p:nvSpPr>
          <p:spPr>
            <a:xfrm>
              <a:off x="3981789" y="3849136"/>
              <a:ext cx="103178" cy="198011"/>
            </a:xfrm>
            <a:custGeom>
              <a:avLst/>
              <a:gdLst/>
              <a:ahLst/>
              <a:cxnLst/>
              <a:rect l="l" t="t" r="r" b="b"/>
              <a:pathLst>
                <a:path w="3239" h="6216" extrusionOk="0">
                  <a:moveTo>
                    <a:pt x="3036" y="1"/>
                  </a:moveTo>
                  <a:cubicBezTo>
                    <a:pt x="2346" y="120"/>
                    <a:pt x="1703" y="441"/>
                    <a:pt x="1215" y="929"/>
                  </a:cubicBezTo>
                  <a:cubicBezTo>
                    <a:pt x="0" y="2132"/>
                    <a:pt x="0" y="4108"/>
                    <a:pt x="1215" y="5323"/>
                  </a:cubicBezTo>
                  <a:cubicBezTo>
                    <a:pt x="1715" y="5823"/>
                    <a:pt x="2346" y="6120"/>
                    <a:pt x="3036" y="6216"/>
                  </a:cubicBezTo>
                  <a:lnTo>
                    <a:pt x="3060" y="6216"/>
                  </a:lnTo>
                  <a:cubicBezTo>
                    <a:pt x="3132" y="6216"/>
                    <a:pt x="3203" y="6156"/>
                    <a:pt x="3215" y="6061"/>
                  </a:cubicBezTo>
                  <a:cubicBezTo>
                    <a:pt x="3239" y="5978"/>
                    <a:pt x="3156" y="5894"/>
                    <a:pt x="3072" y="5882"/>
                  </a:cubicBezTo>
                  <a:cubicBezTo>
                    <a:pt x="2441" y="5811"/>
                    <a:pt x="1882" y="5537"/>
                    <a:pt x="1429" y="5085"/>
                  </a:cubicBezTo>
                  <a:cubicBezTo>
                    <a:pt x="346" y="3989"/>
                    <a:pt x="346" y="2215"/>
                    <a:pt x="1429" y="1132"/>
                  </a:cubicBezTo>
                  <a:cubicBezTo>
                    <a:pt x="1882" y="691"/>
                    <a:pt x="2441" y="405"/>
                    <a:pt x="3072" y="334"/>
                  </a:cubicBezTo>
                  <a:cubicBezTo>
                    <a:pt x="3156" y="322"/>
                    <a:pt x="3215" y="239"/>
                    <a:pt x="3215" y="155"/>
                  </a:cubicBezTo>
                  <a:cubicBezTo>
                    <a:pt x="3203" y="60"/>
                    <a:pt x="3132" y="1"/>
                    <a:pt x="303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" name="Google Shape;8042;p57">
            <a:extLst>
              <a:ext uri="{FF2B5EF4-FFF2-40B4-BE49-F238E27FC236}">
                <a16:creationId xmlns:a16="http://schemas.microsoft.com/office/drawing/2014/main" id="{D62BDBAB-5F42-282D-1BC5-0AC99355703D}"/>
              </a:ext>
            </a:extLst>
          </p:cNvPr>
          <p:cNvGrpSpPr/>
          <p:nvPr/>
        </p:nvGrpSpPr>
        <p:grpSpPr>
          <a:xfrm>
            <a:off x="4795039" y="1188327"/>
            <a:ext cx="320143" cy="392581"/>
            <a:chOff x="3086313" y="2877049"/>
            <a:chExt cx="320143" cy="392581"/>
          </a:xfrm>
        </p:grpSpPr>
        <p:sp>
          <p:nvSpPr>
            <p:cNvPr id="47" name="Google Shape;8043;p57">
              <a:extLst>
                <a:ext uri="{FF2B5EF4-FFF2-40B4-BE49-F238E27FC236}">
                  <a16:creationId xmlns:a16="http://schemas.microsoft.com/office/drawing/2014/main" id="{6B3BE4B0-796A-3713-1A84-99658A60D618}"/>
                </a:ext>
              </a:extLst>
            </p:cNvPr>
            <p:cNvSpPr/>
            <p:nvPr/>
          </p:nvSpPr>
          <p:spPr>
            <a:xfrm>
              <a:off x="3125749" y="2915371"/>
              <a:ext cx="240505" cy="354259"/>
            </a:xfrm>
            <a:custGeom>
              <a:avLst/>
              <a:gdLst/>
              <a:ahLst/>
              <a:cxnLst/>
              <a:rect l="l" t="t" r="r" b="b"/>
              <a:pathLst>
                <a:path w="7550" h="11121" extrusionOk="0">
                  <a:moveTo>
                    <a:pt x="3775" y="2929"/>
                  </a:moveTo>
                  <a:lnTo>
                    <a:pt x="3918" y="3120"/>
                  </a:lnTo>
                  <a:cubicBezTo>
                    <a:pt x="3871" y="3144"/>
                    <a:pt x="3823" y="3144"/>
                    <a:pt x="3775" y="3144"/>
                  </a:cubicBezTo>
                  <a:cubicBezTo>
                    <a:pt x="3740" y="3132"/>
                    <a:pt x="3692" y="3120"/>
                    <a:pt x="3644" y="3120"/>
                  </a:cubicBezTo>
                  <a:lnTo>
                    <a:pt x="3775" y="2929"/>
                  </a:lnTo>
                  <a:close/>
                  <a:moveTo>
                    <a:pt x="4168" y="3501"/>
                  </a:moveTo>
                  <a:lnTo>
                    <a:pt x="4299" y="3703"/>
                  </a:lnTo>
                  <a:cubicBezTo>
                    <a:pt x="4126" y="3751"/>
                    <a:pt x="3948" y="3775"/>
                    <a:pt x="3769" y="3775"/>
                  </a:cubicBezTo>
                  <a:cubicBezTo>
                    <a:pt x="3591" y="3775"/>
                    <a:pt x="3412" y="3751"/>
                    <a:pt x="3239" y="3703"/>
                  </a:cubicBezTo>
                  <a:lnTo>
                    <a:pt x="3382" y="3501"/>
                  </a:lnTo>
                  <a:cubicBezTo>
                    <a:pt x="3513" y="3560"/>
                    <a:pt x="3644" y="3572"/>
                    <a:pt x="3775" y="3572"/>
                  </a:cubicBezTo>
                  <a:cubicBezTo>
                    <a:pt x="3918" y="3572"/>
                    <a:pt x="4049" y="3537"/>
                    <a:pt x="4168" y="3501"/>
                  </a:cubicBezTo>
                  <a:close/>
                  <a:moveTo>
                    <a:pt x="3120" y="4132"/>
                  </a:moveTo>
                  <a:cubicBezTo>
                    <a:pt x="3275" y="4180"/>
                    <a:pt x="3418" y="4191"/>
                    <a:pt x="3561" y="4215"/>
                  </a:cubicBezTo>
                  <a:lnTo>
                    <a:pt x="3561" y="8109"/>
                  </a:lnTo>
                  <a:lnTo>
                    <a:pt x="3120" y="8109"/>
                  </a:lnTo>
                  <a:lnTo>
                    <a:pt x="3120" y="4132"/>
                  </a:lnTo>
                  <a:close/>
                  <a:moveTo>
                    <a:pt x="4430" y="4132"/>
                  </a:moveTo>
                  <a:lnTo>
                    <a:pt x="4430" y="8109"/>
                  </a:lnTo>
                  <a:lnTo>
                    <a:pt x="4001" y="8109"/>
                  </a:lnTo>
                  <a:lnTo>
                    <a:pt x="4001" y="4215"/>
                  </a:lnTo>
                  <a:cubicBezTo>
                    <a:pt x="4156" y="4191"/>
                    <a:pt x="4287" y="4180"/>
                    <a:pt x="4430" y="4132"/>
                  </a:cubicBezTo>
                  <a:close/>
                  <a:moveTo>
                    <a:pt x="3799" y="441"/>
                  </a:moveTo>
                  <a:cubicBezTo>
                    <a:pt x="4668" y="441"/>
                    <a:pt x="5490" y="786"/>
                    <a:pt x="6121" y="1394"/>
                  </a:cubicBezTo>
                  <a:cubicBezTo>
                    <a:pt x="6752" y="2025"/>
                    <a:pt x="7097" y="2858"/>
                    <a:pt x="7097" y="3751"/>
                  </a:cubicBezTo>
                  <a:cubicBezTo>
                    <a:pt x="7097" y="4620"/>
                    <a:pt x="6752" y="5442"/>
                    <a:pt x="6157" y="6073"/>
                  </a:cubicBezTo>
                  <a:cubicBezTo>
                    <a:pt x="5609" y="6632"/>
                    <a:pt x="5299" y="7347"/>
                    <a:pt x="5240" y="8109"/>
                  </a:cubicBezTo>
                  <a:lnTo>
                    <a:pt x="4883" y="8109"/>
                  </a:lnTo>
                  <a:lnTo>
                    <a:pt x="4883" y="3822"/>
                  </a:lnTo>
                  <a:cubicBezTo>
                    <a:pt x="4883" y="3775"/>
                    <a:pt x="4871" y="3739"/>
                    <a:pt x="4835" y="3703"/>
                  </a:cubicBezTo>
                  <a:lnTo>
                    <a:pt x="3978" y="2406"/>
                  </a:lnTo>
                  <a:cubicBezTo>
                    <a:pt x="3930" y="2346"/>
                    <a:pt x="3871" y="2310"/>
                    <a:pt x="3799" y="2310"/>
                  </a:cubicBezTo>
                  <a:cubicBezTo>
                    <a:pt x="3716" y="2310"/>
                    <a:pt x="3644" y="2334"/>
                    <a:pt x="3620" y="2406"/>
                  </a:cubicBezTo>
                  <a:lnTo>
                    <a:pt x="2751" y="3703"/>
                  </a:lnTo>
                  <a:cubicBezTo>
                    <a:pt x="2728" y="3739"/>
                    <a:pt x="2704" y="3775"/>
                    <a:pt x="2704" y="3822"/>
                  </a:cubicBezTo>
                  <a:lnTo>
                    <a:pt x="2704" y="8109"/>
                  </a:lnTo>
                  <a:lnTo>
                    <a:pt x="2347" y="8109"/>
                  </a:lnTo>
                  <a:cubicBezTo>
                    <a:pt x="2287" y="7347"/>
                    <a:pt x="1977" y="6632"/>
                    <a:pt x="1430" y="6073"/>
                  </a:cubicBezTo>
                  <a:cubicBezTo>
                    <a:pt x="834" y="5465"/>
                    <a:pt x="501" y="4656"/>
                    <a:pt x="489" y="3810"/>
                  </a:cubicBezTo>
                  <a:cubicBezTo>
                    <a:pt x="477" y="2929"/>
                    <a:pt x="823" y="2096"/>
                    <a:pt x="1430" y="1453"/>
                  </a:cubicBezTo>
                  <a:cubicBezTo>
                    <a:pt x="2049" y="822"/>
                    <a:pt x="2870" y="453"/>
                    <a:pt x="3751" y="441"/>
                  </a:cubicBezTo>
                  <a:close/>
                  <a:moveTo>
                    <a:pt x="5228" y="8561"/>
                  </a:moveTo>
                  <a:lnTo>
                    <a:pt x="5228" y="8835"/>
                  </a:lnTo>
                  <a:lnTo>
                    <a:pt x="5228" y="8883"/>
                  </a:lnTo>
                  <a:lnTo>
                    <a:pt x="2335" y="8883"/>
                  </a:lnTo>
                  <a:lnTo>
                    <a:pt x="2335" y="8835"/>
                  </a:lnTo>
                  <a:lnTo>
                    <a:pt x="2335" y="8561"/>
                  </a:lnTo>
                  <a:close/>
                  <a:moveTo>
                    <a:pt x="5121" y="9311"/>
                  </a:moveTo>
                  <a:cubicBezTo>
                    <a:pt x="4942" y="9752"/>
                    <a:pt x="4525" y="10026"/>
                    <a:pt x="4037" y="10026"/>
                  </a:cubicBezTo>
                  <a:lnTo>
                    <a:pt x="3525" y="10026"/>
                  </a:lnTo>
                  <a:cubicBezTo>
                    <a:pt x="3037" y="10026"/>
                    <a:pt x="2620" y="9728"/>
                    <a:pt x="2442" y="9311"/>
                  </a:cubicBezTo>
                  <a:close/>
                  <a:moveTo>
                    <a:pt x="4049" y="10478"/>
                  </a:moveTo>
                  <a:cubicBezTo>
                    <a:pt x="4061" y="10478"/>
                    <a:pt x="4109" y="10478"/>
                    <a:pt x="4132" y="10490"/>
                  </a:cubicBezTo>
                  <a:cubicBezTo>
                    <a:pt x="4132" y="10597"/>
                    <a:pt x="4049" y="10668"/>
                    <a:pt x="3954" y="10668"/>
                  </a:cubicBezTo>
                  <a:lnTo>
                    <a:pt x="3620" y="10668"/>
                  </a:lnTo>
                  <a:cubicBezTo>
                    <a:pt x="3513" y="10668"/>
                    <a:pt x="3442" y="10585"/>
                    <a:pt x="3442" y="10490"/>
                  </a:cubicBezTo>
                  <a:lnTo>
                    <a:pt x="3442" y="10478"/>
                  </a:lnTo>
                  <a:close/>
                  <a:moveTo>
                    <a:pt x="3762" y="0"/>
                  </a:moveTo>
                  <a:cubicBezTo>
                    <a:pt x="3746" y="0"/>
                    <a:pt x="3731" y="0"/>
                    <a:pt x="3716" y="0"/>
                  </a:cubicBezTo>
                  <a:cubicBezTo>
                    <a:pt x="1656" y="24"/>
                    <a:pt x="1" y="1739"/>
                    <a:pt x="13" y="3810"/>
                  </a:cubicBezTo>
                  <a:cubicBezTo>
                    <a:pt x="25" y="4775"/>
                    <a:pt x="406" y="5680"/>
                    <a:pt x="1073" y="6370"/>
                  </a:cubicBezTo>
                  <a:cubicBezTo>
                    <a:pt x="1596" y="6906"/>
                    <a:pt x="1870" y="7609"/>
                    <a:pt x="1870" y="8335"/>
                  </a:cubicBezTo>
                  <a:lnTo>
                    <a:pt x="1870" y="8835"/>
                  </a:lnTo>
                  <a:cubicBezTo>
                    <a:pt x="1870" y="9549"/>
                    <a:pt x="2335" y="10168"/>
                    <a:pt x="2966" y="10383"/>
                  </a:cubicBezTo>
                  <a:lnTo>
                    <a:pt x="2966" y="10490"/>
                  </a:lnTo>
                  <a:cubicBezTo>
                    <a:pt x="2966" y="10835"/>
                    <a:pt x="3239" y="11121"/>
                    <a:pt x="3585" y="11121"/>
                  </a:cubicBezTo>
                  <a:lnTo>
                    <a:pt x="3930" y="11121"/>
                  </a:lnTo>
                  <a:cubicBezTo>
                    <a:pt x="4275" y="11121"/>
                    <a:pt x="4549" y="10835"/>
                    <a:pt x="4549" y="10490"/>
                  </a:cubicBezTo>
                  <a:lnTo>
                    <a:pt x="4549" y="10383"/>
                  </a:lnTo>
                  <a:cubicBezTo>
                    <a:pt x="5192" y="10168"/>
                    <a:pt x="5645" y="9549"/>
                    <a:pt x="5645" y="8835"/>
                  </a:cubicBezTo>
                  <a:lnTo>
                    <a:pt x="5645" y="8335"/>
                  </a:lnTo>
                  <a:cubicBezTo>
                    <a:pt x="5645" y="7609"/>
                    <a:pt x="5918" y="6918"/>
                    <a:pt x="6442" y="6382"/>
                  </a:cubicBezTo>
                  <a:cubicBezTo>
                    <a:pt x="7133" y="5680"/>
                    <a:pt x="7502" y="4751"/>
                    <a:pt x="7502" y="3763"/>
                  </a:cubicBezTo>
                  <a:cubicBezTo>
                    <a:pt x="7550" y="2751"/>
                    <a:pt x="7145" y="1798"/>
                    <a:pt x="6418" y="1084"/>
                  </a:cubicBezTo>
                  <a:cubicBezTo>
                    <a:pt x="5715" y="380"/>
                    <a:pt x="4757" y="0"/>
                    <a:pt x="37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8044;p57">
              <a:extLst>
                <a:ext uri="{FF2B5EF4-FFF2-40B4-BE49-F238E27FC236}">
                  <a16:creationId xmlns:a16="http://schemas.microsoft.com/office/drawing/2014/main" id="{D939395A-38FD-0F4C-F4AF-1BB66D34CBE4}"/>
                </a:ext>
              </a:extLst>
            </p:cNvPr>
            <p:cNvSpPr/>
            <p:nvPr/>
          </p:nvSpPr>
          <p:spPr>
            <a:xfrm>
              <a:off x="3263076" y="2942511"/>
              <a:ext cx="79287" cy="99579"/>
            </a:xfrm>
            <a:custGeom>
              <a:avLst/>
              <a:gdLst/>
              <a:ahLst/>
              <a:cxnLst/>
              <a:rect l="l" t="t" r="r" b="b"/>
              <a:pathLst>
                <a:path w="2489" h="3126" extrusionOk="0">
                  <a:moveTo>
                    <a:pt x="246" y="1"/>
                  </a:moveTo>
                  <a:cubicBezTo>
                    <a:pt x="146" y="1"/>
                    <a:pt x="56" y="59"/>
                    <a:pt x="36" y="161"/>
                  </a:cubicBezTo>
                  <a:cubicBezTo>
                    <a:pt x="0" y="280"/>
                    <a:pt x="60" y="399"/>
                    <a:pt x="179" y="422"/>
                  </a:cubicBezTo>
                  <a:cubicBezTo>
                    <a:pt x="1286" y="744"/>
                    <a:pt x="2048" y="1768"/>
                    <a:pt x="2048" y="2899"/>
                  </a:cubicBezTo>
                  <a:cubicBezTo>
                    <a:pt x="2048" y="3018"/>
                    <a:pt x="2143" y="3125"/>
                    <a:pt x="2262" y="3125"/>
                  </a:cubicBezTo>
                  <a:cubicBezTo>
                    <a:pt x="2381" y="3125"/>
                    <a:pt x="2488" y="3018"/>
                    <a:pt x="2488" y="2899"/>
                  </a:cubicBezTo>
                  <a:cubicBezTo>
                    <a:pt x="2488" y="1577"/>
                    <a:pt x="1595" y="387"/>
                    <a:pt x="298" y="6"/>
                  </a:cubicBezTo>
                  <a:cubicBezTo>
                    <a:pt x="280" y="2"/>
                    <a:pt x="263" y="1"/>
                    <a:pt x="246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8045;p57">
              <a:extLst>
                <a:ext uri="{FF2B5EF4-FFF2-40B4-BE49-F238E27FC236}">
                  <a16:creationId xmlns:a16="http://schemas.microsoft.com/office/drawing/2014/main" id="{62C0F914-29E9-EDBC-1990-84DEABF91319}"/>
                </a:ext>
              </a:extLst>
            </p:cNvPr>
            <p:cNvSpPr/>
            <p:nvPr/>
          </p:nvSpPr>
          <p:spPr>
            <a:xfrm>
              <a:off x="3237656" y="2939262"/>
              <a:ext cx="20897" cy="14462"/>
            </a:xfrm>
            <a:custGeom>
              <a:avLst/>
              <a:gdLst/>
              <a:ahLst/>
              <a:cxnLst/>
              <a:rect l="l" t="t" r="r" b="b"/>
              <a:pathLst>
                <a:path w="656" h="454" extrusionOk="0">
                  <a:moveTo>
                    <a:pt x="227" y="1"/>
                  </a:moveTo>
                  <a:cubicBezTo>
                    <a:pt x="107" y="1"/>
                    <a:pt x="0" y="108"/>
                    <a:pt x="0" y="227"/>
                  </a:cubicBezTo>
                  <a:cubicBezTo>
                    <a:pt x="0" y="346"/>
                    <a:pt x="107" y="453"/>
                    <a:pt x="227" y="453"/>
                  </a:cubicBezTo>
                  <a:lnTo>
                    <a:pt x="417" y="453"/>
                  </a:lnTo>
                  <a:cubicBezTo>
                    <a:pt x="536" y="453"/>
                    <a:pt x="619" y="358"/>
                    <a:pt x="643" y="251"/>
                  </a:cubicBezTo>
                  <a:cubicBezTo>
                    <a:pt x="655" y="108"/>
                    <a:pt x="560" y="1"/>
                    <a:pt x="42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8046;p57">
              <a:extLst>
                <a:ext uri="{FF2B5EF4-FFF2-40B4-BE49-F238E27FC236}">
                  <a16:creationId xmlns:a16="http://schemas.microsoft.com/office/drawing/2014/main" id="{381CF190-8F4A-C1D6-6DDA-F45F94E394D1}"/>
                </a:ext>
              </a:extLst>
            </p:cNvPr>
            <p:cNvSpPr/>
            <p:nvPr/>
          </p:nvSpPr>
          <p:spPr>
            <a:xfrm>
              <a:off x="3379888" y="3029539"/>
              <a:ext cx="26567" cy="14048"/>
            </a:xfrm>
            <a:custGeom>
              <a:avLst/>
              <a:gdLst/>
              <a:ahLst/>
              <a:cxnLst/>
              <a:rect l="l" t="t" r="r" b="b"/>
              <a:pathLst>
                <a:path w="834" h="441" extrusionOk="0">
                  <a:moveTo>
                    <a:pt x="226" y="0"/>
                  </a:moveTo>
                  <a:cubicBezTo>
                    <a:pt x="107" y="0"/>
                    <a:pt x="0" y="107"/>
                    <a:pt x="0" y="226"/>
                  </a:cubicBezTo>
                  <a:cubicBezTo>
                    <a:pt x="0" y="346"/>
                    <a:pt x="107" y="441"/>
                    <a:pt x="226" y="441"/>
                  </a:cubicBezTo>
                  <a:lnTo>
                    <a:pt x="607" y="441"/>
                  </a:lnTo>
                  <a:cubicBezTo>
                    <a:pt x="726" y="441"/>
                    <a:pt x="834" y="346"/>
                    <a:pt x="834" y="226"/>
                  </a:cubicBezTo>
                  <a:cubicBezTo>
                    <a:pt x="822" y="107"/>
                    <a:pt x="726" y="0"/>
                    <a:pt x="607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8047;p57">
              <a:extLst>
                <a:ext uri="{FF2B5EF4-FFF2-40B4-BE49-F238E27FC236}">
                  <a16:creationId xmlns:a16="http://schemas.microsoft.com/office/drawing/2014/main" id="{32A0F0B3-8BB3-6126-D091-8C2A9C47944A}"/>
                </a:ext>
              </a:extLst>
            </p:cNvPr>
            <p:cNvSpPr/>
            <p:nvPr/>
          </p:nvSpPr>
          <p:spPr>
            <a:xfrm>
              <a:off x="3086313" y="3029539"/>
              <a:ext cx="26599" cy="14048"/>
            </a:xfrm>
            <a:custGeom>
              <a:avLst/>
              <a:gdLst/>
              <a:ahLst/>
              <a:cxnLst/>
              <a:rect l="l" t="t" r="r" b="b"/>
              <a:pathLst>
                <a:path w="835" h="441" extrusionOk="0">
                  <a:moveTo>
                    <a:pt x="227" y="0"/>
                  </a:moveTo>
                  <a:cubicBezTo>
                    <a:pt x="108" y="0"/>
                    <a:pt x="1" y="107"/>
                    <a:pt x="1" y="226"/>
                  </a:cubicBezTo>
                  <a:cubicBezTo>
                    <a:pt x="1" y="346"/>
                    <a:pt x="108" y="441"/>
                    <a:pt x="227" y="441"/>
                  </a:cubicBezTo>
                  <a:lnTo>
                    <a:pt x="608" y="441"/>
                  </a:lnTo>
                  <a:cubicBezTo>
                    <a:pt x="727" y="441"/>
                    <a:pt x="834" y="346"/>
                    <a:pt x="834" y="226"/>
                  </a:cubicBezTo>
                  <a:cubicBezTo>
                    <a:pt x="834" y="107"/>
                    <a:pt x="727" y="0"/>
                    <a:pt x="608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8048;p57">
              <a:extLst>
                <a:ext uri="{FF2B5EF4-FFF2-40B4-BE49-F238E27FC236}">
                  <a16:creationId xmlns:a16="http://schemas.microsoft.com/office/drawing/2014/main" id="{184564B0-F1C0-E804-06AE-40747EA23379}"/>
                </a:ext>
              </a:extLst>
            </p:cNvPr>
            <p:cNvSpPr/>
            <p:nvPr/>
          </p:nvSpPr>
          <p:spPr>
            <a:xfrm>
              <a:off x="3359788" y="2953469"/>
              <a:ext cx="26567" cy="20355"/>
            </a:xfrm>
            <a:custGeom>
              <a:avLst/>
              <a:gdLst/>
              <a:ahLst/>
              <a:cxnLst/>
              <a:rect l="l" t="t" r="r" b="b"/>
              <a:pathLst>
                <a:path w="834" h="639" extrusionOk="0">
                  <a:moveTo>
                    <a:pt x="594" y="0"/>
                  </a:moveTo>
                  <a:cubicBezTo>
                    <a:pt x="555" y="0"/>
                    <a:pt x="514" y="13"/>
                    <a:pt x="476" y="43"/>
                  </a:cubicBezTo>
                  <a:lnTo>
                    <a:pt x="155" y="233"/>
                  </a:lnTo>
                  <a:cubicBezTo>
                    <a:pt x="48" y="293"/>
                    <a:pt x="0" y="424"/>
                    <a:pt x="83" y="531"/>
                  </a:cubicBezTo>
                  <a:cubicBezTo>
                    <a:pt x="119" y="602"/>
                    <a:pt x="203" y="638"/>
                    <a:pt x="274" y="638"/>
                  </a:cubicBezTo>
                  <a:cubicBezTo>
                    <a:pt x="310" y="638"/>
                    <a:pt x="345" y="614"/>
                    <a:pt x="381" y="602"/>
                  </a:cubicBezTo>
                  <a:lnTo>
                    <a:pt x="703" y="412"/>
                  </a:lnTo>
                  <a:cubicBezTo>
                    <a:pt x="810" y="352"/>
                    <a:pt x="834" y="221"/>
                    <a:pt x="774" y="114"/>
                  </a:cubicBezTo>
                  <a:cubicBezTo>
                    <a:pt x="735" y="45"/>
                    <a:pt x="667" y="0"/>
                    <a:pt x="594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8049;p57">
              <a:extLst>
                <a:ext uri="{FF2B5EF4-FFF2-40B4-BE49-F238E27FC236}">
                  <a16:creationId xmlns:a16="http://schemas.microsoft.com/office/drawing/2014/main" id="{2129529B-D4CE-6247-ADB9-999A538870D7}"/>
                </a:ext>
              </a:extLst>
            </p:cNvPr>
            <p:cNvSpPr/>
            <p:nvPr/>
          </p:nvSpPr>
          <p:spPr>
            <a:xfrm>
              <a:off x="3106413" y="3100034"/>
              <a:ext cx="26599" cy="20164"/>
            </a:xfrm>
            <a:custGeom>
              <a:avLst/>
              <a:gdLst/>
              <a:ahLst/>
              <a:cxnLst/>
              <a:rect l="l" t="t" r="r" b="b"/>
              <a:pathLst>
                <a:path w="835" h="633" extrusionOk="0">
                  <a:moveTo>
                    <a:pt x="590" y="0"/>
                  </a:moveTo>
                  <a:cubicBezTo>
                    <a:pt x="550" y="0"/>
                    <a:pt x="511" y="12"/>
                    <a:pt x="477" y="38"/>
                  </a:cubicBezTo>
                  <a:lnTo>
                    <a:pt x="144" y="228"/>
                  </a:lnTo>
                  <a:cubicBezTo>
                    <a:pt x="36" y="288"/>
                    <a:pt x="1" y="419"/>
                    <a:pt x="72" y="526"/>
                  </a:cubicBezTo>
                  <a:cubicBezTo>
                    <a:pt x="108" y="597"/>
                    <a:pt x="191" y="633"/>
                    <a:pt x="263" y="633"/>
                  </a:cubicBezTo>
                  <a:cubicBezTo>
                    <a:pt x="310" y="633"/>
                    <a:pt x="334" y="609"/>
                    <a:pt x="370" y="597"/>
                  </a:cubicBezTo>
                  <a:lnTo>
                    <a:pt x="691" y="407"/>
                  </a:lnTo>
                  <a:cubicBezTo>
                    <a:pt x="787" y="347"/>
                    <a:pt x="834" y="216"/>
                    <a:pt x="775" y="109"/>
                  </a:cubicBezTo>
                  <a:cubicBezTo>
                    <a:pt x="736" y="40"/>
                    <a:pt x="663" y="0"/>
                    <a:pt x="590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8050;p57">
              <a:extLst>
                <a:ext uri="{FF2B5EF4-FFF2-40B4-BE49-F238E27FC236}">
                  <a16:creationId xmlns:a16="http://schemas.microsoft.com/office/drawing/2014/main" id="{3477787E-F32C-2EDC-7ACB-FA038E979F2C}"/>
                </a:ext>
              </a:extLst>
            </p:cNvPr>
            <p:cNvSpPr/>
            <p:nvPr/>
          </p:nvSpPr>
          <p:spPr>
            <a:xfrm>
              <a:off x="3308565" y="2897277"/>
              <a:ext cx="22044" cy="24178"/>
            </a:xfrm>
            <a:custGeom>
              <a:avLst/>
              <a:gdLst/>
              <a:ahLst/>
              <a:cxnLst/>
              <a:rect l="l" t="t" r="r" b="b"/>
              <a:pathLst>
                <a:path w="692" h="759" extrusionOk="0">
                  <a:moveTo>
                    <a:pt x="441" y="1"/>
                  </a:moveTo>
                  <a:cubicBezTo>
                    <a:pt x="369" y="1"/>
                    <a:pt x="301" y="35"/>
                    <a:pt x="263" y="104"/>
                  </a:cubicBezTo>
                  <a:lnTo>
                    <a:pt x="60" y="438"/>
                  </a:lnTo>
                  <a:cubicBezTo>
                    <a:pt x="1" y="533"/>
                    <a:pt x="37" y="676"/>
                    <a:pt x="144" y="735"/>
                  </a:cubicBezTo>
                  <a:cubicBezTo>
                    <a:pt x="167" y="747"/>
                    <a:pt x="215" y="759"/>
                    <a:pt x="239" y="759"/>
                  </a:cubicBezTo>
                  <a:cubicBezTo>
                    <a:pt x="322" y="759"/>
                    <a:pt x="394" y="711"/>
                    <a:pt x="441" y="652"/>
                  </a:cubicBezTo>
                  <a:lnTo>
                    <a:pt x="632" y="330"/>
                  </a:lnTo>
                  <a:cubicBezTo>
                    <a:pt x="691" y="223"/>
                    <a:pt x="656" y="92"/>
                    <a:pt x="560" y="33"/>
                  </a:cubicBezTo>
                  <a:cubicBezTo>
                    <a:pt x="522" y="11"/>
                    <a:pt x="481" y="1"/>
                    <a:pt x="441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8051;p57">
              <a:extLst>
                <a:ext uri="{FF2B5EF4-FFF2-40B4-BE49-F238E27FC236}">
                  <a16:creationId xmlns:a16="http://schemas.microsoft.com/office/drawing/2014/main" id="{5A03DA31-3A98-F396-534C-7613DDA1898C}"/>
                </a:ext>
              </a:extLst>
            </p:cNvPr>
            <p:cNvSpPr/>
            <p:nvPr/>
          </p:nvSpPr>
          <p:spPr>
            <a:xfrm>
              <a:off x="3239153" y="2877049"/>
              <a:ext cx="14080" cy="26599"/>
            </a:xfrm>
            <a:custGeom>
              <a:avLst/>
              <a:gdLst/>
              <a:ahLst/>
              <a:cxnLst/>
              <a:rect l="l" t="t" r="r" b="b"/>
              <a:pathLst>
                <a:path w="442" h="835" extrusionOk="0">
                  <a:moveTo>
                    <a:pt x="215" y="1"/>
                  </a:moveTo>
                  <a:cubicBezTo>
                    <a:pt x="96" y="1"/>
                    <a:pt x="1" y="96"/>
                    <a:pt x="1" y="215"/>
                  </a:cubicBezTo>
                  <a:lnTo>
                    <a:pt x="1" y="608"/>
                  </a:lnTo>
                  <a:cubicBezTo>
                    <a:pt x="1" y="727"/>
                    <a:pt x="96" y="834"/>
                    <a:pt x="215" y="834"/>
                  </a:cubicBezTo>
                  <a:cubicBezTo>
                    <a:pt x="334" y="834"/>
                    <a:pt x="441" y="727"/>
                    <a:pt x="441" y="608"/>
                  </a:cubicBezTo>
                  <a:lnTo>
                    <a:pt x="441" y="215"/>
                  </a:lnTo>
                  <a:cubicBezTo>
                    <a:pt x="441" y="96"/>
                    <a:pt x="358" y="1"/>
                    <a:pt x="215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8052;p57">
              <a:extLst>
                <a:ext uri="{FF2B5EF4-FFF2-40B4-BE49-F238E27FC236}">
                  <a16:creationId xmlns:a16="http://schemas.microsoft.com/office/drawing/2014/main" id="{A729DF81-E6E9-7EFC-549C-73ABF90781D0}"/>
                </a:ext>
              </a:extLst>
            </p:cNvPr>
            <p:cNvSpPr/>
            <p:nvPr/>
          </p:nvSpPr>
          <p:spPr>
            <a:xfrm>
              <a:off x="3161809" y="2897500"/>
              <a:ext cx="22394" cy="24337"/>
            </a:xfrm>
            <a:custGeom>
              <a:avLst/>
              <a:gdLst/>
              <a:ahLst/>
              <a:cxnLst/>
              <a:rect l="l" t="t" r="r" b="b"/>
              <a:pathLst>
                <a:path w="703" h="764" extrusionOk="0">
                  <a:moveTo>
                    <a:pt x="262" y="0"/>
                  </a:moveTo>
                  <a:cubicBezTo>
                    <a:pt x="222" y="0"/>
                    <a:pt x="181" y="12"/>
                    <a:pt x="143" y="38"/>
                  </a:cubicBezTo>
                  <a:cubicBezTo>
                    <a:pt x="48" y="97"/>
                    <a:pt x="0" y="228"/>
                    <a:pt x="72" y="335"/>
                  </a:cubicBezTo>
                  <a:lnTo>
                    <a:pt x="262" y="669"/>
                  </a:lnTo>
                  <a:cubicBezTo>
                    <a:pt x="310" y="740"/>
                    <a:pt x="381" y="764"/>
                    <a:pt x="464" y="764"/>
                  </a:cubicBezTo>
                  <a:cubicBezTo>
                    <a:pt x="500" y="764"/>
                    <a:pt x="536" y="752"/>
                    <a:pt x="560" y="740"/>
                  </a:cubicBezTo>
                  <a:cubicBezTo>
                    <a:pt x="667" y="681"/>
                    <a:pt x="703" y="550"/>
                    <a:pt x="643" y="442"/>
                  </a:cubicBezTo>
                  <a:lnTo>
                    <a:pt x="441" y="109"/>
                  </a:lnTo>
                  <a:cubicBezTo>
                    <a:pt x="402" y="40"/>
                    <a:pt x="334" y="0"/>
                    <a:pt x="262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8053;p57">
              <a:extLst>
                <a:ext uri="{FF2B5EF4-FFF2-40B4-BE49-F238E27FC236}">
                  <a16:creationId xmlns:a16="http://schemas.microsoft.com/office/drawing/2014/main" id="{3BC5B0E4-859C-858C-E7CF-E21ABDDC6E70}"/>
                </a:ext>
              </a:extLst>
            </p:cNvPr>
            <p:cNvSpPr/>
            <p:nvPr/>
          </p:nvSpPr>
          <p:spPr>
            <a:xfrm>
              <a:off x="3106413" y="2953151"/>
              <a:ext cx="26599" cy="19909"/>
            </a:xfrm>
            <a:custGeom>
              <a:avLst/>
              <a:gdLst/>
              <a:ahLst/>
              <a:cxnLst/>
              <a:rect l="l" t="t" r="r" b="b"/>
              <a:pathLst>
                <a:path w="835" h="625" extrusionOk="0">
                  <a:moveTo>
                    <a:pt x="246" y="0"/>
                  </a:moveTo>
                  <a:cubicBezTo>
                    <a:pt x="168" y="0"/>
                    <a:pt x="92" y="40"/>
                    <a:pt x="60" y="112"/>
                  </a:cubicBezTo>
                  <a:cubicBezTo>
                    <a:pt x="1" y="208"/>
                    <a:pt x="25" y="350"/>
                    <a:pt x="132" y="410"/>
                  </a:cubicBezTo>
                  <a:lnTo>
                    <a:pt x="453" y="600"/>
                  </a:lnTo>
                  <a:cubicBezTo>
                    <a:pt x="489" y="612"/>
                    <a:pt x="537" y="624"/>
                    <a:pt x="560" y="624"/>
                  </a:cubicBezTo>
                  <a:cubicBezTo>
                    <a:pt x="632" y="624"/>
                    <a:pt x="715" y="589"/>
                    <a:pt x="751" y="529"/>
                  </a:cubicBezTo>
                  <a:cubicBezTo>
                    <a:pt x="834" y="422"/>
                    <a:pt x="787" y="291"/>
                    <a:pt x="679" y="231"/>
                  </a:cubicBezTo>
                  <a:lnTo>
                    <a:pt x="358" y="29"/>
                  </a:lnTo>
                  <a:cubicBezTo>
                    <a:pt x="323" y="10"/>
                    <a:pt x="284" y="0"/>
                    <a:pt x="246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8054;p57">
              <a:extLst>
                <a:ext uri="{FF2B5EF4-FFF2-40B4-BE49-F238E27FC236}">
                  <a16:creationId xmlns:a16="http://schemas.microsoft.com/office/drawing/2014/main" id="{D1A784EB-46E7-2862-19C0-7976A43FDDFC}"/>
                </a:ext>
              </a:extLst>
            </p:cNvPr>
            <p:cNvSpPr/>
            <p:nvPr/>
          </p:nvSpPr>
          <p:spPr>
            <a:xfrm>
              <a:off x="3360520" y="3099811"/>
              <a:ext cx="25834" cy="20005"/>
            </a:xfrm>
            <a:custGeom>
              <a:avLst/>
              <a:gdLst/>
              <a:ahLst/>
              <a:cxnLst/>
              <a:rect l="l" t="t" r="r" b="b"/>
              <a:pathLst>
                <a:path w="811" h="628" extrusionOk="0">
                  <a:moveTo>
                    <a:pt x="239" y="1"/>
                  </a:moveTo>
                  <a:cubicBezTo>
                    <a:pt x="167" y="1"/>
                    <a:pt x="99" y="35"/>
                    <a:pt x="60" y="104"/>
                  </a:cubicBezTo>
                  <a:cubicBezTo>
                    <a:pt x="1" y="211"/>
                    <a:pt x="25" y="342"/>
                    <a:pt x="132" y="402"/>
                  </a:cubicBezTo>
                  <a:lnTo>
                    <a:pt x="453" y="592"/>
                  </a:lnTo>
                  <a:cubicBezTo>
                    <a:pt x="489" y="604"/>
                    <a:pt x="537" y="628"/>
                    <a:pt x="561" y="628"/>
                  </a:cubicBezTo>
                  <a:cubicBezTo>
                    <a:pt x="632" y="628"/>
                    <a:pt x="715" y="580"/>
                    <a:pt x="751" y="521"/>
                  </a:cubicBezTo>
                  <a:cubicBezTo>
                    <a:pt x="811" y="426"/>
                    <a:pt x="787" y="283"/>
                    <a:pt x="680" y="223"/>
                  </a:cubicBezTo>
                  <a:lnTo>
                    <a:pt x="358" y="33"/>
                  </a:lnTo>
                  <a:cubicBezTo>
                    <a:pt x="320" y="11"/>
                    <a:pt x="279" y="1"/>
                    <a:pt x="239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9" name="Google Shape;8177;p57">
            <a:extLst>
              <a:ext uri="{FF2B5EF4-FFF2-40B4-BE49-F238E27FC236}">
                <a16:creationId xmlns:a16="http://schemas.microsoft.com/office/drawing/2014/main" id="{3E0AE4F5-6246-A59A-2265-B6122251E63E}"/>
              </a:ext>
            </a:extLst>
          </p:cNvPr>
          <p:cNvSpPr/>
          <p:nvPr/>
        </p:nvSpPr>
        <p:spPr>
          <a:xfrm>
            <a:off x="6542081" y="2595468"/>
            <a:ext cx="434153" cy="466982"/>
          </a:xfrm>
          <a:custGeom>
            <a:avLst/>
            <a:gdLst/>
            <a:ahLst/>
            <a:cxnLst/>
            <a:rect l="l" t="t" r="r" b="b"/>
            <a:pathLst>
              <a:path w="10895" h="11216" extrusionOk="0">
                <a:moveTo>
                  <a:pt x="5454" y="322"/>
                </a:moveTo>
                <a:cubicBezTo>
                  <a:pt x="5740" y="322"/>
                  <a:pt x="5954" y="548"/>
                  <a:pt x="5954" y="834"/>
                </a:cubicBezTo>
                <a:cubicBezTo>
                  <a:pt x="5954" y="1012"/>
                  <a:pt x="5871" y="1155"/>
                  <a:pt x="5716" y="1250"/>
                </a:cubicBezTo>
                <a:lnTo>
                  <a:pt x="5704" y="1262"/>
                </a:lnTo>
                <a:lnTo>
                  <a:pt x="5692" y="1262"/>
                </a:lnTo>
                <a:cubicBezTo>
                  <a:pt x="5680" y="1262"/>
                  <a:pt x="5680" y="1274"/>
                  <a:pt x="5656" y="1274"/>
                </a:cubicBezTo>
                <a:lnTo>
                  <a:pt x="5644" y="1274"/>
                </a:lnTo>
                <a:cubicBezTo>
                  <a:pt x="5644" y="1274"/>
                  <a:pt x="5632" y="1274"/>
                  <a:pt x="5632" y="1298"/>
                </a:cubicBezTo>
                <a:lnTo>
                  <a:pt x="5621" y="1298"/>
                </a:lnTo>
                <a:cubicBezTo>
                  <a:pt x="5597" y="1298"/>
                  <a:pt x="5597" y="1298"/>
                  <a:pt x="5585" y="1310"/>
                </a:cubicBezTo>
                <a:lnTo>
                  <a:pt x="5263" y="1310"/>
                </a:lnTo>
                <a:cubicBezTo>
                  <a:pt x="5240" y="1310"/>
                  <a:pt x="5240" y="1310"/>
                  <a:pt x="5228" y="1298"/>
                </a:cubicBezTo>
                <a:lnTo>
                  <a:pt x="5216" y="1298"/>
                </a:lnTo>
                <a:cubicBezTo>
                  <a:pt x="5216" y="1298"/>
                  <a:pt x="5204" y="1298"/>
                  <a:pt x="5204" y="1274"/>
                </a:cubicBezTo>
                <a:lnTo>
                  <a:pt x="5180" y="1274"/>
                </a:lnTo>
                <a:cubicBezTo>
                  <a:pt x="5168" y="1274"/>
                  <a:pt x="5168" y="1262"/>
                  <a:pt x="5156" y="1262"/>
                </a:cubicBezTo>
                <a:lnTo>
                  <a:pt x="5144" y="1262"/>
                </a:lnTo>
                <a:cubicBezTo>
                  <a:pt x="5144" y="1262"/>
                  <a:pt x="5120" y="1262"/>
                  <a:pt x="5120" y="1250"/>
                </a:cubicBezTo>
                <a:cubicBezTo>
                  <a:pt x="4989" y="1155"/>
                  <a:pt x="4882" y="1012"/>
                  <a:pt x="4882" y="834"/>
                </a:cubicBezTo>
                <a:cubicBezTo>
                  <a:pt x="4942" y="548"/>
                  <a:pt x="5168" y="322"/>
                  <a:pt x="5454" y="322"/>
                </a:cubicBezTo>
                <a:close/>
                <a:moveTo>
                  <a:pt x="5644" y="1631"/>
                </a:moveTo>
                <a:lnTo>
                  <a:pt x="5644" y="1834"/>
                </a:lnTo>
                <a:lnTo>
                  <a:pt x="5240" y="1834"/>
                </a:lnTo>
                <a:lnTo>
                  <a:pt x="5240" y="1631"/>
                </a:lnTo>
                <a:lnTo>
                  <a:pt x="5263" y="1631"/>
                </a:lnTo>
                <a:cubicBezTo>
                  <a:pt x="5275" y="1631"/>
                  <a:pt x="5287" y="1631"/>
                  <a:pt x="5287" y="1655"/>
                </a:cubicBezTo>
                <a:lnTo>
                  <a:pt x="5632" y="1655"/>
                </a:lnTo>
                <a:cubicBezTo>
                  <a:pt x="5621" y="1631"/>
                  <a:pt x="5632" y="1631"/>
                  <a:pt x="5644" y="1631"/>
                </a:cubicBezTo>
                <a:close/>
                <a:moveTo>
                  <a:pt x="7002" y="2143"/>
                </a:moveTo>
                <a:cubicBezTo>
                  <a:pt x="7418" y="2143"/>
                  <a:pt x="7799" y="2310"/>
                  <a:pt x="8085" y="2584"/>
                </a:cubicBezTo>
                <a:cubicBezTo>
                  <a:pt x="8335" y="2858"/>
                  <a:pt x="8680" y="3001"/>
                  <a:pt x="9050" y="3001"/>
                </a:cubicBezTo>
                <a:lnTo>
                  <a:pt x="10514" y="3001"/>
                </a:lnTo>
                <a:lnTo>
                  <a:pt x="10514" y="3334"/>
                </a:lnTo>
                <a:lnTo>
                  <a:pt x="9050" y="3334"/>
                </a:lnTo>
                <a:lnTo>
                  <a:pt x="9050" y="3346"/>
                </a:lnTo>
                <a:cubicBezTo>
                  <a:pt x="8597" y="3346"/>
                  <a:pt x="8180" y="3167"/>
                  <a:pt x="7859" y="2846"/>
                </a:cubicBezTo>
                <a:cubicBezTo>
                  <a:pt x="7645" y="2608"/>
                  <a:pt x="7323" y="2465"/>
                  <a:pt x="7002" y="2465"/>
                </a:cubicBezTo>
                <a:lnTo>
                  <a:pt x="3942" y="2465"/>
                </a:lnTo>
                <a:cubicBezTo>
                  <a:pt x="3573" y="2465"/>
                  <a:pt x="3227" y="2620"/>
                  <a:pt x="2977" y="2882"/>
                </a:cubicBezTo>
                <a:cubicBezTo>
                  <a:pt x="2715" y="3167"/>
                  <a:pt x="2311" y="3334"/>
                  <a:pt x="1894" y="3334"/>
                </a:cubicBezTo>
                <a:lnTo>
                  <a:pt x="370" y="3334"/>
                </a:lnTo>
                <a:lnTo>
                  <a:pt x="370" y="3001"/>
                </a:lnTo>
                <a:lnTo>
                  <a:pt x="1834" y="3001"/>
                </a:lnTo>
                <a:cubicBezTo>
                  <a:pt x="2203" y="3001"/>
                  <a:pt x="2549" y="2858"/>
                  <a:pt x="2799" y="2584"/>
                </a:cubicBezTo>
                <a:cubicBezTo>
                  <a:pt x="3073" y="2310"/>
                  <a:pt x="3477" y="2143"/>
                  <a:pt x="3894" y="2143"/>
                </a:cubicBezTo>
                <a:close/>
                <a:moveTo>
                  <a:pt x="1525" y="3894"/>
                </a:moveTo>
                <a:lnTo>
                  <a:pt x="2644" y="6382"/>
                </a:lnTo>
                <a:lnTo>
                  <a:pt x="406" y="6382"/>
                </a:lnTo>
                <a:lnTo>
                  <a:pt x="1525" y="3894"/>
                </a:lnTo>
                <a:close/>
                <a:moveTo>
                  <a:pt x="9371" y="3894"/>
                </a:moveTo>
                <a:lnTo>
                  <a:pt x="10478" y="6382"/>
                </a:lnTo>
                <a:lnTo>
                  <a:pt x="8252" y="6382"/>
                </a:lnTo>
                <a:lnTo>
                  <a:pt x="9371" y="3894"/>
                </a:lnTo>
                <a:close/>
                <a:moveTo>
                  <a:pt x="2739" y="6692"/>
                </a:moveTo>
                <a:cubicBezTo>
                  <a:pt x="2727" y="7335"/>
                  <a:pt x="2227" y="7847"/>
                  <a:pt x="1596" y="7847"/>
                </a:cubicBezTo>
                <a:lnTo>
                  <a:pt x="1477" y="7847"/>
                </a:lnTo>
                <a:cubicBezTo>
                  <a:pt x="858" y="7847"/>
                  <a:pt x="334" y="7335"/>
                  <a:pt x="334" y="6692"/>
                </a:cubicBezTo>
                <a:close/>
                <a:moveTo>
                  <a:pt x="10574" y="6692"/>
                </a:moveTo>
                <a:cubicBezTo>
                  <a:pt x="10574" y="7335"/>
                  <a:pt x="10050" y="7847"/>
                  <a:pt x="9431" y="7847"/>
                </a:cubicBezTo>
                <a:lnTo>
                  <a:pt x="9300" y="7847"/>
                </a:lnTo>
                <a:cubicBezTo>
                  <a:pt x="8680" y="7847"/>
                  <a:pt x="8157" y="7335"/>
                  <a:pt x="8157" y="6692"/>
                </a:cubicBezTo>
                <a:close/>
                <a:moveTo>
                  <a:pt x="7645" y="9585"/>
                </a:moveTo>
                <a:cubicBezTo>
                  <a:pt x="7728" y="9585"/>
                  <a:pt x="7811" y="9656"/>
                  <a:pt x="7811" y="9763"/>
                </a:cubicBezTo>
                <a:lnTo>
                  <a:pt x="7811" y="10049"/>
                </a:lnTo>
                <a:lnTo>
                  <a:pt x="4418" y="10049"/>
                </a:lnTo>
                <a:cubicBezTo>
                  <a:pt x="4335" y="10049"/>
                  <a:pt x="4263" y="10121"/>
                  <a:pt x="4263" y="10204"/>
                </a:cubicBezTo>
                <a:cubicBezTo>
                  <a:pt x="4263" y="10299"/>
                  <a:pt x="4335" y="10371"/>
                  <a:pt x="4418" y="10371"/>
                </a:cubicBezTo>
                <a:lnTo>
                  <a:pt x="8407" y="10371"/>
                </a:lnTo>
                <a:cubicBezTo>
                  <a:pt x="8514" y="10371"/>
                  <a:pt x="8585" y="10442"/>
                  <a:pt x="8585" y="10549"/>
                </a:cubicBezTo>
                <a:lnTo>
                  <a:pt x="8585" y="10906"/>
                </a:lnTo>
                <a:lnTo>
                  <a:pt x="2275" y="10906"/>
                </a:lnTo>
                <a:lnTo>
                  <a:pt x="2275" y="10549"/>
                </a:lnTo>
                <a:cubicBezTo>
                  <a:pt x="2275" y="10442"/>
                  <a:pt x="2358" y="10371"/>
                  <a:pt x="2453" y="10371"/>
                </a:cubicBezTo>
                <a:lnTo>
                  <a:pt x="3382" y="10371"/>
                </a:lnTo>
                <a:cubicBezTo>
                  <a:pt x="3465" y="10371"/>
                  <a:pt x="3549" y="10299"/>
                  <a:pt x="3549" y="10204"/>
                </a:cubicBezTo>
                <a:cubicBezTo>
                  <a:pt x="3549" y="10121"/>
                  <a:pt x="3465" y="10049"/>
                  <a:pt x="3382" y="10049"/>
                </a:cubicBezTo>
                <a:lnTo>
                  <a:pt x="3073" y="10049"/>
                </a:lnTo>
                <a:lnTo>
                  <a:pt x="3073" y="9763"/>
                </a:lnTo>
                <a:cubicBezTo>
                  <a:pt x="3073" y="9668"/>
                  <a:pt x="3144" y="9585"/>
                  <a:pt x="3251" y="9585"/>
                </a:cubicBezTo>
                <a:close/>
                <a:moveTo>
                  <a:pt x="5454" y="0"/>
                </a:moveTo>
                <a:cubicBezTo>
                  <a:pt x="4989" y="0"/>
                  <a:pt x="4632" y="369"/>
                  <a:pt x="4632" y="822"/>
                </a:cubicBezTo>
                <a:cubicBezTo>
                  <a:pt x="4632" y="1072"/>
                  <a:pt x="4751" y="1298"/>
                  <a:pt x="4930" y="1453"/>
                </a:cubicBezTo>
                <a:lnTo>
                  <a:pt x="4930" y="1810"/>
                </a:lnTo>
                <a:lnTo>
                  <a:pt x="3894" y="1810"/>
                </a:lnTo>
                <a:cubicBezTo>
                  <a:pt x="3382" y="1810"/>
                  <a:pt x="2906" y="2024"/>
                  <a:pt x="2584" y="2370"/>
                </a:cubicBezTo>
                <a:cubicBezTo>
                  <a:pt x="2382" y="2572"/>
                  <a:pt x="2120" y="2691"/>
                  <a:pt x="1834" y="2691"/>
                </a:cubicBezTo>
                <a:lnTo>
                  <a:pt x="346" y="2691"/>
                </a:lnTo>
                <a:cubicBezTo>
                  <a:pt x="179" y="2691"/>
                  <a:pt x="48" y="2822"/>
                  <a:pt x="48" y="2989"/>
                </a:cubicBezTo>
                <a:lnTo>
                  <a:pt x="48" y="3382"/>
                </a:lnTo>
                <a:cubicBezTo>
                  <a:pt x="48" y="3536"/>
                  <a:pt x="179" y="3679"/>
                  <a:pt x="346" y="3679"/>
                </a:cubicBezTo>
                <a:lnTo>
                  <a:pt x="1263" y="3679"/>
                </a:lnTo>
                <a:lnTo>
                  <a:pt x="1" y="6477"/>
                </a:lnTo>
                <a:lnTo>
                  <a:pt x="1" y="6489"/>
                </a:lnTo>
                <a:lnTo>
                  <a:pt x="1" y="6501"/>
                </a:lnTo>
                <a:lnTo>
                  <a:pt x="1" y="6513"/>
                </a:lnTo>
                <a:lnTo>
                  <a:pt x="1" y="6537"/>
                </a:lnTo>
                <a:lnTo>
                  <a:pt x="1" y="6692"/>
                </a:lnTo>
                <a:cubicBezTo>
                  <a:pt x="1" y="7501"/>
                  <a:pt x="656" y="8168"/>
                  <a:pt x="1477" y="8168"/>
                </a:cubicBezTo>
                <a:lnTo>
                  <a:pt x="1596" y="8168"/>
                </a:lnTo>
                <a:cubicBezTo>
                  <a:pt x="2406" y="8168"/>
                  <a:pt x="3073" y="7513"/>
                  <a:pt x="3073" y="6692"/>
                </a:cubicBezTo>
                <a:lnTo>
                  <a:pt x="3073" y="6537"/>
                </a:lnTo>
                <a:lnTo>
                  <a:pt x="3073" y="6513"/>
                </a:lnTo>
                <a:lnTo>
                  <a:pt x="3073" y="6501"/>
                </a:lnTo>
                <a:lnTo>
                  <a:pt x="3073" y="6489"/>
                </a:lnTo>
                <a:lnTo>
                  <a:pt x="3073" y="6477"/>
                </a:lnTo>
                <a:lnTo>
                  <a:pt x="1811" y="3679"/>
                </a:lnTo>
                <a:lnTo>
                  <a:pt x="1930" y="3679"/>
                </a:lnTo>
                <a:cubicBezTo>
                  <a:pt x="2430" y="3679"/>
                  <a:pt x="2906" y="3465"/>
                  <a:pt x="3239" y="3120"/>
                </a:cubicBezTo>
                <a:cubicBezTo>
                  <a:pt x="3430" y="2917"/>
                  <a:pt x="3692" y="2798"/>
                  <a:pt x="3977" y="2798"/>
                </a:cubicBezTo>
                <a:lnTo>
                  <a:pt x="4942" y="2798"/>
                </a:lnTo>
                <a:lnTo>
                  <a:pt x="4942" y="9251"/>
                </a:lnTo>
                <a:lnTo>
                  <a:pt x="3275" y="9251"/>
                </a:lnTo>
                <a:cubicBezTo>
                  <a:pt x="3013" y="9251"/>
                  <a:pt x="2787" y="9478"/>
                  <a:pt x="2787" y="9752"/>
                </a:cubicBezTo>
                <a:lnTo>
                  <a:pt x="2787" y="10025"/>
                </a:lnTo>
                <a:lnTo>
                  <a:pt x="2501" y="10025"/>
                </a:lnTo>
                <a:cubicBezTo>
                  <a:pt x="2227" y="10025"/>
                  <a:pt x="2001" y="10252"/>
                  <a:pt x="2001" y="10537"/>
                </a:cubicBezTo>
                <a:lnTo>
                  <a:pt x="2001" y="11061"/>
                </a:lnTo>
                <a:cubicBezTo>
                  <a:pt x="2001" y="11145"/>
                  <a:pt x="2072" y="11216"/>
                  <a:pt x="2168" y="11216"/>
                </a:cubicBezTo>
                <a:lnTo>
                  <a:pt x="8799" y="11216"/>
                </a:lnTo>
                <a:cubicBezTo>
                  <a:pt x="8895" y="11216"/>
                  <a:pt x="8966" y="11145"/>
                  <a:pt x="8966" y="11061"/>
                </a:cubicBezTo>
                <a:lnTo>
                  <a:pt x="8966" y="10537"/>
                </a:lnTo>
                <a:cubicBezTo>
                  <a:pt x="8966" y="10252"/>
                  <a:pt x="8740" y="10025"/>
                  <a:pt x="8454" y="10025"/>
                </a:cubicBezTo>
                <a:lnTo>
                  <a:pt x="8180" y="10025"/>
                </a:lnTo>
                <a:lnTo>
                  <a:pt x="8180" y="9752"/>
                </a:lnTo>
                <a:cubicBezTo>
                  <a:pt x="8180" y="9478"/>
                  <a:pt x="7954" y="9251"/>
                  <a:pt x="7680" y="9251"/>
                </a:cubicBezTo>
                <a:lnTo>
                  <a:pt x="5978" y="9251"/>
                </a:lnTo>
                <a:lnTo>
                  <a:pt x="5978" y="4572"/>
                </a:lnTo>
                <a:cubicBezTo>
                  <a:pt x="5978" y="4477"/>
                  <a:pt x="5894" y="4406"/>
                  <a:pt x="5811" y="4406"/>
                </a:cubicBezTo>
                <a:cubicBezTo>
                  <a:pt x="5716" y="4406"/>
                  <a:pt x="5644" y="4477"/>
                  <a:pt x="5644" y="4572"/>
                </a:cubicBezTo>
                <a:lnTo>
                  <a:pt x="5644" y="9251"/>
                </a:lnTo>
                <a:lnTo>
                  <a:pt x="5240" y="9251"/>
                </a:lnTo>
                <a:lnTo>
                  <a:pt x="5240" y="2798"/>
                </a:lnTo>
                <a:lnTo>
                  <a:pt x="5644" y="2798"/>
                </a:lnTo>
                <a:lnTo>
                  <a:pt x="5644" y="3536"/>
                </a:lnTo>
                <a:cubicBezTo>
                  <a:pt x="5644" y="3632"/>
                  <a:pt x="5716" y="3703"/>
                  <a:pt x="5811" y="3703"/>
                </a:cubicBezTo>
                <a:cubicBezTo>
                  <a:pt x="5894" y="3703"/>
                  <a:pt x="5978" y="3632"/>
                  <a:pt x="5978" y="3536"/>
                </a:cubicBezTo>
                <a:lnTo>
                  <a:pt x="5978" y="2798"/>
                </a:lnTo>
                <a:lnTo>
                  <a:pt x="7002" y="2798"/>
                </a:lnTo>
                <a:cubicBezTo>
                  <a:pt x="7240" y="2798"/>
                  <a:pt x="7466" y="2905"/>
                  <a:pt x="7621" y="3060"/>
                </a:cubicBezTo>
                <a:cubicBezTo>
                  <a:pt x="8002" y="3453"/>
                  <a:pt x="8502" y="3679"/>
                  <a:pt x="9050" y="3679"/>
                </a:cubicBezTo>
                <a:lnTo>
                  <a:pt x="9097" y="3679"/>
                </a:lnTo>
                <a:lnTo>
                  <a:pt x="7835" y="6477"/>
                </a:lnTo>
                <a:lnTo>
                  <a:pt x="7835" y="6489"/>
                </a:lnTo>
                <a:lnTo>
                  <a:pt x="7835" y="6501"/>
                </a:lnTo>
                <a:lnTo>
                  <a:pt x="7835" y="6513"/>
                </a:lnTo>
                <a:lnTo>
                  <a:pt x="7835" y="6537"/>
                </a:lnTo>
                <a:lnTo>
                  <a:pt x="7835" y="6692"/>
                </a:lnTo>
                <a:cubicBezTo>
                  <a:pt x="7835" y="7501"/>
                  <a:pt x="8490" y="8168"/>
                  <a:pt x="9311" y="8168"/>
                </a:cubicBezTo>
                <a:lnTo>
                  <a:pt x="9431" y="8168"/>
                </a:lnTo>
                <a:cubicBezTo>
                  <a:pt x="10228" y="8168"/>
                  <a:pt x="10895" y="7513"/>
                  <a:pt x="10895" y="6692"/>
                </a:cubicBezTo>
                <a:lnTo>
                  <a:pt x="10895" y="6537"/>
                </a:lnTo>
                <a:lnTo>
                  <a:pt x="10895" y="6513"/>
                </a:lnTo>
                <a:lnTo>
                  <a:pt x="10895" y="6501"/>
                </a:lnTo>
                <a:lnTo>
                  <a:pt x="10895" y="6489"/>
                </a:lnTo>
                <a:lnTo>
                  <a:pt x="10895" y="6465"/>
                </a:lnTo>
                <a:lnTo>
                  <a:pt x="9633" y="3667"/>
                </a:lnTo>
                <a:lnTo>
                  <a:pt x="10562" y="3667"/>
                </a:lnTo>
                <a:cubicBezTo>
                  <a:pt x="10716" y="3667"/>
                  <a:pt x="10859" y="3536"/>
                  <a:pt x="10859" y="3370"/>
                </a:cubicBezTo>
                <a:lnTo>
                  <a:pt x="10859" y="2989"/>
                </a:lnTo>
                <a:cubicBezTo>
                  <a:pt x="10859" y="2822"/>
                  <a:pt x="10716" y="2691"/>
                  <a:pt x="10562" y="2691"/>
                </a:cubicBezTo>
                <a:lnTo>
                  <a:pt x="9073" y="2691"/>
                </a:lnTo>
                <a:cubicBezTo>
                  <a:pt x="8788" y="2691"/>
                  <a:pt x="8514" y="2572"/>
                  <a:pt x="8323" y="2370"/>
                </a:cubicBezTo>
                <a:cubicBezTo>
                  <a:pt x="8002" y="2012"/>
                  <a:pt x="7502" y="1810"/>
                  <a:pt x="7014" y="1810"/>
                </a:cubicBezTo>
                <a:lnTo>
                  <a:pt x="5978" y="1810"/>
                </a:lnTo>
                <a:lnTo>
                  <a:pt x="5978" y="1453"/>
                </a:lnTo>
                <a:cubicBezTo>
                  <a:pt x="6156" y="1310"/>
                  <a:pt x="6275" y="1072"/>
                  <a:pt x="6275" y="822"/>
                </a:cubicBezTo>
                <a:cubicBezTo>
                  <a:pt x="6275" y="358"/>
                  <a:pt x="5894" y="0"/>
                  <a:pt x="5454" y="0"/>
                </a:cubicBezTo>
                <a:close/>
              </a:path>
            </a:pathLst>
          </a:custGeom>
          <a:solidFill>
            <a:srgbClr val="657E9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207183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D89F30-CFF9-8871-AEDC-E1A8A334B1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376196" y="366843"/>
            <a:ext cx="4688410" cy="481200"/>
          </a:xfrm>
        </p:spPr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ASSESSMENT OF DAT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64D3C3D-5E0F-B3F3-448F-1B738420E52C}"/>
              </a:ext>
            </a:extLst>
          </p:cNvPr>
          <p:cNvSpPr txBox="1"/>
          <p:nvPr/>
        </p:nvSpPr>
        <p:spPr>
          <a:xfrm>
            <a:off x="5781370" y="1150373"/>
            <a:ext cx="3080709" cy="2631490"/>
          </a:xfrm>
          <a:prstGeom prst="rect">
            <a:avLst/>
          </a:prstGeom>
          <a:noFill/>
          <a:ln w="15875">
            <a:solidFill>
              <a:schemeClr val="accent6">
                <a:lumMod val="1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500" dirty="0"/>
              <a:t>Plotting the missing values using the NANIAR package </a:t>
            </a:r>
          </a:p>
          <a:p>
            <a:endParaRPr lang="en-US" sz="1500" dirty="0"/>
          </a:p>
          <a:p>
            <a:r>
              <a:rPr lang="en-US" sz="1500" dirty="0"/>
              <a:t>Inference:</a:t>
            </a:r>
          </a:p>
          <a:p>
            <a:r>
              <a:rPr lang="en-US" sz="1500" dirty="0"/>
              <a:t>More than quarter of the data contains missing values.</a:t>
            </a:r>
          </a:p>
          <a:p>
            <a:endParaRPr lang="en-US" sz="1500" dirty="0"/>
          </a:p>
          <a:p>
            <a:r>
              <a:rPr lang="en-US" sz="1500" dirty="0"/>
              <a:t>Solution:</a:t>
            </a:r>
          </a:p>
          <a:p>
            <a:r>
              <a:rPr lang="en-US" sz="1500" dirty="0"/>
              <a:t>Replace the missing values with the median of the respective columns.</a:t>
            </a:r>
          </a:p>
        </p:txBody>
      </p:sp>
      <p:pic>
        <p:nvPicPr>
          <p:cNvPr id="6" name="Picture 5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7917009F-8F4B-0D5E-42F8-41CEB2C0DBC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293" b="6465"/>
          <a:stretch/>
        </p:blipFill>
        <p:spPr>
          <a:xfrm>
            <a:off x="136629" y="1196139"/>
            <a:ext cx="5339940" cy="3344541"/>
          </a:xfrm>
          <a:prstGeom prst="rect">
            <a:avLst/>
          </a:prstGeom>
          <a:ln w="22225">
            <a:solidFill>
              <a:schemeClr val="accent6">
                <a:lumMod val="1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1954665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conomy Thesis by Slidesgo">
  <a:themeElements>
    <a:clrScheme name="Simple Light">
      <a:dk1>
        <a:srgbClr val="FAFAFA"/>
      </a:dk1>
      <a:lt1>
        <a:srgbClr val="FFCEAA"/>
      </a:lt1>
      <a:dk2>
        <a:srgbClr val="FFB37A"/>
      </a:dk2>
      <a:lt2>
        <a:srgbClr val="FFA45F"/>
      </a:lt2>
      <a:accent1>
        <a:srgbClr val="E78841"/>
      </a:accent1>
      <a:accent2>
        <a:srgbClr val="D16717"/>
      </a:accent2>
      <a:accent3>
        <a:srgbClr val="434343"/>
      </a:accent3>
      <a:accent4>
        <a:srgbClr val="666666"/>
      </a:accent4>
      <a:accent5>
        <a:srgbClr val="999999"/>
      </a:accent5>
      <a:accent6>
        <a:srgbClr val="CCCCCC"/>
      </a:accent6>
      <a:hlink>
        <a:srgbClr val="43434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207</TotalTime>
  <Words>1543</Words>
  <Application>Microsoft Office PowerPoint</Application>
  <PresentationFormat>On-screen Show (16:9)</PresentationFormat>
  <Paragraphs>262</Paragraphs>
  <Slides>27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7" baseType="lpstr">
      <vt:lpstr>Wingdings</vt:lpstr>
      <vt:lpstr>Unica One</vt:lpstr>
      <vt:lpstr>Josefin Slab SemiBold</vt:lpstr>
      <vt:lpstr>Calibri</vt:lpstr>
      <vt:lpstr>Anaheim</vt:lpstr>
      <vt:lpstr>Arial</vt:lpstr>
      <vt:lpstr>Josefin Slab</vt:lpstr>
      <vt:lpstr>Staatliches</vt:lpstr>
      <vt:lpstr>Economy Thesis by Slidesgo</vt:lpstr>
      <vt:lpstr>think-cell Slide</vt:lpstr>
      <vt:lpstr>Credit card default prediction</vt:lpstr>
      <vt:lpstr>PREFACE</vt:lpstr>
      <vt:lpstr>01.  PREFACE </vt:lpstr>
      <vt:lpstr>BUSINESS PROBLEM</vt:lpstr>
      <vt:lpstr>BUSINESS PROBLEM</vt:lpstr>
      <vt:lpstr>DATA DESCRIPTION</vt:lpstr>
      <vt:lpstr>02.  METHODOLOGY</vt:lpstr>
      <vt:lpstr>EXPLORATORY DATA ANALYSIS</vt:lpstr>
      <vt:lpstr>ASSESSMENT OF DATA</vt:lpstr>
      <vt:lpstr>IDENTIFYING THE MISSING VALUES AND REPLACING WITH THE MEDIAN</vt:lpstr>
      <vt:lpstr>ONE HOT ENCODING</vt:lpstr>
      <vt:lpstr>CREATING DUMMY COLUMNS USING FASTDUMMIES PACKAGE </vt:lpstr>
      <vt:lpstr>03.  DATA VISUALIZATION</vt:lpstr>
      <vt:lpstr>DATA VISUALIZATION</vt:lpstr>
      <vt:lpstr>DATA VISUALIZATION</vt:lpstr>
      <vt:lpstr>DATA VISUALIZATION</vt:lpstr>
      <vt:lpstr>DATA VISUALIZATION</vt:lpstr>
      <vt:lpstr>DATA VISUALIZATION</vt:lpstr>
      <vt:lpstr>04.  MODELING</vt:lpstr>
      <vt:lpstr>MODELING TECHNIQUES</vt:lpstr>
      <vt:lpstr>LOGISTIC REGRESSION</vt:lpstr>
      <vt:lpstr> DECISION TREE </vt:lpstr>
      <vt:lpstr>DECISION TREE</vt:lpstr>
      <vt:lpstr>RANDOM FOREST CLASSIFIER</vt:lpstr>
      <vt:lpstr>RANDOM FOREST CLASSIFIER</vt:lpstr>
      <vt:lpstr>CONCLU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sessment of credit card application</dc:title>
  <cp:lastModifiedBy>Amita Jadhav</cp:lastModifiedBy>
  <cp:revision>80</cp:revision>
  <dcterms:modified xsi:type="dcterms:W3CDTF">2024-11-10T23:35:14Z</dcterms:modified>
</cp:coreProperties>
</file>